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slideLayouts/slideLayout93.xml" ContentType="application/vnd.openxmlformats-officedocument.presentationml.slideLayout+xml"/>
  <Override PartName="/ppt/theme/theme11.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3.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4.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5.xml" ContentType="application/vnd.openxmlformats-officedocument.theme+xml"/>
  <Override PartName="/ppt/tags/tag8.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6.xml" ContentType="application/vnd.openxmlformats-officedocument.theme+xml"/>
  <Override PartName="/ppt/tags/tag9.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7.xml" ContentType="application/vnd.openxmlformats-officedocument.theme+xml"/>
  <Override PartName="/ppt/tags/tag10.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8.xml" ContentType="application/vnd.openxmlformats-officedocument.theme+xml"/>
  <Override PartName="/ppt/tags/tag11.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19.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20.xml" ContentType="application/vnd.openxmlformats-officedocument.theme+xml"/>
  <Override PartName="/ppt/tags/tag12.xml" ContentType="application/vnd.openxmlformats-officedocument.presentationml.tags+xml"/>
  <Override PartName="/ppt/theme/theme21.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4.xml" ContentType="application/vnd.openxmlformats-officedocument.presentationml.tags+xml"/>
  <Override PartName="/ppt/notesSlides/notesSlide17.xml" ContentType="application/vnd.openxmlformats-officedocument.presentationml.notesSlide+xml"/>
  <Override PartName="/ppt/tags/tag3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8" r:id="rId3"/>
    <p:sldMasterId id="2147483697" r:id="rId4"/>
    <p:sldMasterId id="2147483706" r:id="rId5"/>
    <p:sldMasterId id="2147483714" r:id="rId6"/>
    <p:sldMasterId id="2147483723" r:id="rId7"/>
    <p:sldMasterId id="2147483733" r:id="rId8"/>
    <p:sldMasterId id="2147483743" r:id="rId9"/>
    <p:sldMasterId id="2147483752" r:id="rId10"/>
    <p:sldMasterId id="2147483761" r:id="rId11"/>
    <p:sldMasterId id="2147483763" r:id="rId12"/>
    <p:sldMasterId id="2147483791" r:id="rId13"/>
    <p:sldMasterId id="2147483819" r:id="rId14"/>
    <p:sldMasterId id="2147483847" r:id="rId15"/>
    <p:sldMasterId id="2147483856" r:id="rId16"/>
    <p:sldMasterId id="2147483865" r:id="rId17"/>
    <p:sldMasterId id="2147483874" r:id="rId18"/>
    <p:sldMasterId id="2147483883" r:id="rId19"/>
    <p:sldMasterId id="2147483916" r:id="rId20"/>
  </p:sldMasterIdLst>
  <p:notesMasterIdLst>
    <p:notesMasterId r:id="rId58"/>
  </p:notesMasterIdLst>
  <p:sldIdLst>
    <p:sldId id="268" r:id="rId21"/>
    <p:sldId id="307" r:id="rId22"/>
    <p:sldId id="279" r:id="rId23"/>
    <p:sldId id="306" r:id="rId24"/>
    <p:sldId id="267" r:id="rId25"/>
    <p:sldId id="274" r:id="rId26"/>
    <p:sldId id="258" r:id="rId27"/>
    <p:sldId id="293" r:id="rId28"/>
    <p:sldId id="294" r:id="rId29"/>
    <p:sldId id="299" r:id="rId30"/>
    <p:sldId id="295" r:id="rId31"/>
    <p:sldId id="275" r:id="rId32"/>
    <p:sldId id="283" r:id="rId33"/>
    <p:sldId id="298" r:id="rId34"/>
    <p:sldId id="280" r:id="rId35"/>
    <p:sldId id="281" r:id="rId36"/>
    <p:sldId id="282" r:id="rId37"/>
    <p:sldId id="266" r:id="rId38"/>
    <p:sldId id="259" r:id="rId39"/>
    <p:sldId id="277" r:id="rId40"/>
    <p:sldId id="292" r:id="rId41"/>
    <p:sldId id="288" r:id="rId42"/>
    <p:sldId id="289" r:id="rId43"/>
    <p:sldId id="290" r:id="rId44"/>
    <p:sldId id="291" r:id="rId45"/>
    <p:sldId id="276" r:id="rId46"/>
    <p:sldId id="270" r:id="rId47"/>
    <p:sldId id="302" r:id="rId48"/>
    <p:sldId id="303" r:id="rId49"/>
    <p:sldId id="301" r:id="rId50"/>
    <p:sldId id="304" r:id="rId51"/>
    <p:sldId id="286" r:id="rId52"/>
    <p:sldId id="305" r:id="rId53"/>
    <p:sldId id="284" r:id="rId54"/>
    <p:sldId id="296" r:id="rId55"/>
    <p:sldId id="300" r:id="rId56"/>
    <p:sldId id="278" r:id="rId5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vek Balakrishnan" initials="VB" lastIdx="8"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1652" autoAdjust="0"/>
  </p:normalViewPr>
  <p:slideViewPr>
    <p:cSldViewPr>
      <p:cViewPr>
        <p:scale>
          <a:sx n="70" d="100"/>
          <a:sy n="70" d="100"/>
        </p:scale>
        <p:origin x="-1302"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9.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8" Type="http://schemas.openxmlformats.org/officeDocument/2006/relationships/slideMaster" Target="slideMasters/slideMaster8.xml"/><Relationship Id="rId51" Type="http://schemas.openxmlformats.org/officeDocument/2006/relationships/slide" Target="slides/slide3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manualLayout>
          <c:layoutTarget val="inner"/>
          <c:xMode val="edge"/>
          <c:yMode val="edge"/>
          <c:x val="0.10860363011744439"/>
          <c:y val="0.11104615898277732"/>
          <c:w val="0.840615262280201"/>
          <c:h val="0.80927770512784847"/>
        </c:manualLayout>
      </c:layout>
      <c:barChart>
        <c:barDir val="col"/>
        <c:grouping val="stacked"/>
        <c:varyColors val="0"/>
        <c:ser>
          <c:idx val="0"/>
          <c:order val="0"/>
          <c:tx>
            <c:strRef>
              <c:f>Sheet1!$A$2</c:f>
              <c:strCache>
                <c:ptCount val="1"/>
                <c:pt idx="0">
                  <c:v>Africa</c:v>
                </c:pt>
              </c:strCache>
            </c:strRef>
          </c:tx>
          <c:invertIfNegative val="0"/>
          <c:cat>
            <c:numRef>
              <c:f>Sheet1!$B$1:$B$1</c:f>
              <c:numCache>
                <c:formatCode>General</c:formatCode>
                <c:ptCount val="1"/>
                <c:pt idx="0">
                  <c:v>2015</c:v>
                </c:pt>
              </c:numCache>
            </c:numRef>
          </c:cat>
          <c:val>
            <c:numRef>
              <c:f>Sheet1!$B$2:$B$2</c:f>
              <c:numCache>
                <c:formatCode>General</c:formatCode>
                <c:ptCount val="1"/>
                <c:pt idx="0">
                  <c:v>623603</c:v>
                </c:pt>
              </c:numCache>
            </c:numRef>
          </c:val>
        </c:ser>
        <c:ser>
          <c:idx val="1"/>
          <c:order val="1"/>
          <c:tx>
            <c:strRef>
              <c:f>Sheet1!$A$3</c:f>
              <c:strCache>
                <c:ptCount val="1"/>
                <c:pt idx="0">
                  <c:v>Asia</c:v>
                </c:pt>
              </c:strCache>
            </c:strRef>
          </c:tx>
          <c:invertIfNegative val="0"/>
          <c:cat>
            <c:numRef>
              <c:f>Sheet1!$B$1:$B$1</c:f>
              <c:numCache>
                <c:formatCode>General</c:formatCode>
                <c:ptCount val="1"/>
                <c:pt idx="0">
                  <c:v>2015</c:v>
                </c:pt>
              </c:numCache>
            </c:numRef>
          </c:cat>
          <c:val>
            <c:numRef>
              <c:f>Sheet1!$B$3:$B$3</c:f>
              <c:numCache>
                <c:formatCode>General</c:formatCode>
                <c:ptCount val="1"/>
                <c:pt idx="0">
                  <c:v>39988139</c:v>
                </c:pt>
              </c:numCache>
            </c:numRef>
          </c:val>
        </c:ser>
        <c:ser>
          <c:idx val="2"/>
          <c:order val="2"/>
          <c:tx>
            <c:strRef>
              <c:f>Sheet1!$A$4</c:f>
              <c:strCache>
                <c:ptCount val="1"/>
                <c:pt idx="0">
                  <c:v>Eastern Europe</c:v>
                </c:pt>
              </c:strCache>
            </c:strRef>
          </c:tx>
          <c:invertIfNegative val="0"/>
          <c:cat>
            <c:numRef>
              <c:f>Sheet1!$B$1:$B$1</c:f>
              <c:numCache>
                <c:formatCode>General</c:formatCode>
                <c:ptCount val="1"/>
                <c:pt idx="0">
                  <c:v>2015</c:v>
                </c:pt>
              </c:numCache>
            </c:numRef>
          </c:cat>
          <c:val>
            <c:numRef>
              <c:f>Sheet1!$B$4:$B$4</c:f>
              <c:numCache>
                <c:formatCode>General</c:formatCode>
                <c:ptCount val="1"/>
                <c:pt idx="0">
                  <c:v>3769903</c:v>
                </c:pt>
              </c:numCache>
            </c:numRef>
          </c:val>
        </c:ser>
        <c:ser>
          <c:idx val="3"/>
          <c:order val="3"/>
          <c:tx>
            <c:strRef>
              <c:f>Sheet1!$A$5</c:f>
              <c:strCache>
                <c:ptCount val="1"/>
                <c:pt idx="0">
                  <c:v>Middle East</c:v>
                </c:pt>
              </c:strCache>
            </c:strRef>
          </c:tx>
          <c:invertIfNegative val="0"/>
          <c:cat>
            <c:numRef>
              <c:f>Sheet1!$B$1:$B$1</c:f>
              <c:numCache>
                <c:formatCode>General</c:formatCode>
                <c:ptCount val="1"/>
                <c:pt idx="0">
                  <c:v>2015</c:v>
                </c:pt>
              </c:numCache>
            </c:numRef>
          </c:cat>
          <c:val>
            <c:numRef>
              <c:f>Sheet1!$B$5:$B$5</c:f>
              <c:numCache>
                <c:formatCode>General</c:formatCode>
                <c:ptCount val="1"/>
                <c:pt idx="0">
                  <c:v>1234629</c:v>
                </c:pt>
              </c:numCache>
            </c:numRef>
          </c:val>
        </c:ser>
        <c:ser>
          <c:idx val="4"/>
          <c:order val="4"/>
          <c:tx>
            <c:strRef>
              <c:f>Sheet1!$A$6</c:f>
              <c:strCache>
                <c:ptCount val="1"/>
                <c:pt idx="0">
                  <c:v>North America</c:v>
                </c:pt>
              </c:strCache>
            </c:strRef>
          </c:tx>
          <c:invertIfNegative val="0"/>
          <c:cat>
            <c:numRef>
              <c:f>Sheet1!$B$1:$B$1</c:f>
              <c:numCache>
                <c:formatCode>General</c:formatCode>
                <c:ptCount val="1"/>
                <c:pt idx="0">
                  <c:v>2015</c:v>
                </c:pt>
              </c:numCache>
            </c:numRef>
          </c:cat>
          <c:val>
            <c:numRef>
              <c:f>Sheet1!$B$6:$B$6</c:f>
              <c:numCache>
                <c:formatCode>General</c:formatCode>
                <c:ptCount val="1"/>
                <c:pt idx="0">
                  <c:v>20078775</c:v>
                </c:pt>
              </c:numCache>
            </c:numRef>
          </c:val>
        </c:ser>
        <c:ser>
          <c:idx val="5"/>
          <c:order val="5"/>
          <c:tx>
            <c:strRef>
              <c:f>Sheet1!$A$7</c:f>
              <c:strCache>
                <c:ptCount val="1"/>
                <c:pt idx="0">
                  <c:v>Other</c:v>
                </c:pt>
              </c:strCache>
            </c:strRef>
          </c:tx>
          <c:invertIfNegative val="0"/>
          <c:cat>
            <c:numRef>
              <c:f>Sheet1!$B$1:$B$1</c:f>
              <c:numCache>
                <c:formatCode>General</c:formatCode>
                <c:ptCount val="1"/>
                <c:pt idx="0">
                  <c:v>2015</c:v>
                </c:pt>
              </c:numCache>
            </c:numRef>
          </c:cat>
          <c:val>
            <c:numRef>
              <c:f>Sheet1!$B$7:$B$7</c:f>
              <c:numCache>
                <c:formatCode>General</c:formatCode>
                <c:ptCount val="1"/>
                <c:pt idx="0">
                  <c:v>4657128</c:v>
                </c:pt>
              </c:numCache>
            </c:numRef>
          </c:val>
        </c:ser>
        <c:ser>
          <c:idx val="6"/>
          <c:order val="6"/>
          <c:tx>
            <c:strRef>
              <c:f>Sheet1!$A$8</c:f>
              <c:strCache>
                <c:ptCount val="1"/>
                <c:pt idx="0">
                  <c:v>South America</c:v>
                </c:pt>
              </c:strCache>
            </c:strRef>
          </c:tx>
          <c:invertIfNegative val="0"/>
          <c:cat>
            <c:numRef>
              <c:f>Sheet1!$B$1:$B$1</c:f>
              <c:numCache>
                <c:formatCode>General</c:formatCode>
                <c:ptCount val="1"/>
                <c:pt idx="0">
                  <c:v>2015</c:v>
                </c:pt>
              </c:numCache>
            </c:numRef>
          </c:cat>
          <c:val>
            <c:numRef>
              <c:f>Sheet1!$B$8:$B$8</c:f>
              <c:numCache>
                <c:formatCode>General</c:formatCode>
                <c:ptCount val="1"/>
                <c:pt idx="0">
                  <c:v>4693573</c:v>
                </c:pt>
              </c:numCache>
            </c:numRef>
          </c:val>
        </c:ser>
        <c:ser>
          <c:idx val="7"/>
          <c:order val="7"/>
          <c:tx>
            <c:strRef>
              <c:f>Sheet1!$A$9</c:f>
              <c:strCache>
                <c:ptCount val="1"/>
                <c:pt idx="0">
                  <c:v>Western Europe</c:v>
                </c:pt>
              </c:strCache>
            </c:strRef>
          </c:tx>
          <c:invertIfNegative val="0"/>
          <c:cat>
            <c:numRef>
              <c:f>Sheet1!$B$1:$B$1</c:f>
              <c:numCache>
                <c:formatCode>General</c:formatCode>
                <c:ptCount val="1"/>
                <c:pt idx="0">
                  <c:v>2015</c:v>
                </c:pt>
              </c:numCache>
            </c:numRef>
          </c:cat>
          <c:val>
            <c:numRef>
              <c:f>Sheet1!$B$9:$B$9</c:f>
              <c:numCache>
                <c:formatCode>General</c:formatCode>
                <c:ptCount val="1"/>
                <c:pt idx="0">
                  <c:v>14207995</c:v>
                </c:pt>
              </c:numCache>
            </c:numRef>
          </c:val>
        </c:ser>
        <c:dLbls>
          <c:showLegendKey val="0"/>
          <c:showVal val="0"/>
          <c:showCatName val="0"/>
          <c:showSerName val="0"/>
          <c:showPercent val="0"/>
          <c:showBubbleSize val="0"/>
        </c:dLbls>
        <c:gapWidth val="150"/>
        <c:overlap val="100"/>
        <c:axId val="130708992"/>
        <c:axId val="130710528"/>
      </c:barChart>
      <c:catAx>
        <c:axId val="130708992"/>
        <c:scaling>
          <c:orientation val="minMax"/>
        </c:scaling>
        <c:delete val="0"/>
        <c:axPos val="b"/>
        <c:numFmt formatCode="General" sourceLinked="1"/>
        <c:majorTickMark val="out"/>
        <c:minorTickMark val="none"/>
        <c:tickLblPos val="nextTo"/>
        <c:spPr>
          <a:ln>
            <a:noFill/>
          </a:ln>
        </c:spPr>
        <c:txPr>
          <a:bodyPr/>
          <a:lstStyle/>
          <a:p>
            <a:pPr>
              <a:defRPr b="1"/>
            </a:pPr>
            <a:endParaRPr lang="en-US"/>
          </a:p>
        </c:txPr>
        <c:crossAx val="130710528"/>
        <c:crosses val="autoZero"/>
        <c:auto val="1"/>
        <c:lblAlgn val="ctr"/>
        <c:lblOffset val="100"/>
        <c:noMultiLvlLbl val="0"/>
      </c:catAx>
      <c:valAx>
        <c:axId val="130710528"/>
        <c:scaling>
          <c:orientation val="minMax"/>
        </c:scaling>
        <c:delete val="1"/>
        <c:axPos val="l"/>
        <c:numFmt formatCode="General" sourceLinked="1"/>
        <c:majorTickMark val="out"/>
        <c:minorTickMark val="none"/>
        <c:tickLblPos val="none"/>
        <c:crossAx val="13070899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manualLayout>
          <c:layoutTarget val="inner"/>
          <c:xMode val="edge"/>
          <c:yMode val="edge"/>
          <c:x val="0.10860363011744439"/>
          <c:y val="2.9774074177123695E-2"/>
          <c:w val="0.84061526228020123"/>
          <c:h val="0.89054978993350209"/>
        </c:manualLayout>
      </c:layout>
      <c:barChart>
        <c:barDir val="col"/>
        <c:grouping val="stacked"/>
        <c:varyColors val="0"/>
        <c:ser>
          <c:idx val="0"/>
          <c:order val="0"/>
          <c:tx>
            <c:strRef>
              <c:f>Sheet1!$A$2</c:f>
              <c:strCache>
                <c:ptCount val="1"/>
                <c:pt idx="0">
                  <c:v>Africa</c:v>
                </c:pt>
              </c:strCache>
            </c:strRef>
          </c:tx>
          <c:invertIfNegative val="0"/>
          <c:cat>
            <c:numRef>
              <c:f>Sheet1!$B$1:$B$1</c:f>
              <c:numCache>
                <c:formatCode>General</c:formatCode>
                <c:ptCount val="1"/>
                <c:pt idx="0">
                  <c:v>2016</c:v>
                </c:pt>
              </c:numCache>
            </c:numRef>
          </c:cat>
          <c:val>
            <c:numRef>
              <c:f>Sheet1!$B$2:$B$2</c:f>
              <c:numCache>
                <c:formatCode>General</c:formatCode>
                <c:ptCount val="1"/>
                <c:pt idx="0">
                  <c:v>653975</c:v>
                </c:pt>
              </c:numCache>
            </c:numRef>
          </c:val>
        </c:ser>
        <c:ser>
          <c:idx val="1"/>
          <c:order val="1"/>
          <c:tx>
            <c:strRef>
              <c:f>Sheet1!$A$3</c:f>
              <c:strCache>
                <c:ptCount val="1"/>
                <c:pt idx="0">
                  <c:v>Asia</c:v>
                </c:pt>
              </c:strCache>
            </c:strRef>
          </c:tx>
          <c:invertIfNegative val="0"/>
          <c:cat>
            <c:numRef>
              <c:f>Sheet1!$B$1:$B$1</c:f>
              <c:numCache>
                <c:formatCode>General</c:formatCode>
                <c:ptCount val="1"/>
                <c:pt idx="0">
                  <c:v>2016</c:v>
                </c:pt>
              </c:numCache>
            </c:numRef>
          </c:cat>
          <c:val>
            <c:numRef>
              <c:f>Sheet1!$B$3:$B$3</c:f>
              <c:numCache>
                <c:formatCode>General</c:formatCode>
                <c:ptCount val="1"/>
                <c:pt idx="0">
                  <c:v>42692103</c:v>
                </c:pt>
              </c:numCache>
            </c:numRef>
          </c:val>
        </c:ser>
        <c:ser>
          <c:idx val="2"/>
          <c:order val="2"/>
          <c:tx>
            <c:strRef>
              <c:f>Sheet1!$A$4</c:f>
              <c:strCache>
                <c:ptCount val="1"/>
                <c:pt idx="0">
                  <c:v>Eastern Europe</c:v>
                </c:pt>
              </c:strCache>
            </c:strRef>
          </c:tx>
          <c:invertIfNegative val="0"/>
          <c:cat>
            <c:numRef>
              <c:f>Sheet1!$B$1:$B$1</c:f>
              <c:numCache>
                <c:formatCode>General</c:formatCode>
                <c:ptCount val="1"/>
                <c:pt idx="0">
                  <c:v>2016</c:v>
                </c:pt>
              </c:numCache>
            </c:numRef>
          </c:cat>
          <c:val>
            <c:numRef>
              <c:f>Sheet1!$B$4:$B$4</c:f>
              <c:numCache>
                <c:formatCode>General</c:formatCode>
                <c:ptCount val="1"/>
                <c:pt idx="0">
                  <c:v>3969267</c:v>
                </c:pt>
              </c:numCache>
            </c:numRef>
          </c:val>
        </c:ser>
        <c:ser>
          <c:idx val="3"/>
          <c:order val="3"/>
          <c:tx>
            <c:strRef>
              <c:f>Sheet1!$A$5</c:f>
              <c:strCache>
                <c:ptCount val="1"/>
                <c:pt idx="0">
                  <c:v>Middle East</c:v>
                </c:pt>
              </c:strCache>
            </c:strRef>
          </c:tx>
          <c:invertIfNegative val="0"/>
          <c:cat>
            <c:numRef>
              <c:f>Sheet1!$B$1:$B$1</c:f>
              <c:numCache>
                <c:formatCode>General</c:formatCode>
                <c:ptCount val="1"/>
                <c:pt idx="0">
                  <c:v>2016</c:v>
                </c:pt>
              </c:numCache>
            </c:numRef>
          </c:cat>
          <c:val>
            <c:numRef>
              <c:f>Sheet1!$B$5:$B$5</c:f>
              <c:numCache>
                <c:formatCode>General</c:formatCode>
                <c:ptCount val="1"/>
                <c:pt idx="0">
                  <c:v>1428645</c:v>
                </c:pt>
              </c:numCache>
            </c:numRef>
          </c:val>
        </c:ser>
        <c:ser>
          <c:idx val="4"/>
          <c:order val="4"/>
          <c:tx>
            <c:strRef>
              <c:f>Sheet1!$A$6</c:f>
              <c:strCache>
                <c:ptCount val="1"/>
                <c:pt idx="0">
                  <c:v>North America</c:v>
                </c:pt>
              </c:strCache>
            </c:strRef>
          </c:tx>
          <c:invertIfNegative val="0"/>
          <c:cat>
            <c:numRef>
              <c:f>Sheet1!$B$1:$B$1</c:f>
              <c:numCache>
                <c:formatCode>General</c:formatCode>
                <c:ptCount val="1"/>
                <c:pt idx="0">
                  <c:v>2016</c:v>
                </c:pt>
              </c:numCache>
            </c:numRef>
          </c:cat>
          <c:val>
            <c:numRef>
              <c:f>Sheet1!$B$6:$B$6</c:f>
              <c:numCache>
                <c:formatCode>General</c:formatCode>
                <c:ptCount val="1"/>
                <c:pt idx="0">
                  <c:v>20248936</c:v>
                </c:pt>
              </c:numCache>
            </c:numRef>
          </c:val>
        </c:ser>
        <c:ser>
          <c:idx val="5"/>
          <c:order val="5"/>
          <c:tx>
            <c:strRef>
              <c:f>Sheet1!$A$7</c:f>
              <c:strCache>
                <c:ptCount val="1"/>
                <c:pt idx="0">
                  <c:v>Other</c:v>
                </c:pt>
              </c:strCache>
            </c:strRef>
          </c:tx>
          <c:invertIfNegative val="0"/>
          <c:cat>
            <c:numRef>
              <c:f>Sheet1!$B$1:$B$1</c:f>
              <c:numCache>
                <c:formatCode>General</c:formatCode>
                <c:ptCount val="1"/>
                <c:pt idx="0">
                  <c:v>2016</c:v>
                </c:pt>
              </c:numCache>
            </c:numRef>
          </c:cat>
          <c:val>
            <c:numRef>
              <c:f>Sheet1!$B$7:$B$7</c:f>
              <c:numCache>
                <c:formatCode>General</c:formatCode>
                <c:ptCount val="1"/>
                <c:pt idx="0">
                  <c:v>4760376</c:v>
                </c:pt>
              </c:numCache>
            </c:numRef>
          </c:val>
        </c:ser>
        <c:ser>
          <c:idx val="6"/>
          <c:order val="6"/>
          <c:tx>
            <c:strRef>
              <c:f>Sheet1!$A$8</c:f>
              <c:strCache>
                <c:ptCount val="1"/>
                <c:pt idx="0">
                  <c:v>South America</c:v>
                </c:pt>
              </c:strCache>
            </c:strRef>
          </c:tx>
          <c:invertIfNegative val="0"/>
          <c:cat>
            <c:numRef>
              <c:f>Sheet1!$B$1:$B$1</c:f>
              <c:numCache>
                <c:formatCode>General</c:formatCode>
                <c:ptCount val="1"/>
                <c:pt idx="0">
                  <c:v>2016</c:v>
                </c:pt>
              </c:numCache>
            </c:numRef>
          </c:cat>
          <c:val>
            <c:numRef>
              <c:f>Sheet1!$B$8:$B$8</c:f>
              <c:numCache>
                <c:formatCode>General</c:formatCode>
                <c:ptCount val="1"/>
                <c:pt idx="0">
                  <c:v>4923413</c:v>
                </c:pt>
              </c:numCache>
            </c:numRef>
          </c:val>
        </c:ser>
        <c:ser>
          <c:idx val="7"/>
          <c:order val="7"/>
          <c:tx>
            <c:strRef>
              <c:f>Sheet1!$A$9</c:f>
              <c:strCache>
                <c:ptCount val="1"/>
                <c:pt idx="0">
                  <c:v>Western Europe</c:v>
                </c:pt>
              </c:strCache>
            </c:strRef>
          </c:tx>
          <c:invertIfNegative val="0"/>
          <c:cat>
            <c:numRef>
              <c:f>Sheet1!$B$1:$B$1</c:f>
              <c:numCache>
                <c:formatCode>General</c:formatCode>
                <c:ptCount val="1"/>
                <c:pt idx="0">
                  <c:v>2016</c:v>
                </c:pt>
              </c:numCache>
            </c:numRef>
          </c:cat>
          <c:val>
            <c:numRef>
              <c:f>Sheet1!$B$9:$B$9</c:f>
              <c:numCache>
                <c:formatCode>General</c:formatCode>
                <c:ptCount val="1"/>
                <c:pt idx="0">
                  <c:v>14735195</c:v>
                </c:pt>
              </c:numCache>
            </c:numRef>
          </c:val>
        </c:ser>
        <c:dLbls>
          <c:showLegendKey val="0"/>
          <c:showVal val="0"/>
          <c:showCatName val="0"/>
          <c:showSerName val="0"/>
          <c:showPercent val="0"/>
          <c:showBubbleSize val="0"/>
        </c:dLbls>
        <c:gapWidth val="150"/>
        <c:overlap val="100"/>
        <c:axId val="194113536"/>
        <c:axId val="194115072"/>
      </c:barChart>
      <c:catAx>
        <c:axId val="194113536"/>
        <c:scaling>
          <c:orientation val="minMax"/>
        </c:scaling>
        <c:delete val="0"/>
        <c:axPos val="b"/>
        <c:numFmt formatCode="General" sourceLinked="1"/>
        <c:majorTickMark val="out"/>
        <c:minorTickMark val="none"/>
        <c:tickLblPos val="nextTo"/>
        <c:spPr>
          <a:ln>
            <a:noFill/>
          </a:ln>
        </c:spPr>
        <c:txPr>
          <a:bodyPr/>
          <a:lstStyle/>
          <a:p>
            <a:pPr>
              <a:defRPr b="1"/>
            </a:pPr>
            <a:endParaRPr lang="en-US"/>
          </a:p>
        </c:txPr>
        <c:crossAx val="194115072"/>
        <c:crosses val="autoZero"/>
        <c:auto val="1"/>
        <c:lblAlgn val="ctr"/>
        <c:lblOffset val="100"/>
        <c:noMultiLvlLbl val="0"/>
      </c:catAx>
      <c:valAx>
        <c:axId val="194115072"/>
        <c:scaling>
          <c:orientation val="minMax"/>
        </c:scaling>
        <c:delete val="1"/>
        <c:axPos val="l"/>
        <c:numFmt formatCode="General" sourceLinked="1"/>
        <c:majorTickMark val="out"/>
        <c:minorTickMark val="none"/>
        <c:tickLblPos val="none"/>
        <c:crossAx val="19411353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manualLayout>
          <c:layoutTarget val="inner"/>
          <c:xMode val="edge"/>
          <c:yMode val="edge"/>
          <c:x val="4.3671626909602482E-2"/>
          <c:y val="5.769230111940097E-2"/>
          <c:w val="0.94140625"/>
          <c:h val="0.83974358974359065"/>
        </c:manualLayout>
      </c:layout>
      <c:barChart>
        <c:barDir val="col"/>
        <c:grouping val="stacked"/>
        <c:varyColors val="0"/>
        <c:ser>
          <c:idx val="0"/>
          <c:order val="0"/>
          <c:tx>
            <c:strRef>
              <c:f>Sheet1!$A$2</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2:$H$2</c:f>
              <c:numCache>
                <c:formatCode>General</c:formatCode>
                <c:ptCount val="7"/>
                <c:pt idx="0">
                  <c:v>653975</c:v>
                </c:pt>
                <c:pt idx="1">
                  <c:v>26016682</c:v>
                </c:pt>
                <c:pt idx="2">
                  <c:v>1609517</c:v>
                </c:pt>
                <c:pt idx="3">
                  <c:v>271104</c:v>
                </c:pt>
                <c:pt idx="4">
                  <c:v>18606703</c:v>
                </c:pt>
                <c:pt idx="5">
                  <c:v>3201779</c:v>
                </c:pt>
                <c:pt idx="6">
                  <c:v>3462749</c:v>
                </c:pt>
              </c:numCache>
            </c:numRef>
          </c:val>
        </c:ser>
        <c:ser>
          <c:idx val="1"/>
          <c:order val="1"/>
          <c:tx>
            <c:strRef>
              <c:f>Sheet1!$A$3</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3:$H$3</c:f>
              <c:numCache>
                <c:formatCode>#,##0</c:formatCode>
                <c:ptCount val="7"/>
                <c:pt idx="1">
                  <c:v>4905191</c:v>
                </c:pt>
                <c:pt idx="2">
                  <c:v>869625</c:v>
                </c:pt>
                <c:pt idx="3">
                  <c:v>1157541</c:v>
                </c:pt>
                <c:pt idx="4">
                  <c:v>1877459</c:v>
                </c:pt>
                <c:pt idx="5">
                  <c:v>620633</c:v>
                </c:pt>
                <c:pt idx="6">
                  <c:v>2800607</c:v>
                </c:pt>
              </c:numCache>
            </c:numRef>
          </c:val>
        </c:ser>
        <c:ser>
          <c:idx val="2"/>
          <c:order val="2"/>
          <c:tx>
            <c:strRef>
              <c:f>Sheet1!$A$4</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4:$H$4</c:f>
              <c:numCache>
                <c:formatCode>#,##0</c:formatCode>
                <c:ptCount val="7"/>
                <c:pt idx="1">
                  <c:v>3203756</c:v>
                </c:pt>
                <c:pt idx="2">
                  <c:v>448204</c:v>
                </c:pt>
                <c:pt idx="4">
                  <c:v>1350774</c:v>
                </c:pt>
                <c:pt idx="5">
                  <c:v>1137043</c:v>
                </c:pt>
                <c:pt idx="6">
                  <c:v>1837007</c:v>
                </c:pt>
              </c:numCache>
            </c:numRef>
          </c:val>
        </c:ser>
        <c:ser>
          <c:idx val="3"/>
          <c:order val="3"/>
          <c:tx>
            <c:strRef>
              <c:f>Sheet1!$A$5</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5:$H$5</c:f>
              <c:numCache>
                <c:formatCode>#,##0</c:formatCode>
                <c:ptCount val="7"/>
                <c:pt idx="1">
                  <c:v>1701264</c:v>
                </c:pt>
                <c:pt idx="2">
                  <c:v>1100000</c:v>
                </c:pt>
                <c:pt idx="6">
                  <c:v>1294172</c:v>
                </c:pt>
              </c:numCache>
            </c:numRef>
          </c:val>
        </c:ser>
        <c:ser>
          <c:idx val="4"/>
          <c:order val="4"/>
          <c:tx>
            <c:strRef>
              <c:f>Sheet1!$A$6</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6:$H$6</c:f>
              <c:numCache>
                <c:formatCode>#,##0</c:formatCode>
                <c:ptCount val="7"/>
                <c:pt idx="1">
                  <c:v>701772</c:v>
                </c:pt>
                <c:pt idx="6">
                  <c:v>2861005</c:v>
                </c:pt>
              </c:numCache>
            </c:numRef>
          </c:val>
        </c:ser>
        <c:ser>
          <c:idx val="5"/>
          <c:order val="5"/>
          <c:tx>
            <c:strRef>
              <c:f>Sheet1!$A$7</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7:$H$7</c:f>
              <c:numCache>
                <c:formatCode>#,##0</c:formatCode>
                <c:ptCount val="7"/>
                <c:pt idx="1">
                  <c:v>4024438</c:v>
                </c:pt>
                <c:pt idx="6">
                  <c:v>3156844</c:v>
                </c:pt>
              </c:numCache>
            </c:numRef>
          </c:val>
        </c:ser>
        <c:ser>
          <c:idx val="6"/>
          <c:order val="6"/>
          <c:tx>
            <c:strRef>
              <c:f>Sheet1!$A$8</c:f>
              <c:strCache>
                <c:ptCount val="1"/>
              </c:strCache>
            </c:strRef>
          </c:tx>
          <c:invertIfNegative val="0"/>
          <c:cat>
            <c:strRef>
              <c:f>Sheet1!$B$1:$H$1</c:f>
              <c:strCache>
                <c:ptCount val="7"/>
                <c:pt idx="0">
                  <c:v>Africa</c:v>
                </c:pt>
                <c:pt idx="1">
                  <c:v>Asia</c:v>
                </c:pt>
                <c:pt idx="2">
                  <c:v>Eastern Europe</c:v>
                </c:pt>
                <c:pt idx="3">
                  <c:v>The Middle East</c:v>
                </c:pt>
                <c:pt idx="4">
                  <c:v>North America</c:v>
                </c:pt>
                <c:pt idx="5">
                  <c:v>Latin America</c:v>
                </c:pt>
                <c:pt idx="6">
                  <c:v>Western Europe</c:v>
                </c:pt>
              </c:strCache>
            </c:strRef>
          </c:cat>
          <c:val>
            <c:numRef>
              <c:f>Sheet1!$B$8:$H$8</c:f>
              <c:numCache>
                <c:formatCode>General</c:formatCode>
                <c:ptCount val="7"/>
              </c:numCache>
            </c:numRef>
          </c:val>
        </c:ser>
        <c:dLbls>
          <c:showLegendKey val="0"/>
          <c:showVal val="0"/>
          <c:showCatName val="0"/>
          <c:showSerName val="0"/>
          <c:showPercent val="0"/>
          <c:showBubbleSize val="0"/>
        </c:dLbls>
        <c:gapWidth val="50"/>
        <c:overlap val="100"/>
        <c:axId val="219993600"/>
        <c:axId val="219995136"/>
      </c:barChart>
      <c:catAx>
        <c:axId val="219993600"/>
        <c:scaling>
          <c:orientation val="minMax"/>
        </c:scaling>
        <c:delete val="0"/>
        <c:axPos val="b"/>
        <c:numFmt formatCode="General" sourceLinked="1"/>
        <c:majorTickMark val="out"/>
        <c:minorTickMark val="none"/>
        <c:tickLblPos val="nextTo"/>
        <c:txPr>
          <a:bodyPr rot="0" vert="horz"/>
          <a:lstStyle/>
          <a:p>
            <a:pPr>
              <a:defRPr b="1"/>
            </a:pPr>
            <a:endParaRPr lang="en-US"/>
          </a:p>
        </c:txPr>
        <c:crossAx val="219995136"/>
        <c:crosses val="autoZero"/>
        <c:auto val="1"/>
        <c:lblAlgn val="ctr"/>
        <c:lblOffset val="100"/>
        <c:tickLblSkip val="1"/>
        <c:tickMarkSkip val="1"/>
        <c:noMultiLvlLbl val="0"/>
      </c:catAx>
      <c:valAx>
        <c:axId val="219995136"/>
        <c:scaling>
          <c:orientation val="minMax"/>
        </c:scaling>
        <c:delete val="0"/>
        <c:axPos val="l"/>
        <c:majorGridlines>
          <c:spPr>
            <a:ln>
              <a:solidFill>
                <a:schemeClr val="bg1">
                  <a:lumMod val="95000"/>
                </a:schemeClr>
              </a:solidFill>
              <a:prstDash val="sysDot"/>
            </a:ln>
          </c:spPr>
        </c:majorGridlines>
        <c:numFmt formatCode="General" sourceLinked="1"/>
        <c:majorTickMark val="out"/>
        <c:minorTickMark val="none"/>
        <c:tickLblPos val="nextTo"/>
        <c:txPr>
          <a:bodyPr rot="0" vert="horz"/>
          <a:lstStyle/>
          <a:p>
            <a:pPr>
              <a:defRPr/>
            </a:pPr>
            <a:endParaRPr lang="en-US"/>
          </a:p>
        </c:txPr>
        <c:crossAx val="219993600"/>
        <c:crosses val="autoZero"/>
        <c:crossBetween val="between"/>
        <c:dispUnits>
          <c:builtInUnit val="millions"/>
        </c:dispUnits>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9999"/>
              </a:solidFill>
            </c:spPr>
          </c:dPt>
          <c:dPt>
            <c:idx val="1"/>
            <c:bubble3D val="0"/>
            <c:spPr>
              <a:solidFill>
                <a:srgbClr val="00B0F0"/>
              </a:solidFill>
            </c:spPr>
          </c:dPt>
          <c:dPt>
            <c:idx val="2"/>
            <c:bubble3D val="0"/>
            <c:spPr>
              <a:solidFill>
                <a:srgbClr val="BFBFBF"/>
              </a:solidFill>
            </c:spPr>
          </c:dPt>
          <c:dPt>
            <c:idx val="3"/>
            <c:bubble3D val="0"/>
            <c:spPr>
              <a:solidFill>
                <a:srgbClr val="FFC000"/>
              </a:solidFill>
            </c:spPr>
          </c:dPt>
          <c:dPt>
            <c:idx val="4"/>
            <c:bubble3D val="0"/>
            <c:spPr>
              <a:solidFill>
                <a:srgbClr val="C00000"/>
              </a:solidFill>
            </c:spPr>
          </c:dPt>
          <c:dLbls>
            <c:dLbl>
              <c:idx val="0"/>
              <c:layout/>
              <c:spPr/>
              <c:txPr>
                <a:bodyPr/>
                <a:lstStyle/>
                <a:p>
                  <a:pPr>
                    <a:defRPr sz="1000">
                      <a:solidFill>
                        <a:schemeClr val="bg1"/>
                      </a:solidFill>
                    </a:defRPr>
                  </a:pPr>
                  <a:endParaRPr lang="en-US"/>
                </a:p>
              </c:txPr>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dLbl>
              <c:idx val="4"/>
              <c:layout/>
              <c:spPr/>
              <c:txPr>
                <a:bodyPr/>
                <a:lstStyle/>
                <a:p>
                  <a:pPr>
                    <a:defRPr sz="1000">
                      <a:solidFill>
                        <a:schemeClr val="bg1"/>
                      </a:solidFill>
                    </a:defRPr>
                  </a:pPr>
                  <a:endParaRPr lang="en-US"/>
                </a:p>
              </c:txPr>
              <c:showLegendKey val="0"/>
              <c:showVal val="1"/>
              <c:showCatName val="0"/>
              <c:showSerName val="0"/>
              <c:showPercent val="0"/>
              <c:showBubbleSize val="0"/>
            </c:dLbl>
            <c:txPr>
              <a:bodyPr/>
              <a:lstStyle/>
              <a:p>
                <a:pPr>
                  <a:defRPr sz="1000"/>
                </a:pPr>
                <a:endParaRPr lang="en-US"/>
              </a:p>
            </c:txPr>
            <c:showLegendKey val="0"/>
            <c:showVal val="0"/>
            <c:showCatName val="0"/>
            <c:showSerName val="0"/>
            <c:showPercent val="0"/>
            <c:showBubbleSize val="0"/>
          </c:dLbls>
          <c:cat>
            <c:strRef>
              <c:f>Sheet1!$A$2:$A$6</c:f>
              <c:strCache>
                <c:ptCount val="5"/>
                <c:pt idx="0">
                  <c:v>very interested</c:v>
                </c:pt>
                <c:pt idx="1">
                  <c:v>2nd Qtr</c:v>
                </c:pt>
                <c:pt idx="2">
                  <c:v>3rd Qtr</c:v>
                </c:pt>
                <c:pt idx="3">
                  <c:v>4th Qtr</c:v>
                </c:pt>
                <c:pt idx="4">
                  <c:v>not interested</c:v>
                </c:pt>
              </c:strCache>
            </c:strRef>
          </c:cat>
          <c:val>
            <c:numRef>
              <c:f>Sheet1!$B$2:$B$6</c:f>
              <c:numCache>
                <c:formatCode>0%</c:formatCode>
                <c:ptCount val="5"/>
                <c:pt idx="0">
                  <c:v>0.16</c:v>
                </c:pt>
                <c:pt idx="1">
                  <c:v>0.31000000000000072</c:v>
                </c:pt>
                <c:pt idx="2">
                  <c:v>0.22</c:v>
                </c:pt>
                <c:pt idx="3">
                  <c:v>0.2</c:v>
                </c:pt>
                <c:pt idx="4">
                  <c:v>8.0000000000000043E-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9999"/>
              </a:solidFill>
            </c:spPr>
          </c:dPt>
          <c:dPt>
            <c:idx val="1"/>
            <c:bubble3D val="0"/>
            <c:spPr>
              <a:solidFill>
                <a:srgbClr val="00B0F0"/>
              </a:solidFill>
            </c:spPr>
          </c:dPt>
          <c:dPt>
            <c:idx val="2"/>
            <c:bubble3D val="0"/>
            <c:spPr>
              <a:solidFill>
                <a:srgbClr val="BFBFBF"/>
              </a:solidFill>
            </c:spPr>
          </c:dPt>
          <c:dPt>
            <c:idx val="3"/>
            <c:bubble3D val="0"/>
            <c:spPr>
              <a:solidFill>
                <a:srgbClr val="FFC000"/>
              </a:solidFill>
            </c:spPr>
          </c:dPt>
          <c:dPt>
            <c:idx val="4"/>
            <c:bubble3D val="0"/>
            <c:spPr>
              <a:solidFill>
                <a:srgbClr val="C00000"/>
              </a:solidFill>
            </c:spPr>
          </c:dPt>
          <c:dLbls>
            <c:dLbl>
              <c:idx val="0"/>
              <c:layout/>
              <c:spPr/>
              <c:txPr>
                <a:bodyPr/>
                <a:lstStyle/>
                <a:p>
                  <a:pPr>
                    <a:defRPr sz="1000">
                      <a:solidFill>
                        <a:schemeClr val="bg1"/>
                      </a:solidFill>
                    </a:defRPr>
                  </a:pPr>
                  <a:endParaRPr lang="en-US"/>
                </a:p>
              </c:txPr>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dLbl>
              <c:idx val="4"/>
              <c:layout/>
              <c:spPr/>
              <c:txPr>
                <a:bodyPr/>
                <a:lstStyle/>
                <a:p>
                  <a:pPr>
                    <a:defRPr sz="1000">
                      <a:solidFill>
                        <a:schemeClr val="bg1"/>
                      </a:solidFill>
                    </a:defRPr>
                  </a:pPr>
                  <a:endParaRPr lang="en-US"/>
                </a:p>
              </c:txPr>
              <c:showLegendKey val="0"/>
              <c:showVal val="1"/>
              <c:showCatName val="0"/>
              <c:showSerName val="0"/>
              <c:showPercent val="0"/>
              <c:showBubbleSize val="0"/>
            </c:dLbl>
            <c:txPr>
              <a:bodyPr/>
              <a:lstStyle/>
              <a:p>
                <a:pPr>
                  <a:defRPr sz="1000"/>
                </a:pPr>
                <a:endParaRPr lang="en-US"/>
              </a:p>
            </c:txPr>
            <c:showLegendKey val="0"/>
            <c:showVal val="0"/>
            <c:showCatName val="0"/>
            <c:showSerName val="0"/>
            <c:showPercent val="0"/>
            <c:showBubbleSize val="0"/>
          </c:dLbls>
          <c:cat>
            <c:strRef>
              <c:f>Sheet1!$A$2:$A$6</c:f>
              <c:strCache>
                <c:ptCount val="5"/>
                <c:pt idx="0">
                  <c:v>very interested</c:v>
                </c:pt>
                <c:pt idx="1">
                  <c:v>2nd Qtr</c:v>
                </c:pt>
                <c:pt idx="2">
                  <c:v>3rd Qtr</c:v>
                </c:pt>
                <c:pt idx="3">
                  <c:v>4th Qtr</c:v>
                </c:pt>
                <c:pt idx="4">
                  <c:v>not interested</c:v>
                </c:pt>
              </c:strCache>
            </c:strRef>
          </c:cat>
          <c:val>
            <c:numRef>
              <c:f>Sheet1!$B$2:$B$6</c:f>
              <c:numCache>
                <c:formatCode>0%</c:formatCode>
                <c:ptCount val="5"/>
                <c:pt idx="0">
                  <c:v>0.22</c:v>
                </c:pt>
                <c:pt idx="1">
                  <c:v>0.37000000000000038</c:v>
                </c:pt>
                <c:pt idx="2">
                  <c:v>0.15000000000000024</c:v>
                </c:pt>
                <c:pt idx="3">
                  <c:v>0.15000000000000024</c:v>
                </c:pt>
                <c:pt idx="4">
                  <c:v>0.1</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9999"/>
              </a:solidFill>
            </c:spPr>
          </c:dPt>
          <c:dPt>
            <c:idx val="1"/>
            <c:bubble3D val="0"/>
            <c:spPr>
              <a:solidFill>
                <a:srgbClr val="00B0F0"/>
              </a:solidFill>
            </c:spPr>
          </c:dPt>
          <c:dPt>
            <c:idx val="2"/>
            <c:bubble3D val="0"/>
            <c:spPr>
              <a:solidFill>
                <a:srgbClr val="BFBFBF"/>
              </a:solidFill>
            </c:spPr>
          </c:dPt>
          <c:dPt>
            <c:idx val="3"/>
            <c:bubble3D val="0"/>
            <c:spPr>
              <a:solidFill>
                <a:srgbClr val="FFC000"/>
              </a:solidFill>
            </c:spPr>
          </c:dPt>
          <c:dPt>
            <c:idx val="4"/>
            <c:bubble3D val="0"/>
            <c:spPr>
              <a:solidFill>
                <a:srgbClr val="C00000"/>
              </a:solidFill>
            </c:spPr>
          </c:dPt>
          <c:dLbls>
            <c:dLbl>
              <c:idx val="0"/>
              <c:layout/>
              <c:spPr/>
              <c:txPr>
                <a:bodyPr/>
                <a:lstStyle/>
                <a:p>
                  <a:pPr>
                    <a:defRPr sz="1000">
                      <a:solidFill>
                        <a:schemeClr val="bg1"/>
                      </a:solidFill>
                    </a:defRPr>
                  </a:pPr>
                  <a:endParaRPr lang="en-US"/>
                </a:p>
              </c:txPr>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dLbl>
              <c:idx val="4"/>
              <c:layout/>
              <c:spPr/>
              <c:txPr>
                <a:bodyPr/>
                <a:lstStyle/>
                <a:p>
                  <a:pPr>
                    <a:defRPr sz="1000">
                      <a:solidFill>
                        <a:schemeClr val="bg1"/>
                      </a:solidFill>
                    </a:defRPr>
                  </a:pPr>
                  <a:endParaRPr lang="en-US"/>
                </a:p>
              </c:txPr>
              <c:showLegendKey val="0"/>
              <c:showVal val="1"/>
              <c:showCatName val="0"/>
              <c:showSerName val="0"/>
              <c:showPercent val="0"/>
              <c:showBubbleSize val="0"/>
            </c:dLbl>
            <c:txPr>
              <a:bodyPr/>
              <a:lstStyle/>
              <a:p>
                <a:pPr>
                  <a:defRPr sz="1000"/>
                </a:pPr>
                <a:endParaRPr lang="en-US"/>
              </a:p>
            </c:txPr>
            <c:showLegendKey val="0"/>
            <c:showVal val="0"/>
            <c:showCatName val="0"/>
            <c:showSerName val="0"/>
            <c:showPercent val="0"/>
            <c:showBubbleSize val="0"/>
          </c:dLbls>
          <c:cat>
            <c:strRef>
              <c:f>Sheet1!$A$2:$A$6</c:f>
              <c:strCache>
                <c:ptCount val="5"/>
                <c:pt idx="0">
                  <c:v>very interested</c:v>
                </c:pt>
                <c:pt idx="1">
                  <c:v>2nd Qtr</c:v>
                </c:pt>
                <c:pt idx="2">
                  <c:v>3rd Qtr</c:v>
                </c:pt>
                <c:pt idx="3">
                  <c:v>4th Qtr</c:v>
                </c:pt>
                <c:pt idx="4">
                  <c:v>not interested</c:v>
                </c:pt>
              </c:strCache>
            </c:strRef>
          </c:cat>
          <c:val>
            <c:numRef>
              <c:f>Sheet1!$B$2:$B$6</c:f>
              <c:numCache>
                <c:formatCode>0%</c:formatCode>
                <c:ptCount val="5"/>
                <c:pt idx="0">
                  <c:v>0.19</c:v>
                </c:pt>
                <c:pt idx="1">
                  <c:v>0.43000000000000038</c:v>
                </c:pt>
                <c:pt idx="2">
                  <c:v>0.17</c:v>
                </c:pt>
                <c:pt idx="3">
                  <c:v>0.13</c:v>
                </c:pt>
                <c:pt idx="4">
                  <c:v>7.0000000000000021E-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9999"/>
              </a:solidFill>
            </c:spPr>
          </c:dPt>
          <c:dPt>
            <c:idx val="1"/>
            <c:bubble3D val="0"/>
            <c:spPr>
              <a:solidFill>
                <a:srgbClr val="00B0F0"/>
              </a:solidFill>
            </c:spPr>
          </c:dPt>
          <c:dPt>
            <c:idx val="2"/>
            <c:bubble3D val="0"/>
            <c:spPr>
              <a:solidFill>
                <a:srgbClr val="BFBFBF"/>
              </a:solidFill>
            </c:spPr>
          </c:dPt>
          <c:dPt>
            <c:idx val="3"/>
            <c:bubble3D val="0"/>
            <c:spPr>
              <a:solidFill>
                <a:srgbClr val="FFC000"/>
              </a:solidFill>
            </c:spPr>
          </c:dPt>
          <c:dPt>
            <c:idx val="4"/>
            <c:bubble3D val="0"/>
            <c:spPr>
              <a:solidFill>
                <a:srgbClr val="C00000"/>
              </a:solidFill>
            </c:spPr>
          </c:dPt>
          <c:dLbls>
            <c:dLbl>
              <c:idx val="0"/>
              <c:layout/>
              <c:spPr/>
              <c:txPr>
                <a:bodyPr/>
                <a:lstStyle/>
                <a:p>
                  <a:pPr>
                    <a:defRPr sz="1000">
                      <a:solidFill>
                        <a:schemeClr val="bg1"/>
                      </a:solidFill>
                    </a:defRPr>
                  </a:pPr>
                  <a:endParaRPr lang="en-US"/>
                </a:p>
              </c:txPr>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dLbl>
              <c:idx val="4"/>
              <c:layout/>
              <c:spPr/>
              <c:txPr>
                <a:bodyPr/>
                <a:lstStyle/>
                <a:p>
                  <a:pPr>
                    <a:defRPr sz="1000">
                      <a:solidFill>
                        <a:schemeClr val="bg1"/>
                      </a:solidFill>
                    </a:defRPr>
                  </a:pPr>
                  <a:endParaRPr lang="en-US"/>
                </a:p>
              </c:txPr>
              <c:showLegendKey val="0"/>
              <c:showVal val="1"/>
              <c:showCatName val="0"/>
              <c:showSerName val="0"/>
              <c:showPercent val="0"/>
              <c:showBubbleSize val="0"/>
            </c:dLbl>
            <c:txPr>
              <a:bodyPr/>
              <a:lstStyle/>
              <a:p>
                <a:pPr>
                  <a:defRPr sz="1000"/>
                </a:pPr>
                <a:endParaRPr lang="en-US"/>
              </a:p>
            </c:txPr>
            <c:showLegendKey val="0"/>
            <c:showVal val="0"/>
            <c:showCatName val="0"/>
            <c:showSerName val="0"/>
            <c:showPercent val="0"/>
            <c:showBubbleSize val="0"/>
          </c:dLbls>
          <c:cat>
            <c:strRef>
              <c:f>Sheet1!$A$2:$A$6</c:f>
              <c:strCache>
                <c:ptCount val="5"/>
                <c:pt idx="0">
                  <c:v>very interested</c:v>
                </c:pt>
                <c:pt idx="1">
                  <c:v>2nd Qtr</c:v>
                </c:pt>
                <c:pt idx="2">
                  <c:v>3rd Qtr</c:v>
                </c:pt>
                <c:pt idx="3">
                  <c:v>4th Qtr</c:v>
                </c:pt>
                <c:pt idx="4">
                  <c:v>not interested</c:v>
                </c:pt>
              </c:strCache>
            </c:strRef>
          </c:cat>
          <c:val>
            <c:numRef>
              <c:f>Sheet1!$B$2:$B$6</c:f>
              <c:numCache>
                <c:formatCode>0%</c:formatCode>
                <c:ptCount val="5"/>
                <c:pt idx="0">
                  <c:v>0.14000000000000001</c:v>
                </c:pt>
                <c:pt idx="1">
                  <c:v>0.4</c:v>
                </c:pt>
                <c:pt idx="2">
                  <c:v>0.22</c:v>
                </c:pt>
                <c:pt idx="3">
                  <c:v>9.0000000000000024E-2</c:v>
                </c:pt>
                <c:pt idx="4">
                  <c:v>0.1200000000000000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09999"/>
              </a:solidFill>
            </c:spPr>
          </c:dPt>
          <c:dPt>
            <c:idx val="1"/>
            <c:bubble3D val="0"/>
            <c:spPr>
              <a:solidFill>
                <a:srgbClr val="00B0F0"/>
              </a:solidFill>
            </c:spPr>
          </c:dPt>
          <c:dPt>
            <c:idx val="2"/>
            <c:bubble3D val="0"/>
            <c:spPr>
              <a:solidFill>
                <a:srgbClr val="BFBFBF"/>
              </a:solidFill>
            </c:spPr>
          </c:dPt>
          <c:dPt>
            <c:idx val="3"/>
            <c:bubble3D val="0"/>
            <c:spPr>
              <a:solidFill>
                <a:srgbClr val="FFC000"/>
              </a:solidFill>
            </c:spPr>
          </c:dPt>
          <c:dPt>
            <c:idx val="4"/>
            <c:bubble3D val="0"/>
            <c:spPr>
              <a:solidFill>
                <a:srgbClr val="C00000"/>
              </a:solidFill>
            </c:spPr>
          </c:dPt>
          <c:dLbls>
            <c:dLbl>
              <c:idx val="0"/>
              <c:layout/>
              <c:spPr/>
              <c:txPr>
                <a:bodyPr/>
                <a:lstStyle/>
                <a:p>
                  <a:pPr>
                    <a:defRPr sz="1000">
                      <a:solidFill>
                        <a:schemeClr val="bg1"/>
                      </a:solidFill>
                    </a:defRPr>
                  </a:pPr>
                  <a:endParaRPr lang="en-US"/>
                </a:p>
              </c:txPr>
              <c:showLegendKey val="0"/>
              <c:showVal val="1"/>
              <c:showCatName val="0"/>
              <c:showSerName val="0"/>
              <c:showPercent val="0"/>
              <c:showBubbleSize val="0"/>
            </c:dLbl>
            <c:dLbl>
              <c:idx val="1"/>
              <c:layout/>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dLbl>
              <c:idx val="4"/>
              <c:layout/>
              <c:spPr/>
              <c:txPr>
                <a:bodyPr/>
                <a:lstStyle/>
                <a:p>
                  <a:pPr>
                    <a:defRPr sz="1000">
                      <a:solidFill>
                        <a:schemeClr val="bg1"/>
                      </a:solidFill>
                    </a:defRPr>
                  </a:pPr>
                  <a:endParaRPr lang="en-US"/>
                </a:p>
              </c:txPr>
              <c:showLegendKey val="0"/>
              <c:showVal val="1"/>
              <c:showCatName val="0"/>
              <c:showSerName val="0"/>
              <c:showPercent val="0"/>
              <c:showBubbleSize val="0"/>
            </c:dLbl>
            <c:txPr>
              <a:bodyPr/>
              <a:lstStyle/>
              <a:p>
                <a:pPr>
                  <a:defRPr sz="1000"/>
                </a:pPr>
                <a:endParaRPr lang="en-US"/>
              </a:p>
            </c:txPr>
            <c:showLegendKey val="0"/>
            <c:showVal val="0"/>
            <c:showCatName val="0"/>
            <c:showSerName val="0"/>
            <c:showPercent val="0"/>
            <c:showBubbleSize val="0"/>
          </c:dLbls>
          <c:cat>
            <c:strRef>
              <c:f>Sheet1!$A$2:$A$6</c:f>
              <c:strCache>
                <c:ptCount val="5"/>
                <c:pt idx="0">
                  <c:v>very interested</c:v>
                </c:pt>
                <c:pt idx="1">
                  <c:v>2nd Qtr</c:v>
                </c:pt>
                <c:pt idx="2">
                  <c:v>3rd Qtr</c:v>
                </c:pt>
                <c:pt idx="3">
                  <c:v>4th Qtr</c:v>
                </c:pt>
                <c:pt idx="4">
                  <c:v>not interested</c:v>
                </c:pt>
              </c:strCache>
            </c:strRef>
          </c:cat>
          <c:val>
            <c:numRef>
              <c:f>Sheet1!$B$2:$B$6</c:f>
              <c:numCache>
                <c:formatCode>0%</c:formatCode>
                <c:ptCount val="5"/>
                <c:pt idx="0">
                  <c:v>9.0000000000000024E-2</c:v>
                </c:pt>
                <c:pt idx="1">
                  <c:v>0.42000000000000032</c:v>
                </c:pt>
                <c:pt idx="2">
                  <c:v>0.11</c:v>
                </c:pt>
                <c:pt idx="3">
                  <c:v>0.2</c:v>
                </c:pt>
                <c:pt idx="4">
                  <c:v>0.14000000000000001</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8"/>
    </mc:Choice>
    <mc:Fallback>
      <c:style val="28"/>
    </mc:Fallback>
  </mc:AlternateContent>
  <c:chart>
    <c:autoTitleDeleted val="1"/>
    <c:plotArea>
      <c:layout>
        <c:manualLayout>
          <c:layoutTarget val="inner"/>
          <c:xMode val="edge"/>
          <c:yMode val="edge"/>
          <c:x val="0"/>
          <c:y val="9.259259259259367E-2"/>
          <c:w val="1"/>
          <c:h val="0.8333333333333337"/>
        </c:manualLayout>
      </c:layout>
      <c:doughnutChart>
        <c:varyColors val="1"/>
        <c:ser>
          <c:idx val="0"/>
          <c:order val="0"/>
          <c:tx>
            <c:strRef>
              <c:f>Sheet1!$B$1</c:f>
              <c:strCache>
                <c:ptCount val="1"/>
                <c:pt idx="0">
                  <c:v>Budget Source</c:v>
                </c:pt>
              </c:strCache>
            </c:strRef>
          </c:tx>
          <c:spPr>
            <a:solidFill>
              <a:srgbClr val="06325C"/>
            </a:solidFill>
            <a:ln w="6350" cap="flat">
              <a:solidFill>
                <a:schemeClr val="bg1">
                  <a:lumMod val="85000"/>
                </a:schemeClr>
              </a:solidFill>
              <a:round/>
            </a:ln>
            <a:effectLst/>
            <a:scene3d>
              <a:camera prst="orthographicFront"/>
              <a:lightRig rig="threePt" dir="t">
                <a:rot lat="0" lon="0" rev="1200000"/>
              </a:lightRig>
            </a:scene3d>
            <a:sp3d/>
          </c:spPr>
          <c:dPt>
            <c:idx val="0"/>
            <c:bubble3D val="0"/>
            <c:spPr>
              <a:solidFill>
                <a:schemeClr val="accent1">
                  <a:lumMod val="75000"/>
                  <a:lumOff val="25000"/>
                </a:schemeClr>
              </a:solidFill>
              <a:ln w="6350" cap="flat">
                <a:solidFill>
                  <a:schemeClr val="bg1">
                    <a:lumMod val="85000"/>
                  </a:schemeClr>
                </a:solidFill>
                <a:round/>
              </a:ln>
              <a:effectLst/>
              <a:scene3d>
                <a:camera prst="orthographicFront"/>
                <a:lightRig rig="threePt" dir="t">
                  <a:rot lat="0" lon="0" rev="1200000"/>
                </a:lightRig>
              </a:scene3d>
              <a:sp3d/>
            </c:spPr>
          </c:dPt>
          <c:dPt>
            <c:idx val="1"/>
            <c:bubble3D val="0"/>
            <c:spPr>
              <a:solidFill>
                <a:srgbClr val="17426B"/>
              </a:solidFill>
              <a:ln w="6350" cap="flat">
                <a:solidFill>
                  <a:schemeClr val="bg1">
                    <a:lumMod val="85000"/>
                  </a:schemeClr>
                </a:solidFill>
                <a:round/>
              </a:ln>
              <a:effectLst/>
              <a:scene3d>
                <a:camera prst="orthographicFront"/>
                <a:lightRig rig="threePt" dir="t">
                  <a:rot lat="0" lon="0" rev="1200000"/>
                </a:lightRig>
              </a:scene3d>
              <a:sp3d/>
            </c:spPr>
          </c:dPt>
          <c:dPt>
            <c:idx val="2"/>
            <c:bubble3D val="0"/>
            <c:spPr>
              <a:solidFill>
                <a:schemeClr val="accent3">
                  <a:lumMod val="50000"/>
                </a:schemeClr>
              </a:solidFill>
              <a:ln w="6350" cap="flat">
                <a:solidFill>
                  <a:schemeClr val="bg1">
                    <a:lumMod val="85000"/>
                  </a:schemeClr>
                </a:solidFill>
                <a:round/>
              </a:ln>
              <a:effectLst/>
              <a:scene3d>
                <a:camera prst="orthographicFront"/>
                <a:lightRig rig="threePt" dir="t">
                  <a:rot lat="0" lon="0" rev="1200000"/>
                </a:lightRig>
              </a:scene3d>
              <a:sp3d/>
            </c:spPr>
          </c:dPt>
          <c:dPt>
            <c:idx val="3"/>
            <c:bubble3D val="0"/>
            <c:spPr>
              <a:solidFill>
                <a:schemeClr val="accent3"/>
              </a:solidFill>
              <a:ln w="6350" cap="flat">
                <a:solidFill>
                  <a:schemeClr val="bg1">
                    <a:lumMod val="85000"/>
                  </a:schemeClr>
                </a:solidFill>
                <a:round/>
              </a:ln>
              <a:effectLst/>
              <a:scene3d>
                <a:camera prst="orthographicFront"/>
                <a:lightRig rig="threePt" dir="t">
                  <a:rot lat="0" lon="0" rev="1200000"/>
                </a:lightRig>
              </a:scene3d>
              <a:sp3d/>
            </c:spPr>
          </c:dPt>
          <c:dPt>
            <c:idx val="4"/>
            <c:bubble3D val="0"/>
            <c:spPr>
              <a:solidFill>
                <a:schemeClr val="bg2">
                  <a:lumMod val="50000"/>
                </a:schemeClr>
              </a:solidFill>
              <a:ln w="6350" cap="flat">
                <a:solidFill>
                  <a:schemeClr val="bg1">
                    <a:lumMod val="85000"/>
                  </a:schemeClr>
                </a:solidFill>
                <a:round/>
              </a:ln>
              <a:effectLst/>
              <a:scene3d>
                <a:camera prst="orthographicFront"/>
                <a:lightRig rig="threePt" dir="t">
                  <a:rot lat="0" lon="0" rev="1200000"/>
                </a:lightRig>
              </a:scene3d>
              <a:sp3d/>
            </c:spPr>
          </c:dPt>
          <c:dPt>
            <c:idx val="5"/>
            <c:bubble3D val="0"/>
            <c:spPr>
              <a:solidFill>
                <a:schemeClr val="accent4">
                  <a:lumMod val="40000"/>
                  <a:lumOff val="60000"/>
                </a:schemeClr>
              </a:solidFill>
              <a:ln w="6350" cap="flat">
                <a:solidFill>
                  <a:schemeClr val="bg1">
                    <a:lumMod val="85000"/>
                  </a:schemeClr>
                </a:solidFill>
                <a:round/>
              </a:ln>
              <a:effectLst/>
              <a:scene3d>
                <a:camera prst="orthographicFront"/>
                <a:lightRig rig="threePt" dir="t">
                  <a:rot lat="0" lon="0" rev="1200000"/>
                </a:lightRig>
              </a:scene3d>
              <a:sp3d/>
            </c:spPr>
          </c:dPt>
          <c:dPt>
            <c:idx val="6"/>
            <c:bubble3D val="0"/>
            <c:spPr>
              <a:solidFill>
                <a:schemeClr val="bg1">
                  <a:lumMod val="85000"/>
                </a:schemeClr>
              </a:solidFill>
              <a:ln w="6350" cap="flat">
                <a:solidFill>
                  <a:schemeClr val="bg1">
                    <a:lumMod val="85000"/>
                  </a:schemeClr>
                </a:solidFill>
                <a:round/>
              </a:ln>
              <a:effectLst/>
              <a:scene3d>
                <a:camera prst="orthographicFront"/>
                <a:lightRig rig="threePt" dir="t">
                  <a:rot lat="0" lon="0" rev="1200000"/>
                </a:lightRig>
              </a:scene3d>
              <a:sp3d/>
            </c:spPr>
          </c:dPt>
          <c:dLbls>
            <c:dLbl>
              <c:idx val="0"/>
              <c:numFmt formatCode="0%" sourceLinked="0"/>
              <c:spPr/>
              <c:txPr>
                <a:bodyPr/>
                <a:lstStyle/>
                <a:p>
                  <a:pPr>
                    <a:defRPr sz="1300">
                      <a:solidFill>
                        <a:schemeClr val="bg1"/>
                      </a:solidFill>
                    </a:defRPr>
                  </a:pPr>
                  <a:endParaRPr lang="en-US"/>
                </a:p>
              </c:txPr>
              <c:showLegendKey val="0"/>
              <c:showVal val="1"/>
              <c:showCatName val="0"/>
              <c:showSerName val="0"/>
              <c:showPercent val="0"/>
              <c:showBubbleSize val="0"/>
            </c:dLbl>
            <c:dLbl>
              <c:idx val="1"/>
              <c:numFmt formatCode="0%" sourceLinked="0"/>
              <c:spPr/>
              <c:txPr>
                <a:bodyPr/>
                <a:lstStyle/>
                <a:p>
                  <a:pPr>
                    <a:defRPr sz="1300">
                      <a:solidFill>
                        <a:schemeClr val="bg1"/>
                      </a:solidFill>
                    </a:defRPr>
                  </a:pPr>
                  <a:endParaRPr lang="en-US"/>
                </a:p>
              </c:txPr>
              <c:showLegendKey val="0"/>
              <c:showVal val="1"/>
              <c:showCatName val="0"/>
              <c:showSerName val="0"/>
              <c:showPercent val="0"/>
              <c:showBubbleSize val="0"/>
            </c:dLbl>
            <c:dLbl>
              <c:idx val="2"/>
              <c:numFmt formatCode="0%" sourceLinked="0"/>
              <c:spPr/>
              <c:txPr>
                <a:bodyPr/>
                <a:lstStyle/>
                <a:p>
                  <a:pPr>
                    <a:defRPr sz="1300">
                      <a:solidFill>
                        <a:schemeClr val="bg1"/>
                      </a:solidFill>
                    </a:defRPr>
                  </a:pPr>
                  <a:endParaRPr lang="en-US"/>
                </a:p>
              </c:txPr>
              <c:showLegendKey val="0"/>
              <c:showVal val="1"/>
              <c:showCatName val="0"/>
              <c:showSerName val="0"/>
              <c:showPercent val="0"/>
              <c:showBubbleSize val="0"/>
            </c:dLbl>
            <c:numFmt formatCode="0%" sourceLinked="0"/>
            <c:txPr>
              <a:bodyPr/>
              <a:lstStyle/>
              <a:p>
                <a:pPr>
                  <a:defRPr sz="1300"/>
                </a:pPr>
                <a:endParaRPr lang="en-US"/>
              </a:p>
            </c:txPr>
            <c:showLegendKey val="0"/>
            <c:showVal val="1"/>
            <c:showCatName val="0"/>
            <c:showSerName val="0"/>
            <c:showPercent val="0"/>
            <c:showBubbleSize val="0"/>
            <c:showLeaderLines val="1"/>
          </c:dLbls>
          <c:cat>
            <c:strRef>
              <c:f>Sheet1!$A$2:$A$8</c:f>
              <c:strCache>
                <c:ptCount val="7"/>
                <c:pt idx="0">
                  <c:v>Car leasing companies</c:v>
                </c:pt>
                <c:pt idx="1">
                  <c:v>Car rental companies</c:v>
                </c:pt>
                <c:pt idx="2">
                  <c:v>Corporate travel agencies</c:v>
                </c:pt>
                <c:pt idx="3">
                  <c:v>Car OEMs</c:v>
                </c:pt>
                <c:pt idx="4">
                  <c:v>Mobility Specialist</c:v>
                </c:pt>
                <c:pt idx="5">
                  <c:v>TechnologyProvider</c:v>
                </c:pt>
                <c:pt idx="6">
                  <c:v>DK</c:v>
                </c:pt>
              </c:strCache>
            </c:strRef>
          </c:cat>
          <c:val>
            <c:numRef>
              <c:f>Sheet1!$B$2:$B$8</c:f>
              <c:numCache>
                <c:formatCode>0.0%</c:formatCode>
                <c:ptCount val="7"/>
                <c:pt idx="0">
                  <c:v>0.25</c:v>
                </c:pt>
                <c:pt idx="1">
                  <c:v>0.16</c:v>
                </c:pt>
                <c:pt idx="2" formatCode="0.00%">
                  <c:v>0.15000000000000024</c:v>
                </c:pt>
                <c:pt idx="3">
                  <c:v>0.14000000000000001</c:v>
                </c:pt>
                <c:pt idx="4" formatCode="0.00%">
                  <c:v>0.13</c:v>
                </c:pt>
                <c:pt idx="5" formatCode="0.00%">
                  <c:v>4.0000000000000022E-2</c:v>
                </c:pt>
                <c:pt idx="6" formatCode="0.00%">
                  <c:v>0.13</c:v>
                </c:pt>
              </c:numCache>
            </c:numRef>
          </c:val>
        </c:ser>
        <c:dLbls>
          <c:showLegendKey val="0"/>
          <c:showVal val="0"/>
          <c:showCatName val="0"/>
          <c:showSerName val="0"/>
          <c:showPercent val="0"/>
          <c:showBubbleSize val="0"/>
          <c:showLeaderLines val="1"/>
        </c:dLbls>
        <c:firstSliceAng val="0"/>
        <c:holeSize val="54"/>
      </c:doughnutChart>
    </c:plotArea>
    <c:plotVisOnly val="1"/>
    <c:dispBlanksAs val="zero"/>
    <c:showDLblsOverMax val="0"/>
  </c:chart>
  <c:txPr>
    <a:bodyPr/>
    <a:lstStyle/>
    <a:p>
      <a:pPr>
        <a:defRPr sz="12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8C938A-D79E-4DBF-9C64-79D19D756F7E}"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GB"/>
        </a:p>
      </dgm:t>
    </dgm:pt>
    <dgm:pt modelId="{01B74034-E309-401F-8DE8-D4ADD24F4BE3}">
      <dgm:prSet phldrT="[Text]" custT="1"/>
      <dgm:spPr/>
      <dgm:t>
        <a:bodyPr/>
        <a:lstStyle/>
        <a:p>
          <a:r>
            <a:rPr lang="en-GB" sz="1200" dirty="0" smtClean="0">
              <a:latin typeface="Arial" panose="020B0604020202020204" pitchFamily="34" charset="0"/>
              <a:cs typeface="Arial" panose="020B0604020202020204" pitchFamily="34" charset="0"/>
            </a:rPr>
            <a:t>1) Attract</a:t>
          </a:r>
          <a:endParaRPr lang="en-GB" sz="1200" dirty="0">
            <a:latin typeface="Arial" panose="020B0604020202020204" pitchFamily="34" charset="0"/>
            <a:cs typeface="Arial" panose="020B0604020202020204" pitchFamily="34" charset="0"/>
          </a:endParaRPr>
        </a:p>
      </dgm:t>
    </dgm:pt>
    <dgm:pt modelId="{6E904F31-D687-4BFF-8115-91E9AE7BB4E0}" type="parTrans" cxnId="{AB680683-6CAB-4400-9D9B-B101ECE10465}">
      <dgm:prSet/>
      <dgm:spPr/>
      <dgm:t>
        <a:bodyPr/>
        <a:lstStyle/>
        <a:p>
          <a:endParaRPr lang="en-GB" sz="1200">
            <a:latin typeface="Arial" panose="020B0604020202020204" pitchFamily="34" charset="0"/>
            <a:cs typeface="Arial" panose="020B0604020202020204" pitchFamily="34" charset="0"/>
          </a:endParaRPr>
        </a:p>
      </dgm:t>
    </dgm:pt>
    <dgm:pt modelId="{48593541-2069-499C-94D5-1191E4C6E579}" type="sibTrans" cxnId="{AB680683-6CAB-4400-9D9B-B101ECE10465}">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0E4147C8-4F38-47A6-A614-8FA0E6390319}">
      <dgm:prSet phldrT="[Text]" custT="1"/>
      <dgm:spPr/>
      <dgm:t>
        <a:bodyPr/>
        <a:lstStyle/>
        <a:p>
          <a:r>
            <a:rPr lang="en-GB" sz="1200" dirty="0" smtClean="0">
              <a:latin typeface="Arial" panose="020B0604020202020204" pitchFamily="34" charset="0"/>
              <a:cs typeface="Arial" panose="020B0604020202020204" pitchFamily="34" charset="0"/>
            </a:rPr>
            <a:t>2) Entertain</a:t>
          </a:r>
          <a:endParaRPr lang="en-GB" sz="1200" dirty="0">
            <a:latin typeface="Arial" panose="020B0604020202020204" pitchFamily="34" charset="0"/>
            <a:cs typeface="Arial" panose="020B0604020202020204" pitchFamily="34" charset="0"/>
          </a:endParaRPr>
        </a:p>
      </dgm:t>
    </dgm:pt>
    <dgm:pt modelId="{6204C2E3-F14E-468E-808B-96776DC20218}" type="parTrans" cxnId="{9C1AAE6F-1EA7-4B19-A398-1671C49B9F14}">
      <dgm:prSet/>
      <dgm:spPr/>
      <dgm:t>
        <a:bodyPr/>
        <a:lstStyle/>
        <a:p>
          <a:endParaRPr lang="en-GB" sz="1200">
            <a:latin typeface="Arial" panose="020B0604020202020204" pitchFamily="34" charset="0"/>
            <a:cs typeface="Arial" panose="020B0604020202020204" pitchFamily="34" charset="0"/>
          </a:endParaRPr>
        </a:p>
      </dgm:t>
    </dgm:pt>
    <dgm:pt modelId="{A7ED077E-14CA-4AF2-A283-EBD13B7B798A}" type="sibTrans" cxnId="{9C1AAE6F-1EA7-4B19-A398-1671C49B9F14}">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2A6E4A7C-4735-4E53-A940-83F201DA126C}">
      <dgm:prSet phldrT="[Text]" custT="1"/>
      <dgm:spPr/>
      <dgm:t>
        <a:bodyPr/>
        <a:lstStyle/>
        <a:p>
          <a:r>
            <a:rPr lang="en-GB" sz="1200" dirty="0" smtClean="0">
              <a:latin typeface="Arial" panose="020B0604020202020204" pitchFamily="34" charset="0"/>
              <a:cs typeface="Arial" panose="020B0604020202020204" pitchFamily="34" charset="0"/>
            </a:rPr>
            <a:t>3) Engage</a:t>
          </a:r>
          <a:endParaRPr lang="en-GB" sz="1200" dirty="0">
            <a:latin typeface="Arial" panose="020B0604020202020204" pitchFamily="34" charset="0"/>
            <a:cs typeface="Arial" panose="020B0604020202020204" pitchFamily="34" charset="0"/>
          </a:endParaRPr>
        </a:p>
      </dgm:t>
    </dgm:pt>
    <dgm:pt modelId="{CA2D886C-E6BF-4E34-A6AC-2E38F7D00AB4}" type="parTrans" cxnId="{74BF28B4-079A-4A3E-8BAA-7A2370F88417}">
      <dgm:prSet/>
      <dgm:spPr/>
      <dgm:t>
        <a:bodyPr/>
        <a:lstStyle/>
        <a:p>
          <a:endParaRPr lang="en-GB" sz="1200">
            <a:latin typeface="Arial" panose="020B0604020202020204" pitchFamily="34" charset="0"/>
            <a:cs typeface="Arial" panose="020B0604020202020204" pitchFamily="34" charset="0"/>
          </a:endParaRPr>
        </a:p>
      </dgm:t>
    </dgm:pt>
    <dgm:pt modelId="{CE790451-BA00-4A51-9363-08F2C8953582}" type="sibTrans" cxnId="{74BF28B4-079A-4A3E-8BAA-7A2370F88417}">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F200C92C-F81D-4C9E-93E1-54CDF0737FE6}">
      <dgm:prSet phldrT="[Text]" custT="1"/>
      <dgm:spPr/>
      <dgm:t>
        <a:bodyPr/>
        <a:lstStyle/>
        <a:p>
          <a:r>
            <a:rPr lang="en-GB" sz="1200" dirty="0" smtClean="0">
              <a:latin typeface="Arial" panose="020B0604020202020204" pitchFamily="34" charset="0"/>
              <a:cs typeface="Arial" panose="020B0604020202020204" pitchFamily="34" charset="0"/>
            </a:rPr>
            <a:t>4) Transact</a:t>
          </a:r>
          <a:endParaRPr lang="en-GB" sz="1200" dirty="0">
            <a:latin typeface="Arial" panose="020B0604020202020204" pitchFamily="34" charset="0"/>
            <a:cs typeface="Arial" panose="020B0604020202020204" pitchFamily="34" charset="0"/>
          </a:endParaRPr>
        </a:p>
      </dgm:t>
    </dgm:pt>
    <dgm:pt modelId="{CBAF5189-3B9A-40A7-A978-F94A868F0BEB}" type="parTrans" cxnId="{BA8EB58E-B5F0-4E1B-83CA-2DC00B77E6E1}">
      <dgm:prSet/>
      <dgm:spPr/>
      <dgm:t>
        <a:bodyPr/>
        <a:lstStyle/>
        <a:p>
          <a:endParaRPr lang="en-GB" sz="1200">
            <a:latin typeface="Arial" panose="020B0604020202020204" pitchFamily="34" charset="0"/>
            <a:cs typeface="Arial" panose="020B0604020202020204" pitchFamily="34" charset="0"/>
          </a:endParaRPr>
        </a:p>
      </dgm:t>
    </dgm:pt>
    <dgm:pt modelId="{397E48AA-09ED-4DDA-9340-0C4A01F478AD}" type="sibTrans" cxnId="{BA8EB58E-B5F0-4E1B-83CA-2DC00B77E6E1}">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B26BFCEF-1A8B-459D-86C4-24E36BE7BF1F}" type="pres">
      <dgm:prSet presAssocID="{FF8C938A-D79E-4DBF-9C64-79D19D756F7E}" presName="cycle" presStyleCnt="0">
        <dgm:presLayoutVars>
          <dgm:dir/>
          <dgm:resizeHandles val="exact"/>
        </dgm:presLayoutVars>
      </dgm:prSet>
      <dgm:spPr/>
      <dgm:t>
        <a:bodyPr/>
        <a:lstStyle/>
        <a:p>
          <a:endParaRPr lang="en-GB"/>
        </a:p>
      </dgm:t>
    </dgm:pt>
    <dgm:pt modelId="{F5008335-589B-4529-BD19-E362505F2F4B}" type="pres">
      <dgm:prSet presAssocID="{01B74034-E309-401F-8DE8-D4ADD24F4BE3}" presName="dummy" presStyleCnt="0"/>
      <dgm:spPr/>
    </dgm:pt>
    <dgm:pt modelId="{CA9423F7-0845-4F1B-9AC6-AC9D595D686F}" type="pres">
      <dgm:prSet presAssocID="{01B74034-E309-401F-8DE8-D4ADD24F4BE3}" presName="node" presStyleLbl="revTx" presStyleIdx="0" presStyleCnt="4">
        <dgm:presLayoutVars>
          <dgm:bulletEnabled val="1"/>
        </dgm:presLayoutVars>
      </dgm:prSet>
      <dgm:spPr/>
      <dgm:t>
        <a:bodyPr/>
        <a:lstStyle/>
        <a:p>
          <a:endParaRPr lang="en-GB"/>
        </a:p>
      </dgm:t>
    </dgm:pt>
    <dgm:pt modelId="{6A17EF46-BACE-4288-8739-E536805EF790}" type="pres">
      <dgm:prSet presAssocID="{48593541-2069-499C-94D5-1191E4C6E579}" presName="sibTrans" presStyleLbl="node1" presStyleIdx="0" presStyleCnt="4"/>
      <dgm:spPr/>
      <dgm:t>
        <a:bodyPr/>
        <a:lstStyle/>
        <a:p>
          <a:endParaRPr lang="en-GB"/>
        </a:p>
      </dgm:t>
    </dgm:pt>
    <dgm:pt modelId="{B9007074-EE06-42B4-8EDD-7BE502784F96}" type="pres">
      <dgm:prSet presAssocID="{0E4147C8-4F38-47A6-A614-8FA0E6390319}" presName="dummy" presStyleCnt="0"/>
      <dgm:spPr/>
    </dgm:pt>
    <dgm:pt modelId="{E63957EC-6FC8-4607-91D8-B5E5D221F801}" type="pres">
      <dgm:prSet presAssocID="{0E4147C8-4F38-47A6-A614-8FA0E6390319}" presName="node" presStyleLbl="revTx" presStyleIdx="1" presStyleCnt="4" custScaleX="127766" custRadScaleRad="116852" custRadScaleInc="-19317">
        <dgm:presLayoutVars>
          <dgm:bulletEnabled val="1"/>
        </dgm:presLayoutVars>
      </dgm:prSet>
      <dgm:spPr/>
      <dgm:t>
        <a:bodyPr/>
        <a:lstStyle/>
        <a:p>
          <a:endParaRPr lang="en-GB"/>
        </a:p>
      </dgm:t>
    </dgm:pt>
    <dgm:pt modelId="{64BB38D7-94DA-451E-93B3-FF51EE48BE19}" type="pres">
      <dgm:prSet presAssocID="{A7ED077E-14CA-4AF2-A283-EBD13B7B798A}" presName="sibTrans" presStyleLbl="node1" presStyleIdx="1" presStyleCnt="4"/>
      <dgm:spPr/>
      <dgm:t>
        <a:bodyPr/>
        <a:lstStyle/>
        <a:p>
          <a:endParaRPr lang="en-GB"/>
        </a:p>
      </dgm:t>
    </dgm:pt>
    <dgm:pt modelId="{98B36EF6-2E51-445D-8C41-C5E686244D3A}" type="pres">
      <dgm:prSet presAssocID="{2A6E4A7C-4735-4E53-A940-83F201DA126C}" presName="dummy" presStyleCnt="0"/>
      <dgm:spPr/>
    </dgm:pt>
    <dgm:pt modelId="{F070F21B-63A5-4FE4-9BEE-A88C427FE4F9}" type="pres">
      <dgm:prSet presAssocID="{2A6E4A7C-4735-4E53-A940-83F201DA126C}" presName="node" presStyleLbl="revTx" presStyleIdx="2" presStyleCnt="4" custScaleX="171649" custRadScaleRad="123037" custRadScaleInc="33068">
        <dgm:presLayoutVars>
          <dgm:bulletEnabled val="1"/>
        </dgm:presLayoutVars>
      </dgm:prSet>
      <dgm:spPr/>
      <dgm:t>
        <a:bodyPr/>
        <a:lstStyle/>
        <a:p>
          <a:endParaRPr lang="en-GB"/>
        </a:p>
      </dgm:t>
    </dgm:pt>
    <dgm:pt modelId="{EC9B8BD2-EE4C-465B-8301-47BBC5BF9664}" type="pres">
      <dgm:prSet presAssocID="{CE790451-BA00-4A51-9363-08F2C8953582}" presName="sibTrans" presStyleLbl="node1" presStyleIdx="2" presStyleCnt="4"/>
      <dgm:spPr/>
      <dgm:t>
        <a:bodyPr/>
        <a:lstStyle/>
        <a:p>
          <a:endParaRPr lang="en-GB"/>
        </a:p>
      </dgm:t>
    </dgm:pt>
    <dgm:pt modelId="{AB0B15D1-36E1-4B3A-A4DC-78245BCB6847}" type="pres">
      <dgm:prSet presAssocID="{F200C92C-F81D-4C9E-93E1-54CDF0737FE6}" presName="dummy" presStyleCnt="0"/>
      <dgm:spPr/>
    </dgm:pt>
    <dgm:pt modelId="{396A5313-BFA1-4AB3-A942-9EB45476680A}" type="pres">
      <dgm:prSet presAssocID="{F200C92C-F81D-4C9E-93E1-54CDF0737FE6}" presName="node" presStyleLbl="revTx" presStyleIdx="3" presStyleCnt="4" custScaleX="163783">
        <dgm:presLayoutVars>
          <dgm:bulletEnabled val="1"/>
        </dgm:presLayoutVars>
      </dgm:prSet>
      <dgm:spPr/>
      <dgm:t>
        <a:bodyPr/>
        <a:lstStyle/>
        <a:p>
          <a:endParaRPr lang="en-GB"/>
        </a:p>
      </dgm:t>
    </dgm:pt>
    <dgm:pt modelId="{5C99A435-FBA1-4624-AA73-EBD4CF9118EA}" type="pres">
      <dgm:prSet presAssocID="{397E48AA-09ED-4DDA-9340-0C4A01F478AD}" presName="sibTrans" presStyleLbl="node1" presStyleIdx="3" presStyleCnt="4"/>
      <dgm:spPr/>
      <dgm:t>
        <a:bodyPr/>
        <a:lstStyle/>
        <a:p>
          <a:endParaRPr lang="en-GB"/>
        </a:p>
      </dgm:t>
    </dgm:pt>
  </dgm:ptLst>
  <dgm:cxnLst>
    <dgm:cxn modelId="{A26325F7-1B21-4CF4-A40B-BD35698787D9}" type="presOf" srcId="{01B74034-E309-401F-8DE8-D4ADD24F4BE3}" destId="{CA9423F7-0845-4F1B-9AC6-AC9D595D686F}" srcOrd="0" destOrd="0" presId="urn:microsoft.com/office/officeart/2005/8/layout/cycle1"/>
    <dgm:cxn modelId="{B3F52DCB-162B-420E-85AC-1A614A9A580E}" type="presOf" srcId="{397E48AA-09ED-4DDA-9340-0C4A01F478AD}" destId="{5C99A435-FBA1-4624-AA73-EBD4CF9118EA}" srcOrd="0" destOrd="0" presId="urn:microsoft.com/office/officeart/2005/8/layout/cycle1"/>
    <dgm:cxn modelId="{9E998119-8482-4D31-9C8D-A7136AD9F8D4}" type="presOf" srcId="{CE790451-BA00-4A51-9363-08F2C8953582}" destId="{EC9B8BD2-EE4C-465B-8301-47BBC5BF9664}" srcOrd="0" destOrd="0" presId="urn:microsoft.com/office/officeart/2005/8/layout/cycle1"/>
    <dgm:cxn modelId="{BA8EB58E-B5F0-4E1B-83CA-2DC00B77E6E1}" srcId="{FF8C938A-D79E-4DBF-9C64-79D19D756F7E}" destId="{F200C92C-F81D-4C9E-93E1-54CDF0737FE6}" srcOrd="3" destOrd="0" parTransId="{CBAF5189-3B9A-40A7-A978-F94A868F0BEB}" sibTransId="{397E48AA-09ED-4DDA-9340-0C4A01F478AD}"/>
    <dgm:cxn modelId="{74BF28B4-079A-4A3E-8BAA-7A2370F88417}" srcId="{FF8C938A-D79E-4DBF-9C64-79D19D756F7E}" destId="{2A6E4A7C-4735-4E53-A940-83F201DA126C}" srcOrd="2" destOrd="0" parTransId="{CA2D886C-E6BF-4E34-A6AC-2E38F7D00AB4}" sibTransId="{CE790451-BA00-4A51-9363-08F2C8953582}"/>
    <dgm:cxn modelId="{17EECA5A-7D0E-47F0-8BE3-D51B3AC3F8FB}" type="presOf" srcId="{0E4147C8-4F38-47A6-A614-8FA0E6390319}" destId="{E63957EC-6FC8-4607-91D8-B5E5D221F801}" srcOrd="0" destOrd="0" presId="urn:microsoft.com/office/officeart/2005/8/layout/cycle1"/>
    <dgm:cxn modelId="{AB680683-6CAB-4400-9D9B-B101ECE10465}" srcId="{FF8C938A-D79E-4DBF-9C64-79D19D756F7E}" destId="{01B74034-E309-401F-8DE8-D4ADD24F4BE3}" srcOrd="0" destOrd="0" parTransId="{6E904F31-D687-4BFF-8115-91E9AE7BB4E0}" sibTransId="{48593541-2069-499C-94D5-1191E4C6E579}"/>
    <dgm:cxn modelId="{47680A72-BCF9-4801-A38D-789FAD11FACF}" type="presOf" srcId="{48593541-2069-499C-94D5-1191E4C6E579}" destId="{6A17EF46-BACE-4288-8739-E536805EF790}" srcOrd="0" destOrd="0" presId="urn:microsoft.com/office/officeart/2005/8/layout/cycle1"/>
    <dgm:cxn modelId="{656430EB-0D7C-4751-961F-98355CF506CD}" type="presOf" srcId="{A7ED077E-14CA-4AF2-A283-EBD13B7B798A}" destId="{64BB38D7-94DA-451E-93B3-FF51EE48BE19}" srcOrd="0" destOrd="0" presId="urn:microsoft.com/office/officeart/2005/8/layout/cycle1"/>
    <dgm:cxn modelId="{BB950122-848D-49C5-A472-C3E8A0959204}" type="presOf" srcId="{2A6E4A7C-4735-4E53-A940-83F201DA126C}" destId="{F070F21B-63A5-4FE4-9BEE-A88C427FE4F9}" srcOrd="0" destOrd="0" presId="urn:microsoft.com/office/officeart/2005/8/layout/cycle1"/>
    <dgm:cxn modelId="{9C1AAE6F-1EA7-4B19-A398-1671C49B9F14}" srcId="{FF8C938A-D79E-4DBF-9C64-79D19D756F7E}" destId="{0E4147C8-4F38-47A6-A614-8FA0E6390319}" srcOrd="1" destOrd="0" parTransId="{6204C2E3-F14E-468E-808B-96776DC20218}" sibTransId="{A7ED077E-14CA-4AF2-A283-EBD13B7B798A}"/>
    <dgm:cxn modelId="{AAAC416F-53DE-4063-9670-7474F2437ADD}" type="presOf" srcId="{F200C92C-F81D-4C9E-93E1-54CDF0737FE6}" destId="{396A5313-BFA1-4AB3-A942-9EB45476680A}" srcOrd="0" destOrd="0" presId="urn:microsoft.com/office/officeart/2005/8/layout/cycle1"/>
    <dgm:cxn modelId="{291D740B-3EA8-452B-8064-6E181730D95E}" type="presOf" srcId="{FF8C938A-D79E-4DBF-9C64-79D19D756F7E}" destId="{B26BFCEF-1A8B-459D-86C4-24E36BE7BF1F}" srcOrd="0" destOrd="0" presId="urn:microsoft.com/office/officeart/2005/8/layout/cycle1"/>
    <dgm:cxn modelId="{1B9F42A9-CF95-46E5-AD10-C72156461CB5}" type="presParOf" srcId="{B26BFCEF-1A8B-459D-86C4-24E36BE7BF1F}" destId="{F5008335-589B-4529-BD19-E362505F2F4B}" srcOrd="0" destOrd="0" presId="urn:microsoft.com/office/officeart/2005/8/layout/cycle1"/>
    <dgm:cxn modelId="{C688A827-654C-4968-8B3D-49DB557946AB}" type="presParOf" srcId="{B26BFCEF-1A8B-459D-86C4-24E36BE7BF1F}" destId="{CA9423F7-0845-4F1B-9AC6-AC9D595D686F}" srcOrd="1" destOrd="0" presId="urn:microsoft.com/office/officeart/2005/8/layout/cycle1"/>
    <dgm:cxn modelId="{0EE98414-7A1F-47BB-8382-8AA664E2F119}" type="presParOf" srcId="{B26BFCEF-1A8B-459D-86C4-24E36BE7BF1F}" destId="{6A17EF46-BACE-4288-8739-E536805EF790}" srcOrd="2" destOrd="0" presId="urn:microsoft.com/office/officeart/2005/8/layout/cycle1"/>
    <dgm:cxn modelId="{E99DCEC6-9D2E-4761-9C41-CF688D7BF408}" type="presParOf" srcId="{B26BFCEF-1A8B-459D-86C4-24E36BE7BF1F}" destId="{B9007074-EE06-42B4-8EDD-7BE502784F96}" srcOrd="3" destOrd="0" presId="urn:microsoft.com/office/officeart/2005/8/layout/cycle1"/>
    <dgm:cxn modelId="{77CB8CC8-AF3A-491B-B537-CEC09ACDE748}" type="presParOf" srcId="{B26BFCEF-1A8B-459D-86C4-24E36BE7BF1F}" destId="{E63957EC-6FC8-4607-91D8-B5E5D221F801}" srcOrd="4" destOrd="0" presId="urn:microsoft.com/office/officeart/2005/8/layout/cycle1"/>
    <dgm:cxn modelId="{FFFCEEBC-5FD5-4DEA-9650-EC0FDA8F2F55}" type="presParOf" srcId="{B26BFCEF-1A8B-459D-86C4-24E36BE7BF1F}" destId="{64BB38D7-94DA-451E-93B3-FF51EE48BE19}" srcOrd="5" destOrd="0" presId="urn:microsoft.com/office/officeart/2005/8/layout/cycle1"/>
    <dgm:cxn modelId="{7DBFCF27-2EFA-4760-8152-1A0F870C53D3}" type="presParOf" srcId="{B26BFCEF-1A8B-459D-86C4-24E36BE7BF1F}" destId="{98B36EF6-2E51-445D-8C41-C5E686244D3A}" srcOrd="6" destOrd="0" presId="urn:microsoft.com/office/officeart/2005/8/layout/cycle1"/>
    <dgm:cxn modelId="{B7F35B2C-F589-4260-8D5E-8E6104DA3CFF}" type="presParOf" srcId="{B26BFCEF-1A8B-459D-86C4-24E36BE7BF1F}" destId="{F070F21B-63A5-4FE4-9BEE-A88C427FE4F9}" srcOrd="7" destOrd="0" presId="urn:microsoft.com/office/officeart/2005/8/layout/cycle1"/>
    <dgm:cxn modelId="{B59E81FF-435D-46AF-9E5F-804D5B706479}" type="presParOf" srcId="{B26BFCEF-1A8B-459D-86C4-24E36BE7BF1F}" destId="{EC9B8BD2-EE4C-465B-8301-47BBC5BF9664}" srcOrd="8" destOrd="0" presId="urn:microsoft.com/office/officeart/2005/8/layout/cycle1"/>
    <dgm:cxn modelId="{EBB8AAA1-AABA-4EBB-A1D2-77CFD5F6B7D1}" type="presParOf" srcId="{B26BFCEF-1A8B-459D-86C4-24E36BE7BF1F}" destId="{AB0B15D1-36E1-4B3A-A4DC-78245BCB6847}" srcOrd="9" destOrd="0" presId="urn:microsoft.com/office/officeart/2005/8/layout/cycle1"/>
    <dgm:cxn modelId="{15BA1EDC-6E1F-4759-A6C3-7F8F4E652D70}" type="presParOf" srcId="{B26BFCEF-1A8B-459D-86C4-24E36BE7BF1F}" destId="{396A5313-BFA1-4AB3-A942-9EB45476680A}" srcOrd="10" destOrd="0" presId="urn:microsoft.com/office/officeart/2005/8/layout/cycle1"/>
    <dgm:cxn modelId="{0918D1E2-D038-411C-89DA-D48FF77AE1AE}" type="presParOf" srcId="{B26BFCEF-1A8B-459D-86C4-24E36BE7BF1F}" destId="{5C99A435-FBA1-4624-AA73-EBD4CF9118EA}" srcOrd="11" destOrd="0" presId="urn:microsoft.com/office/officeart/2005/8/layout/cycl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8C938A-D79E-4DBF-9C64-79D19D756F7E}"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GB"/>
        </a:p>
      </dgm:t>
    </dgm:pt>
    <dgm:pt modelId="{01B74034-E309-401F-8DE8-D4ADD24F4BE3}">
      <dgm:prSet phldrT="[Text]" custT="1"/>
      <dgm:spPr/>
      <dgm:t>
        <a:bodyPr/>
        <a:lstStyle/>
        <a:p>
          <a:r>
            <a:rPr lang="en-GB" sz="1200" dirty="0" smtClean="0">
              <a:latin typeface="Arial" panose="020B0604020202020204" pitchFamily="34" charset="0"/>
              <a:cs typeface="Arial" panose="020B0604020202020204" pitchFamily="34" charset="0"/>
            </a:rPr>
            <a:t>1) Entertain</a:t>
          </a:r>
          <a:endParaRPr lang="en-GB" sz="1200" dirty="0">
            <a:latin typeface="Arial" panose="020B0604020202020204" pitchFamily="34" charset="0"/>
            <a:cs typeface="Arial" panose="020B0604020202020204" pitchFamily="34" charset="0"/>
          </a:endParaRPr>
        </a:p>
      </dgm:t>
    </dgm:pt>
    <dgm:pt modelId="{6E904F31-D687-4BFF-8115-91E9AE7BB4E0}" type="parTrans" cxnId="{AB680683-6CAB-4400-9D9B-B101ECE10465}">
      <dgm:prSet/>
      <dgm:spPr/>
      <dgm:t>
        <a:bodyPr/>
        <a:lstStyle/>
        <a:p>
          <a:endParaRPr lang="en-GB" sz="1200">
            <a:latin typeface="Arial" panose="020B0604020202020204" pitchFamily="34" charset="0"/>
            <a:cs typeface="Arial" panose="020B0604020202020204" pitchFamily="34" charset="0"/>
          </a:endParaRPr>
        </a:p>
      </dgm:t>
    </dgm:pt>
    <dgm:pt modelId="{48593541-2069-499C-94D5-1191E4C6E579}" type="sibTrans" cxnId="{AB680683-6CAB-4400-9D9B-B101ECE10465}">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0E4147C8-4F38-47A6-A614-8FA0E6390319}">
      <dgm:prSet phldrT="[Text]" custT="1"/>
      <dgm:spPr/>
      <dgm:t>
        <a:bodyPr/>
        <a:lstStyle/>
        <a:p>
          <a:r>
            <a:rPr lang="en-GB" sz="1200" dirty="0" smtClean="0">
              <a:latin typeface="Arial" panose="020B0604020202020204" pitchFamily="34" charset="0"/>
              <a:cs typeface="Arial" panose="020B0604020202020204" pitchFamily="34" charset="0"/>
            </a:rPr>
            <a:t>2) Engage</a:t>
          </a:r>
          <a:endParaRPr lang="en-GB" sz="1200" dirty="0">
            <a:latin typeface="Arial" panose="020B0604020202020204" pitchFamily="34" charset="0"/>
            <a:cs typeface="Arial" panose="020B0604020202020204" pitchFamily="34" charset="0"/>
          </a:endParaRPr>
        </a:p>
      </dgm:t>
    </dgm:pt>
    <dgm:pt modelId="{6204C2E3-F14E-468E-808B-96776DC20218}" type="parTrans" cxnId="{9C1AAE6F-1EA7-4B19-A398-1671C49B9F14}">
      <dgm:prSet/>
      <dgm:spPr/>
      <dgm:t>
        <a:bodyPr/>
        <a:lstStyle/>
        <a:p>
          <a:endParaRPr lang="en-GB" sz="1200">
            <a:latin typeface="Arial" panose="020B0604020202020204" pitchFamily="34" charset="0"/>
            <a:cs typeface="Arial" panose="020B0604020202020204" pitchFamily="34" charset="0"/>
          </a:endParaRPr>
        </a:p>
      </dgm:t>
    </dgm:pt>
    <dgm:pt modelId="{A7ED077E-14CA-4AF2-A283-EBD13B7B798A}" type="sibTrans" cxnId="{9C1AAE6F-1EA7-4B19-A398-1671C49B9F14}">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2A6E4A7C-4735-4E53-A940-83F201DA126C}">
      <dgm:prSet phldrT="[Text]" custT="1"/>
      <dgm:spPr/>
      <dgm:t>
        <a:bodyPr/>
        <a:lstStyle/>
        <a:p>
          <a:r>
            <a:rPr lang="en-GB" sz="1200" dirty="0" smtClean="0">
              <a:latin typeface="Arial" panose="020B0604020202020204" pitchFamily="34" charset="0"/>
              <a:cs typeface="Arial" panose="020B0604020202020204" pitchFamily="34" charset="0"/>
            </a:rPr>
            <a:t>3) Reward</a:t>
          </a:r>
          <a:endParaRPr lang="en-GB" sz="1200" dirty="0">
            <a:latin typeface="Arial" panose="020B0604020202020204" pitchFamily="34" charset="0"/>
            <a:cs typeface="Arial" panose="020B0604020202020204" pitchFamily="34" charset="0"/>
          </a:endParaRPr>
        </a:p>
      </dgm:t>
    </dgm:pt>
    <dgm:pt modelId="{CA2D886C-E6BF-4E34-A6AC-2E38F7D00AB4}" type="parTrans" cxnId="{74BF28B4-079A-4A3E-8BAA-7A2370F88417}">
      <dgm:prSet/>
      <dgm:spPr/>
      <dgm:t>
        <a:bodyPr/>
        <a:lstStyle/>
        <a:p>
          <a:endParaRPr lang="en-GB" sz="1200">
            <a:latin typeface="Arial" panose="020B0604020202020204" pitchFamily="34" charset="0"/>
            <a:cs typeface="Arial" panose="020B0604020202020204" pitchFamily="34" charset="0"/>
          </a:endParaRPr>
        </a:p>
      </dgm:t>
    </dgm:pt>
    <dgm:pt modelId="{CE790451-BA00-4A51-9363-08F2C8953582}" type="sibTrans" cxnId="{74BF28B4-079A-4A3E-8BAA-7A2370F88417}">
      <dgm:prSet/>
      <dgm:spPr>
        <a:solidFill>
          <a:schemeClr val="tx2"/>
        </a:solidFill>
      </dgm:spPr>
      <dgm:t>
        <a:bodyPr/>
        <a:lstStyle/>
        <a:p>
          <a:endParaRPr lang="en-GB" sz="1200">
            <a:latin typeface="Arial" panose="020B0604020202020204" pitchFamily="34" charset="0"/>
            <a:cs typeface="Arial" panose="020B0604020202020204" pitchFamily="34" charset="0"/>
          </a:endParaRPr>
        </a:p>
      </dgm:t>
    </dgm:pt>
    <dgm:pt modelId="{B26BFCEF-1A8B-459D-86C4-24E36BE7BF1F}" type="pres">
      <dgm:prSet presAssocID="{FF8C938A-D79E-4DBF-9C64-79D19D756F7E}" presName="cycle" presStyleCnt="0">
        <dgm:presLayoutVars>
          <dgm:dir/>
          <dgm:resizeHandles val="exact"/>
        </dgm:presLayoutVars>
      </dgm:prSet>
      <dgm:spPr/>
      <dgm:t>
        <a:bodyPr/>
        <a:lstStyle/>
        <a:p>
          <a:endParaRPr lang="en-GB"/>
        </a:p>
      </dgm:t>
    </dgm:pt>
    <dgm:pt modelId="{F5008335-589B-4529-BD19-E362505F2F4B}" type="pres">
      <dgm:prSet presAssocID="{01B74034-E309-401F-8DE8-D4ADD24F4BE3}" presName="dummy" presStyleCnt="0"/>
      <dgm:spPr/>
    </dgm:pt>
    <dgm:pt modelId="{CA9423F7-0845-4F1B-9AC6-AC9D595D686F}" type="pres">
      <dgm:prSet presAssocID="{01B74034-E309-401F-8DE8-D4ADD24F4BE3}" presName="node" presStyleLbl="revTx" presStyleIdx="0" presStyleCnt="3" custScaleX="138227" custRadScaleRad="98132" custRadScaleInc="27352">
        <dgm:presLayoutVars>
          <dgm:bulletEnabled val="1"/>
        </dgm:presLayoutVars>
      </dgm:prSet>
      <dgm:spPr/>
      <dgm:t>
        <a:bodyPr/>
        <a:lstStyle/>
        <a:p>
          <a:endParaRPr lang="en-GB"/>
        </a:p>
      </dgm:t>
    </dgm:pt>
    <dgm:pt modelId="{6A17EF46-BACE-4288-8739-E536805EF790}" type="pres">
      <dgm:prSet presAssocID="{48593541-2069-499C-94D5-1191E4C6E579}" presName="sibTrans" presStyleLbl="node1" presStyleIdx="0" presStyleCnt="3"/>
      <dgm:spPr/>
      <dgm:t>
        <a:bodyPr/>
        <a:lstStyle/>
        <a:p>
          <a:endParaRPr lang="en-GB"/>
        </a:p>
      </dgm:t>
    </dgm:pt>
    <dgm:pt modelId="{B9007074-EE06-42B4-8EDD-7BE502784F96}" type="pres">
      <dgm:prSet presAssocID="{0E4147C8-4F38-47A6-A614-8FA0E6390319}" presName="dummy" presStyleCnt="0"/>
      <dgm:spPr/>
    </dgm:pt>
    <dgm:pt modelId="{E63957EC-6FC8-4607-91D8-B5E5D221F801}" type="pres">
      <dgm:prSet presAssocID="{0E4147C8-4F38-47A6-A614-8FA0E6390319}" presName="node" presStyleLbl="revTx" presStyleIdx="1" presStyleCnt="3" custScaleX="127766" custRadScaleRad="100125" custRadScaleInc="-3281">
        <dgm:presLayoutVars>
          <dgm:bulletEnabled val="1"/>
        </dgm:presLayoutVars>
      </dgm:prSet>
      <dgm:spPr/>
      <dgm:t>
        <a:bodyPr/>
        <a:lstStyle/>
        <a:p>
          <a:endParaRPr lang="en-GB"/>
        </a:p>
      </dgm:t>
    </dgm:pt>
    <dgm:pt modelId="{64BB38D7-94DA-451E-93B3-FF51EE48BE19}" type="pres">
      <dgm:prSet presAssocID="{A7ED077E-14CA-4AF2-A283-EBD13B7B798A}" presName="sibTrans" presStyleLbl="node1" presStyleIdx="1" presStyleCnt="3"/>
      <dgm:spPr/>
      <dgm:t>
        <a:bodyPr/>
        <a:lstStyle/>
        <a:p>
          <a:endParaRPr lang="en-GB"/>
        </a:p>
      </dgm:t>
    </dgm:pt>
    <dgm:pt modelId="{98B36EF6-2E51-445D-8C41-C5E686244D3A}" type="pres">
      <dgm:prSet presAssocID="{2A6E4A7C-4735-4E53-A940-83F201DA126C}" presName="dummy" presStyleCnt="0"/>
      <dgm:spPr/>
    </dgm:pt>
    <dgm:pt modelId="{F070F21B-63A5-4FE4-9BEE-A88C427FE4F9}" type="pres">
      <dgm:prSet presAssocID="{2A6E4A7C-4735-4E53-A940-83F201DA126C}" presName="node" presStyleLbl="revTx" presStyleIdx="2" presStyleCnt="3" custScaleX="171649" custRadScaleRad="98682" custRadScaleInc="-37321">
        <dgm:presLayoutVars>
          <dgm:bulletEnabled val="1"/>
        </dgm:presLayoutVars>
      </dgm:prSet>
      <dgm:spPr/>
      <dgm:t>
        <a:bodyPr/>
        <a:lstStyle/>
        <a:p>
          <a:endParaRPr lang="en-GB"/>
        </a:p>
      </dgm:t>
    </dgm:pt>
    <dgm:pt modelId="{EC9B8BD2-EE4C-465B-8301-47BBC5BF9664}" type="pres">
      <dgm:prSet presAssocID="{CE790451-BA00-4A51-9363-08F2C8953582}" presName="sibTrans" presStyleLbl="node1" presStyleIdx="2" presStyleCnt="3"/>
      <dgm:spPr/>
      <dgm:t>
        <a:bodyPr/>
        <a:lstStyle/>
        <a:p>
          <a:endParaRPr lang="en-GB"/>
        </a:p>
      </dgm:t>
    </dgm:pt>
  </dgm:ptLst>
  <dgm:cxnLst>
    <dgm:cxn modelId="{604BB05D-3633-43C2-AB9D-D48B282F193F}" type="presOf" srcId="{0E4147C8-4F38-47A6-A614-8FA0E6390319}" destId="{E63957EC-6FC8-4607-91D8-B5E5D221F801}" srcOrd="0" destOrd="0" presId="urn:microsoft.com/office/officeart/2005/8/layout/cycle1"/>
    <dgm:cxn modelId="{F62DF32E-BF92-4399-8479-E9DDCB4A32DE}" type="presOf" srcId="{CE790451-BA00-4A51-9363-08F2C8953582}" destId="{EC9B8BD2-EE4C-465B-8301-47BBC5BF9664}" srcOrd="0" destOrd="0" presId="urn:microsoft.com/office/officeart/2005/8/layout/cycle1"/>
    <dgm:cxn modelId="{458A6B3A-5837-4639-966D-0F1D61354FEF}" type="presOf" srcId="{01B74034-E309-401F-8DE8-D4ADD24F4BE3}" destId="{CA9423F7-0845-4F1B-9AC6-AC9D595D686F}" srcOrd="0" destOrd="0" presId="urn:microsoft.com/office/officeart/2005/8/layout/cycle1"/>
    <dgm:cxn modelId="{E1A6E161-4F1C-4EBA-84F5-43CCB4FCB1AE}" type="presOf" srcId="{A7ED077E-14CA-4AF2-A283-EBD13B7B798A}" destId="{64BB38D7-94DA-451E-93B3-FF51EE48BE19}" srcOrd="0" destOrd="0" presId="urn:microsoft.com/office/officeart/2005/8/layout/cycle1"/>
    <dgm:cxn modelId="{74BF28B4-079A-4A3E-8BAA-7A2370F88417}" srcId="{FF8C938A-D79E-4DBF-9C64-79D19D756F7E}" destId="{2A6E4A7C-4735-4E53-A940-83F201DA126C}" srcOrd="2" destOrd="0" parTransId="{CA2D886C-E6BF-4E34-A6AC-2E38F7D00AB4}" sibTransId="{CE790451-BA00-4A51-9363-08F2C8953582}"/>
    <dgm:cxn modelId="{AB680683-6CAB-4400-9D9B-B101ECE10465}" srcId="{FF8C938A-D79E-4DBF-9C64-79D19D756F7E}" destId="{01B74034-E309-401F-8DE8-D4ADD24F4BE3}" srcOrd="0" destOrd="0" parTransId="{6E904F31-D687-4BFF-8115-91E9AE7BB4E0}" sibTransId="{48593541-2069-499C-94D5-1191E4C6E579}"/>
    <dgm:cxn modelId="{E9A775A7-CB12-41C8-BFB8-7BC2705B8590}" type="presOf" srcId="{48593541-2069-499C-94D5-1191E4C6E579}" destId="{6A17EF46-BACE-4288-8739-E536805EF790}" srcOrd="0" destOrd="0" presId="urn:microsoft.com/office/officeart/2005/8/layout/cycle1"/>
    <dgm:cxn modelId="{41864194-0913-4E5D-93A5-4524779809DC}" type="presOf" srcId="{2A6E4A7C-4735-4E53-A940-83F201DA126C}" destId="{F070F21B-63A5-4FE4-9BEE-A88C427FE4F9}" srcOrd="0" destOrd="0" presId="urn:microsoft.com/office/officeart/2005/8/layout/cycle1"/>
    <dgm:cxn modelId="{F9830202-559E-4D5D-8D73-65E2FC5B7934}" type="presOf" srcId="{FF8C938A-D79E-4DBF-9C64-79D19D756F7E}" destId="{B26BFCEF-1A8B-459D-86C4-24E36BE7BF1F}" srcOrd="0" destOrd="0" presId="urn:microsoft.com/office/officeart/2005/8/layout/cycle1"/>
    <dgm:cxn modelId="{9C1AAE6F-1EA7-4B19-A398-1671C49B9F14}" srcId="{FF8C938A-D79E-4DBF-9C64-79D19D756F7E}" destId="{0E4147C8-4F38-47A6-A614-8FA0E6390319}" srcOrd="1" destOrd="0" parTransId="{6204C2E3-F14E-468E-808B-96776DC20218}" sibTransId="{A7ED077E-14CA-4AF2-A283-EBD13B7B798A}"/>
    <dgm:cxn modelId="{0DA5E567-EEE7-4E03-A113-A593A8FB417C}" type="presParOf" srcId="{B26BFCEF-1A8B-459D-86C4-24E36BE7BF1F}" destId="{F5008335-589B-4529-BD19-E362505F2F4B}" srcOrd="0" destOrd="0" presId="urn:microsoft.com/office/officeart/2005/8/layout/cycle1"/>
    <dgm:cxn modelId="{11788C56-0EF5-4F48-A4DF-FC0FA59A13D5}" type="presParOf" srcId="{B26BFCEF-1A8B-459D-86C4-24E36BE7BF1F}" destId="{CA9423F7-0845-4F1B-9AC6-AC9D595D686F}" srcOrd="1" destOrd="0" presId="urn:microsoft.com/office/officeart/2005/8/layout/cycle1"/>
    <dgm:cxn modelId="{82BBF897-0782-43C6-AC74-C6A254DB1546}" type="presParOf" srcId="{B26BFCEF-1A8B-459D-86C4-24E36BE7BF1F}" destId="{6A17EF46-BACE-4288-8739-E536805EF790}" srcOrd="2" destOrd="0" presId="urn:microsoft.com/office/officeart/2005/8/layout/cycle1"/>
    <dgm:cxn modelId="{E62B1977-F18C-4FEF-8F87-43DE37117796}" type="presParOf" srcId="{B26BFCEF-1A8B-459D-86C4-24E36BE7BF1F}" destId="{B9007074-EE06-42B4-8EDD-7BE502784F96}" srcOrd="3" destOrd="0" presId="urn:microsoft.com/office/officeart/2005/8/layout/cycle1"/>
    <dgm:cxn modelId="{3F6948A7-DCF5-405C-AF9F-97B4E73EB5DA}" type="presParOf" srcId="{B26BFCEF-1A8B-459D-86C4-24E36BE7BF1F}" destId="{E63957EC-6FC8-4607-91D8-B5E5D221F801}" srcOrd="4" destOrd="0" presId="urn:microsoft.com/office/officeart/2005/8/layout/cycle1"/>
    <dgm:cxn modelId="{D9B88060-72E8-41CC-8B72-CD3970CC91C9}" type="presParOf" srcId="{B26BFCEF-1A8B-459D-86C4-24E36BE7BF1F}" destId="{64BB38D7-94DA-451E-93B3-FF51EE48BE19}" srcOrd="5" destOrd="0" presId="urn:microsoft.com/office/officeart/2005/8/layout/cycle1"/>
    <dgm:cxn modelId="{8EB31042-236C-468A-8697-6658709A8FCD}" type="presParOf" srcId="{B26BFCEF-1A8B-459D-86C4-24E36BE7BF1F}" destId="{98B36EF6-2E51-445D-8C41-C5E686244D3A}" srcOrd="6" destOrd="0" presId="urn:microsoft.com/office/officeart/2005/8/layout/cycle1"/>
    <dgm:cxn modelId="{06C5379F-B5B0-4446-A714-ED931D4A0A3B}" type="presParOf" srcId="{B26BFCEF-1A8B-459D-86C4-24E36BE7BF1F}" destId="{F070F21B-63A5-4FE4-9BEE-A88C427FE4F9}" srcOrd="7" destOrd="0" presId="urn:microsoft.com/office/officeart/2005/8/layout/cycle1"/>
    <dgm:cxn modelId="{5C53B2F3-963E-4B6E-BC85-377C2BAB55C9}" type="presParOf" srcId="{B26BFCEF-1A8B-459D-86C4-24E36BE7BF1F}" destId="{EC9B8BD2-EE4C-465B-8301-47BBC5BF9664}" srcOrd="8" destOrd="0" presId="urn:microsoft.com/office/officeart/2005/8/layout/cycle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4E9E51-5F54-4B32-BCF2-C692F61B6D45}" type="doc">
      <dgm:prSet loTypeId="urn:microsoft.com/office/officeart/2005/8/layout/pyramid1" loCatId="pyramid" qsTypeId="urn:microsoft.com/office/officeart/2005/8/quickstyle/simple1" qsCatId="simple" csTypeId="urn:microsoft.com/office/officeart/2005/8/colors/accent2_3" csCatId="accent2" phldr="1"/>
      <dgm:spPr/>
    </dgm:pt>
    <dgm:pt modelId="{16D52CE2-BADE-4D16-9FCD-4CCD872B5326}">
      <dgm:prSet phldrT="[Text]" custT="1"/>
      <dgm:spPr>
        <a:solidFill>
          <a:schemeClr val="accent1">
            <a:lumMod val="20000"/>
            <a:lumOff val="80000"/>
          </a:schemeClr>
        </a:solidFill>
      </dgm:spPr>
      <dgm:t>
        <a:bodyPr anchor="ctr"/>
        <a:lstStyle/>
        <a:p>
          <a:r>
            <a:rPr lang="en-US" sz="1400" b="1" dirty="0" smtClean="0"/>
            <a:t>Low</a:t>
          </a:r>
          <a:endParaRPr lang="en-GB" sz="1400" b="1" dirty="0"/>
        </a:p>
      </dgm:t>
    </dgm:pt>
    <dgm:pt modelId="{CB327B16-03A5-49E6-8563-24D9E7C06EB2}" type="parTrans" cxnId="{0244A50D-423E-4B27-9BC8-C5D64D068715}">
      <dgm:prSet/>
      <dgm:spPr/>
      <dgm:t>
        <a:bodyPr/>
        <a:lstStyle/>
        <a:p>
          <a:endParaRPr lang="en-GB"/>
        </a:p>
      </dgm:t>
    </dgm:pt>
    <dgm:pt modelId="{19B32E4B-5C18-4B3A-9272-90F77860C0CB}" type="sibTrans" cxnId="{0244A50D-423E-4B27-9BC8-C5D64D068715}">
      <dgm:prSet/>
      <dgm:spPr/>
      <dgm:t>
        <a:bodyPr/>
        <a:lstStyle/>
        <a:p>
          <a:endParaRPr lang="en-GB"/>
        </a:p>
      </dgm:t>
    </dgm:pt>
    <dgm:pt modelId="{EAB25D84-8F8A-44D4-99A9-DE3355732386}">
      <dgm:prSet phldrT="[Text]" custT="1"/>
      <dgm:spPr>
        <a:solidFill>
          <a:schemeClr val="accent1">
            <a:lumMod val="60000"/>
            <a:lumOff val="40000"/>
          </a:schemeClr>
        </a:solidFill>
      </dgm:spPr>
      <dgm:t>
        <a:bodyPr/>
        <a:lstStyle/>
        <a:p>
          <a:r>
            <a:rPr lang="en-US" sz="1400" b="1" dirty="0" smtClean="0"/>
            <a:t>Medium</a:t>
          </a:r>
          <a:endParaRPr lang="en-GB" sz="1400" b="1" dirty="0"/>
        </a:p>
      </dgm:t>
    </dgm:pt>
    <dgm:pt modelId="{1B200557-CCE5-401D-8E50-7B60550F12B4}" type="parTrans" cxnId="{3B758100-A6CC-4984-8890-5D48598DD412}">
      <dgm:prSet/>
      <dgm:spPr/>
      <dgm:t>
        <a:bodyPr/>
        <a:lstStyle/>
        <a:p>
          <a:endParaRPr lang="en-GB"/>
        </a:p>
      </dgm:t>
    </dgm:pt>
    <dgm:pt modelId="{9C6518D7-1084-436B-9BAA-6B570E30ECEF}" type="sibTrans" cxnId="{3B758100-A6CC-4984-8890-5D48598DD412}">
      <dgm:prSet/>
      <dgm:spPr/>
      <dgm:t>
        <a:bodyPr/>
        <a:lstStyle/>
        <a:p>
          <a:endParaRPr lang="en-GB"/>
        </a:p>
      </dgm:t>
    </dgm:pt>
    <dgm:pt modelId="{9A8BACCD-6FA3-4686-8DAF-A2B185B404C9}">
      <dgm:prSet phldrT="[Text]" custT="1"/>
      <dgm:spPr>
        <a:solidFill>
          <a:schemeClr val="accent1">
            <a:lumMod val="75000"/>
          </a:schemeClr>
        </a:solidFill>
      </dgm:spPr>
      <dgm:t>
        <a:bodyPr/>
        <a:lstStyle/>
        <a:p>
          <a:r>
            <a:rPr lang="en-US" sz="1400" b="1" dirty="0" smtClean="0">
              <a:solidFill>
                <a:schemeClr val="bg1"/>
              </a:solidFill>
            </a:rPr>
            <a:t>High</a:t>
          </a:r>
          <a:endParaRPr lang="en-GB" sz="1400" b="1" dirty="0">
            <a:solidFill>
              <a:schemeClr val="bg1"/>
            </a:solidFill>
          </a:endParaRPr>
        </a:p>
      </dgm:t>
    </dgm:pt>
    <dgm:pt modelId="{7E4B9974-B246-46A5-8457-B8A6E50E708B}" type="parTrans" cxnId="{2CF5E9F8-57BC-4FC3-87D5-665D2C743782}">
      <dgm:prSet/>
      <dgm:spPr/>
      <dgm:t>
        <a:bodyPr/>
        <a:lstStyle/>
        <a:p>
          <a:endParaRPr lang="en-GB"/>
        </a:p>
      </dgm:t>
    </dgm:pt>
    <dgm:pt modelId="{9FF2853F-69D0-46D6-91FE-79C35BC814B0}" type="sibTrans" cxnId="{2CF5E9F8-57BC-4FC3-87D5-665D2C743782}">
      <dgm:prSet/>
      <dgm:spPr/>
      <dgm:t>
        <a:bodyPr/>
        <a:lstStyle/>
        <a:p>
          <a:endParaRPr lang="en-GB"/>
        </a:p>
      </dgm:t>
    </dgm:pt>
    <dgm:pt modelId="{0B57991A-415D-403F-8DE0-B308FECCD1C4}" type="pres">
      <dgm:prSet presAssocID="{C14E9E51-5F54-4B32-BCF2-C692F61B6D45}" presName="Name0" presStyleCnt="0">
        <dgm:presLayoutVars>
          <dgm:dir/>
          <dgm:animLvl val="lvl"/>
          <dgm:resizeHandles val="exact"/>
        </dgm:presLayoutVars>
      </dgm:prSet>
      <dgm:spPr/>
    </dgm:pt>
    <dgm:pt modelId="{6EBD113F-47B8-4673-B2D1-29F34B685EDD}" type="pres">
      <dgm:prSet presAssocID="{16D52CE2-BADE-4D16-9FCD-4CCD872B5326}" presName="Name8" presStyleCnt="0"/>
      <dgm:spPr/>
    </dgm:pt>
    <dgm:pt modelId="{4B193B87-8344-46CA-AFF4-A8C02870EFBD}" type="pres">
      <dgm:prSet presAssocID="{16D52CE2-BADE-4D16-9FCD-4CCD872B5326}" presName="level" presStyleLbl="node1" presStyleIdx="0" presStyleCnt="3">
        <dgm:presLayoutVars>
          <dgm:chMax val="1"/>
          <dgm:bulletEnabled val="1"/>
        </dgm:presLayoutVars>
      </dgm:prSet>
      <dgm:spPr/>
      <dgm:t>
        <a:bodyPr/>
        <a:lstStyle/>
        <a:p>
          <a:endParaRPr lang="en-GB"/>
        </a:p>
      </dgm:t>
    </dgm:pt>
    <dgm:pt modelId="{13F46773-523D-4078-BDEB-3313FDF63C73}" type="pres">
      <dgm:prSet presAssocID="{16D52CE2-BADE-4D16-9FCD-4CCD872B5326}" presName="levelTx" presStyleLbl="revTx" presStyleIdx="0" presStyleCnt="0">
        <dgm:presLayoutVars>
          <dgm:chMax val="1"/>
          <dgm:bulletEnabled val="1"/>
        </dgm:presLayoutVars>
      </dgm:prSet>
      <dgm:spPr/>
      <dgm:t>
        <a:bodyPr/>
        <a:lstStyle/>
        <a:p>
          <a:endParaRPr lang="en-GB"/>
        </a:p>
      </dgm:t>
    </dgm:pt>
    <dgm:pt modelId="{428F7EF4-29F4-48A0-94D9-9D6CBB6FC8B4}" type="pres">
      <dgm:prSet presAssocID="{EAB25D84-8F8A-44D4-99A9-DE3355732386}" presName="Name8" presStyleCnt="0"/>
      <dgm:spPr/>
    </dgm:pt>
    <dgm:pt modelId="{1908B461-222D-48CC-8EFD-19550B6F445E}" type="pres">
      <dgm:prSet presAssocID="{EAB25D84-8F8A-44D4-99A9-DE3355732386}" presName="level" presStyleLbl="node1" presStyleIdx="1" presStyleCnt="3">
        <dgm:presLayoutVars>
          <dgm:chMax val="1"/>
          <dgm:bulletEnabled val="1"/>
        </dgm:presLayoutVars>
      </dgm:prSet>
      <dgm:spPr/>
      <dgm:t>
        <a:bodyPr/>
        <a:lstStyle/>
        <a:p>
          <a:endParaRPr lang="en-GB"/>
        </a:p>
      </dgm:t>
    </dgm:pt>
    <dgm:pt modelId="{EC37DBEA-6AC8-409E-A8BC-179AAD4CEF40}" type="pres">
      <dgm:prSet presAssocID="{EAB25D84-8F8A-44D4-99A9-DE3355732386}" presName="levelTx" presStyleLbl="revTx" presStyleIdx="0" presStyleCnt="0">
        <dgm:presLayoutVars>
          <dgm:chMax val="1"/>
          <dgm:bulletEnabled val="1"/>
        </dgm:presLayoutVars>
      </dgm:prSet>
      <dgm:spPr/>
      <dgm:t>
        <a:bodyPr/>
        <a:lstStyle/>
        <a:p>
          <a:endParaRPr lang="en-GB"/>
        </a:p>
      </dgm:t>
    </dgm:pt>
    <dgm:pt modelId="{1F3ACD62-EF31-44A3-B5B4-F29B60DB3C30}" type="pres">
      <dgm:prSet presAssocID="{9A8BACCD-6FA3-4686-8DAF-A2B185B404C9}" presName="Name8" presStyleCnt="0"/>
      <dgm:spPr/>
    </dgm:pt>
    <dgm:pt modelId="{0BD5BEF6-5627-425D-9EE1-C014A8C579D0}" type="pres">
      <dgm:prSet presAssocID="{9A8BACCD-6FA3-4686-8DAF-A2B185B404C9}" presName="level" presStyleLbl="node1" presStyleIdx="2" presStyleCnt="3">
        <dgm:presLayoutVars>
          <dgm:chMax val="1"/>
          <dgm:bulletEnabled val="1"/>
        </dgm:presLayoutVars>
      </dgm:prSet>
      <dgm:spPr/>
      <dgm:t>
        <a:bodyPr/>
        <a:lstStyle/>
        <a:p>
          <a:endParaRPr lang="en-GB"/>
        </a:p>
      </dgm:t>
    </dgm:pt>
    <dgm:pt modelId="{776957F5-4879-40D4-9BE8-BF35B03042A0}" type="pres">
      <dgm:prSet presAssocID="{9A8BACCD-6FA3-4686-8DAF-A2B185B404C9}" presName="levelTx" presStyleLbl="revTx" presStyleIdx="0" presStyleCnt="0">
        <dgm:presLayoutVars>
          <dgm:chMax val="1"/>
          <dgm:bulletEnabled val="1"/>
        </dgm:presLayoutVars>
      </dgm:prSet>
      <dgm:spPr/>
      <dgm:t>
        <a:bodyPr/>
        <a:lstStyle/>
        <a:p>
          <a:endParaRPr lang="en-GB"/>
        </a:p>
      </dgm:t>
    </dgm:pt>
  </dgm:ptLst>
  <dgm:cxnLst>
    <dgm:cxn modelId="{085AEC11-6E2F-4F30-9E70-F0211488475E}" type="presOf" srcId="{C14E9E51-5F54-4B32-BCF2-C692F61B6D45}" destId="{0B57991A-415D-403F-8DE0-B308FECCD1C4}" srcOrd="0" destOrd="0" presId="urn:microsoft.com/office/officeart/2005/8/layout/pyramid1"/>
    <dgm:cxn modelId="{0244A50D-423E-4B27-9BC8-C5D64D068715}" srcId="{C14E9E51-5F54-4B32-BCF2-C692F61B6D45}" destId="{16D52CE2-BADE-4D16-9FCD-4CCD872B5326}" srcOrd="0" destOrd="0" parTransId="{CB327B16-03A5-49E6-8563-24D9E7C06EB2}" sibTransId="{19B32E4B-5C18-4B3A-9272-90F77860C0CB}"/>
    <dgm:cxn modelId="{DE50AEC9-7278-45D2-897A-87E9943351B2}" type="presOf" srcId="{16D52CE2-BADE-4D16-9FCD-4CCD872B5326}" destId="{4B193B87-8344-46CA-AFF4-A8C02870EFBD}" srcOrd="0" destOrd="0" presId="urn:microsoft.com/office/officeart/2005/8/layout/pyramid1"/>
    <dgm:cxn modelId="{5FF9190A-0516-43A1-8A48-A72814762BE2}" type="presOf" srcId="{EAB25D84-8F8A-44D4-99A9-DE3355732386}" destId="{1908B461-222D-48CC-8EFD-19550B6F445E}" srcOrd="0" destOrd="0" presId="urn:microsoft.com/office/officeart/2005/8/layout/pyramid1"/>
    <dgm:cxn modelId="{A12EA4C6-07A7-4680-8322-3CC3BA1E5A5E}" type="presOf" srcId="{9A8BACCD-6FA3-4686-8DAF-A2B185B404C9}" destId="{0BD5BEF6-5627-425D-9EE1-C014A8C579D0}" srcOrd="0" destOrd="0" presId="urn:microsoft.com/office/officeart/2005/8/layout/pyramid1"/>
    <dgm:cxn modelId="{3B758100-A6CC-4984-8890-5D48598DD412}" srcId="{C14E9E51-5F54-4B32-BCF2-C692F61B6D45}" destId="{EAB25D84-8F8A-44D4-99A9-DE3355732386}" srcOrd="1" destOrd="0" parTransId="{1B200557-CCE5-401D-8E50-7B60550F12B4}" sibTransId="{9C6518D7-1084-436B-9BAA-6B570E30ECEF}"/>
    <dgm:cxn modelId="{5186DB37-6518-4746-B605-714D7C07E301}" type="presOf" srcId="{9A8BACCD-6FA3-4686-8DAF-A2B185B404C9}" destId="{776957F5-4879-40D4-9BE8-BF35B03042A0}" srcOrd="1" destOrd="0" presId="urn:microsoft.com/office/officeart/2005/8/layout/pyramid1"/>
    <dgm:cxn modelId="{A5EF22A6-34A6-4B3B-82B4-631AA24EBA31}" type="presOf" srcId="{EAB25D84-8F8A-44D4-99A9-DE3355732386}" destId="{EC37DBEA-6AC8-409E-A8BC-179AAD4CEF40}" srcOrd="1" destOrd="0" presId="urn:microsoft.com/office/officeart/2005/8/layout/pyramid1"/>
    <dgm:cxn modelId="{86B8CCE9-BE4C-4FD0-B2B0-4C41CF604F14}" type="presOf" srcId="{16D52CE2-BADE-4D16-9FCD-4CCD872B5326}" destId="{13F46773-523D-4078-BDEB-3313FDF63C73}" srcOrd="1" destOrd="0" presId="urn:microsoft.com/office/officeart/2005/8/layout/pyramid1"/>
    <dgm:cxn modelId="{2CF5E9F8-57BC-4FC3-87D5-665D2C743782}" srcId="{C14E9E51-5F54-4B32-BCF2-C692F61B6D45}" destId="{9A8BACCD-6FA3-4686-8DAF-A2B185B404C9}" srcOrd="2" destOrd="0" parTransId="{7E4B9974-B246-46A5-8457-B8A6E50E708B}" sibTransId="{9FF2853F-69D0-46D6-91FE-79C35BC814B0}"/>
    <dgm:cxn modelId="{E768FE3C-2BCE-43E8-9800-9445E5F21349}" type="presParOf" srcId="{0B57991A-415D-403F-8DE0-B308FECCD1C4}" destId="{6EBD113F-47B8-4673-B2D1-29F34B685EDD}" srcOrd="0" destOrd="0" presId="urn:microsoft.com/office/officeart/2005/8/layout/pyramid1"/>
    <dgm:cxn modelId="{F1CD5360-DC4C-4C86-BE00-3DB48B97A299}" type="presParOf" srcId="{6EBD113F-47B8-4673-B2D1-29F34B685EDD}" destId="{4B193B87-8344-46CA-AFF4-A8C02870EFBD}" srcOrd="0" destOrd="0" presId="urn:microsoft.com/office/officeart/2005/8/layout/pyramid1"/>
    <dgm:cxn modelId="{2CCBC677-0F2C-4DF0-A9BE-EDD3B0826EEA}" type="presParOf" srcId="{6EBD113F-47B8-4673-B2D1-29F34B685EDD}" destId="{13F46773-523D-4078-BDEB-3313FDF63C73}" srcOrd="1" destOrd="0" presId="urn:microsoft.com/office/officeart/2005/8/layout/pyramid1"/>
    <dgm:cxn modelId="{C384294F-14BE-432F-BBC4-E034CF311B67}" type="presParOf" srcId="{0B57991A-415D-403F-8DE0-B308FECCD1C4}" destId="{428F7EF4-29F4-48A0-94D9-9D6CBB6FC8B4}" srcOrd="1" destOrd="0" presId="urn:microsoft.com/office/officeart/2005/8/layout/pyramid1"/>
    <dgm:cxn modelId="{DA041F7B-279E-44C9-B6DF-370FE097F3D8}" type="presParOf" srcId="{428F7EF4-29F4-48A0-94D9-9D6CBB6FC8B4}" destId="{1908B461-222D-48CC-8EFD-19550B6F445E}" srcOrd="0" destOrd="0" presId="urn:microsoft.com/office/officeart/2005/8/layout/pyramid1"/>
    <dgm:cxn modelId="{753156A7-A50F-46D1-98FC-1B531FA0B5CF}" type="presParOf" srcId="{428F7EF4-29F4-48A0-94D9-9D6CBB6FC8B4}" destId="{EC37DBEA-6AC8-409E-A8BC-179AAD4CEF40}" srcOrd="1" destOrd="0" presId="urn:microsoft.com/office/officeart/2005/8/layout/pyramid1"/>
    <dgm:cxn modelId="{87CB4651-8BB9-4D57-804C-7AB855515472}" type="presParOf" srcId="{0B57991A-415D-403F-8DE0-B308FECCD1C4}" destId="{1F3ACD62-EF31-44A3-B5B4-F29B60DB3C30}" srcOrd="2" destOrd="0" presId="urn:microsoft.com/office/officeart/2005/8/layout/pyramid1"/>
    <dgm:cxn modelId="{8C641167-9B47-4A2B-8C4C-1EFE8819F8A4}" type="presParOf" srcId="{1F3ACD62-EF31-44A3-B5B4-F29B60DB3C30}" destId="{0BD5BEF6-5627-425D-9EE1-C014A8C579D0}" srcOrd="0" destOrd="0" presId="urn:microsoft.com/office/officeart/2005/8/layout/pyramid1"/>
    <dgm:cxn modelId="{460D1AED-EAE6-4CFF-96CF-9B3D6810A370}" type="presParOf" srcId="{1F3ACD62-EF31-44A3-B5B4-F29B60DB3C30}" destId="{776957F5-4879-40D4-9BE8-BF35B03042A0}" srcOrd="1" destOrd="0" presId="urn:microsoft.com/office/officeart/2005/8/layout/pyramid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C199E0-4EFF-480F-BB45-1C7373C73C95}" type="doc">
      <dgm:prSet loTypeId="urn:microsoft.com/office/officeart/2005/8/layout/pyramid3" loCatId="pyramid" qsTypeId="urn:microsoft.com/office/officeart/2005/8/quickstyle/simple1" qsCatId="simple" csTypeId="urn:microsoft.com/office/officeart/2005/8/colors/accent2_3" csCatId="accent2" phldr="1"/>
      <dgm:spPr/>
    </dgm:pt>
    <dgm:pt modelId="{CC8D5F63-ABC2-447F-828D-DD63E88E553D}">
      <dgm:prSet phldrT="[Text]" custT="1"/>
      <dgm:spPr>
        <a:solidFill>
          <a:schemeClr val="accent1">
            <a:lumMod val="75000"/>
          </a:schemeClr>
        </a:solidFill>
      </dgm:spPr>
      <dgm:t>
        <a:bodyPr/>
        <a:lstStyle/>
        <a:p>
          <a:r>
            <a:rPr lang="en-US" sz="1400" b="1" dirty="0" smtClean="0">
              <a:solidFill>
                <a:schemeClr val="bg1"/>
              </a:solidFill>
            </a:rPr>
            <a:t>High</a:t>
          </a:r>
          <a:endParaRPr lang="en-GB" sz="1400" b="1" dirty="0">
            <a:solidFill>
              <a:schemeClr val="bg1"/>
            </a:solidFill>
          </a:endParaRPr>
        </a:p>
      </dgm:t>
    </dgm:pt>
    <dgm:pt modelId="{FA8BFAB3-E8C1-4770-BE5A-73A7E3B051DF}" type="parTrans" cxnId="{D8CAA7B6-B849-47D2-9B8E-34770537F39F}">
      <dgm:prSet/>
      <dgm:spPr/>
      <dgm:t>
        <a:bodyPr/>
        <a:lstStyle/>
        <a:p>
          <a:endParaRPr lang="en-GB"/>
        </a:p>
      </dgm:t>
    </dgm:pt>
    <dgm:pt modelId="{573F7C42-8806-4F89-909C-5A14EC0B4CA6}" type="sibTrans" cxnId="{D8CAA7B6-B849-47D2-9B8E-34770537F39F}">
      <dgm:prSet/>
      <dgm:spPr/>
      <dgm:t>
        <a:bodyPr/>
        <a:lstStyle/>
        <a:p>
          <a:endParaRPr lang="en-GB"/>
        </a:p>
      </dgm:t>
    </dgm:pt>
    <dgm:pt modelId="{CF0A27F7-BD46-4E24-ACEE-9064EE20AEBE}">
      <dgm:prSet phldrT="[Text]" custT="1"/>
      <dgm:spPr>
        <a:solidFill>
          <a:schemeClr val="accent1">
            <a:lumMod val="60000"/>
            <a:lumOff val="40000"/>
          </a:schemeClr>
        </a:solidFill>
      </dgm:spPr>
      <dgm:t>
        <a:bodyPr/>
        <a:lstStyle/>
        <a:p>
          <a:r>
            <a:rPr lang="en-US" sz="1400" b="1" dirty="0" smtClean="0"/>
            <a:t>Medium</a:t>
          </a:r>
          <a:endParaRPr lang="en-GB" sz="1400" b="1" dirty="0"/>
        </a:p>
      </dgm:t>
    </dgm:pt>
    <dgm:pt modelId="{AE20E070-DE4F-42EF-904D-11884A6566B3}" type="parTrans" cxnId="{7B7F7653-AB30-4116-9166-58AEEF88F22F}">
      <dgm:prSet/>
      <dgm:spPr/>
      <dgm:t>
        <a:bodyPr/>
        <a:lstStyle/>
        <a:p>
          <a:endParaRPr lang="en-GB"/>
        </a:p>
      </dgm:t>
    </dgm:pt>
    <dgm:pt modelId="{46C6E623-93D1-415B-91DF-16AC8B2C921B}" type="sibTrans" cxnId="{7B7F7653-AB30-4116-9166-58AEEF88F22F}">
      <dgm:prSet/>
      <dgm:spPr/>
      <dgm:t>
        <a:bodyPr/>
        <a:lstStyle/>
        <a:p>
          <a:endParaRPr lang="en-GB"/>
        </a:p>
      </dgm:t>
    </dgm:pt>
    <dgm:pt modelId="{7A2BDA8F-7700-4833-A822-57C8DC75FAEF}">
      <dgm:prSet phldrT="[Text]" custT="1"/>
      <dgm:spPr>
        <a:solidFill>
          <a:schemeClr val="accent1">
            <a:lumMod val="20000"/>
            <a:lumOff val="80000"/>
          </a:schemeClr>
        </a:solidFill>
      </dgm:spPr>
      <dgm:t>
        <a:bodyPr anchor="ctr"/>
        <a:lstStyle/>
        <a:p>
          <a:r>
            <a:rPr lang="en-US" sz="1400" b="1" dirty="0" smtClean="0"/>
            <a:t>Low</a:t>
          </a:r>
          <a:endParaRPr lang="en-GB" sz="1400" b="1" dirty="0"/>
        </a:p>
      </dgm:t>
    </dgm:pt>
    <dgm:pt modelId="{C314AE28-8341-4B63-B95E-2D2FFBB8D7DF}" type="parTrans" cxnId="{D8E14278-CCCD-488F-9847-7F88378DEDDA}">
      <dgm:prSet/>
      <dgm:spPr/>
      <dgm:t>
        <a:bodyPr/>
        <a:lstStyle/>
        <a:p>
          <a:endParaRPr lang="en-GB"/>
        </a:p>
      </dgm:t>
    </dgm:pt>
    <dgm:pt modelId="{AA8B2531-FE8E-4FE4-B114-BA16DB0D5135}" type="sibTrans" cxnId="{D8E14278-CCCD-488F-9847-7F88378DEDDA}">
      <dgm:prSet/>
      <dgm:spPr/>
      <dgm:t>
        <a:bodyPr/>
        <a:lstStyle/>
        <a:p>
          <a:endParaRPr lang="en-GB"/>
        </a:p>
      </dgm:t>
    </dgm:pt>
    <dgm:pt modelId="{931FDEAF-69F9-408B-B7E8-54440CF1CCB3}" type="pres">
      <dgm:prSet presAssocID="{C1C199E0-4EFF-480F-BB45-1C7373C73C95}" presName="Name0" presStyleCnt="0">
        <dgm:presLayoutVars>
          <dgm:dir/>
          <dgm:animLvl val="lvl"/>
          <dgm:resizeHandles val="exact"/>
        </dgm:presLayoutVars>
      </dgm:prSet>
      <dgm:spPr/>
    </dgm:pt>
    <dgm:pt modelId="{F1B9DC8D-91CF-403B-AB65-D328F6AE06A2}" type="pres">
      <dgm:prSet presAssocID="{CC8D5F63-ABC2-447F-828D-DD63E88E553D}" presName="Name8" presStyleCnt="0"/>
      <dgm:spPr/>
    </dgm:pt>
    <dgm:pt modelId="{2471AD5A-3A38-4E48-BCD7-7A58166F30D8}" type="pres">
      <dgm:prSet presAssocID="{CC8D5F63-ABC2-447F-828D-DD63E88E553D}" presName="level" presStyleLbl="node1" presStyleIdx="0" presStyleCnt="3" custLinFactNeighborY="-101">
        <dgm:presLayoutVars>
          <dgm:chMax val="1"/>
          <dgm:bulletEnabled val="1"/>
        </dgm:presLayoutVars>
      </dgm:prSet>
      <dgm:spPr/>
      <dgm:t>
        <a:bodyPr/>
        <a:lstStyle/>
        <a:p>
          <a:endParaRPr lang="en-GB"/>
        </a:p>
      </dgm:t>
    </dgm:pt>
    <dgm:pt modelId="{0704B032-735B-4295-8015-35D4FA5991C3}" type="pres">
      <dgm:prSet presAssocID="{CC8D5F63-ABC2-447F-828D-DD63E88E553D}" presName="levelTx" presStyleLbl="revTx" presStyleIdx="0" presStyleCnt="0">
        <dgm:presLayoutVars>
          <dgm:chMax val="1"/>
          <dgm:bulletEnabled val="1"/>
        </dgm:presLayoutVars>
      </dgm:prSet>
      <dgm:spPr/>
      <dgm:t>
        <a:bodyPr/>
        <a:lstStyle/>
        <a:p>
          <a:endParaRPr lang="en-GB"/>
        </a:p>
      </dgm:t>
    </dgm:pt>
    <dgm:pt modelId="{C9E33636-C6EC-40E5-9650-B8F911D9CAEB}" type="pres">
      <dgm:prSet presAssocID="{CF0A27F7-BD46-4E24-ACEE-9064EE20AEBE}" presName="Name8" presStyleCnt="0"/>
      <dgm:spPr/>
    </dgm:pt>
    <dgm:pt modelId="{7B1D2A29-746F-4A83-9ECA-14FBEE804F26}" type="pres">
      <dgm:prSet presAssocID="{CF0A27F7-BD46-4E24-ACEE-9064EE20AEBE}" presName="level" presStyleLbl="node1" presStyleIdx="1" presStyleCnt="3">
        <dgm:presLayoutVars>
          <dgm:chMax val="1"/>
          <dgm:bulletEnabled val="1"/>
        </dgm:presLayoutVars>
      </dgm:prSet>
      <dgm:spPr/>
      <dgm:t>
        <a:bodyPr/>
        <a:lstStyle/>
        <a:p>
          <a:endParaRPr lang="en-GB"/>
        </a:p>
      </dgm:t>
    </dgm:pt>
    <dgm:pt modelId="{EDFD5245-5EBA-4DBF-A8C9-6CD1C2280AB1}" type="pres">
      <dgm:prSet presAssocID="{CF0A27F7-BD46-4E24-ACEE-9064EE20AEBE}" presName="levelTx" presStyleLbl="revTx" presStyleIdx="0" presStyleCnt="0">
        <dgm:presLayoutVars>
          <dgm:chMax val="1"/>
          <dgm:bulletEnabled val="1"/>
        </dgm:presLayoutVars>
      </dgm:prSet>
      <dgm:spPr/>
      <dgm:t>
        <a:bodyPr/>
        <a:lstStyle/>
        <a:p>
          <a:endParaRPr lang="en-GB"/>
        </a:p>
      </dgm:t>
    </dgm:pt>
    <dgm:pt modelId="{F392D33C-17D2-4EE1-BDEB-3F5E0227DD6F}" type="pres">
      <dgm:prSet presAssocID="{7A2BDA8F-7700-4833-A822-57C8DC75FAEF}" presName="Name8" presStyleCnt="0"/>
      <dgm:spPr/>
    </dgm:pt>
    <dgm:pt modelId="{D6B5A815-CB10-4CCD-865C-32D1898CE143}" type="pres">
      <dgm:prSet presAssocID="{7A2BDA8F-7700-4833-A822-57C8DC75FAEF}" presName="level" presStyleLbl="node1" presStyleIdx="2" presStyleCnt="3">
        <dgm:presLayoutVars>
          <dgm:chMax val="1"/>
          <dgm:bulletEnabled val="1"/>
        </dgm:presLayoutVars>
      </dgm:prSet>
      <dgm:spPr/>
      <dgm:t>
        <a:bodyPr/>
        <a:lstStyle/>
        <a:p>
          <a:endParaRPr lang="en-GB"/>
        </a:p>
      </dgm:t>
    </dgm:pt>
    <dgm:pt modelId="{4283F4E5-3467-4B88-91D3-0F143DD02C9D}" type="pres">
      <dgm:prSet presAssocID="{7A2BDA8F-7700-4833-A822-57C8DC75FAEF}" presName="levelTx" presStyleLbl="revTx" presStyleIdx="0" presStyleCnt="0">
        <dgm:presLayoutVars>
          <dgm:chMax val="1"/>
          <dgm:bulletEnabled val="1"/>
        </dgm:presLayoutVars>
      </dgm:prSet>
      <dgm:spPr/>
      <dgm:t>
        <a:bodyPr/>
        <a:lstStyle/>
        <a:p>
          <a:endParaRPr lang="en-GB"/>
        </a:p>
      </dgm:t>
    </dgm:pt>
  </dgm:ptLst>
  <dgm:cxnLst>
    <dgm:cxn modelId="{F9BBCDD8-1574-4D0F-93BC-488CF11BE349}" type="presOf" srcId="{CF0A27F7-BD46-4E24-ACEE-9064EE20AEBE}" destId="{EDFD5245-5EBA-4DBF-A8C9-6CD1C2280AB1}" srcOrd="1" destOrd="0" presId="urn:microsoft.com/office/officeart/2005/8/layout/pyramid3"/>
    <dgm:cxn modelId="{42176184-A40E-44DF-A7F5-A684B72DC7F2}" type="presOf" srcId="{7A2BDA8F-7700-4833-A822-57C8DC75FAEF}" destId="{4283F4E5-3467-4B88-91D3-0F143DD02C9D}" srcOrd="1" destOrd="0" presId="urn:microsoft.com/office/officeart/2005/8/layout/pyramid3"/>
    <dgm:cxn modelId="{926B3EED-DF32-4A45-A37A-12A15AD5F223}" type="presOf" srcId="{7A2BDA8F-7700-4833-A822-57C8DC75FAEF}" destId="{D6B5A815-CB10-4CCD-865C-32D1898CE143}" srcOrd="0" destOrd="0" presId="urn:microsoft.com/office/officeart/2005/8/layout/pyramid3"/>
    <dgm:cxn modelId="{D8CAA7B6-B849-47D2-9B8E-34770537F39F}" srcId="{C1C199E0-4EFF-480F-BB45-1C7373C73C95}" destId="{CC8D5F63-ABC2-447F-828D-DD63E88E553D}" srcOrd="0" destOrd="0" parTransId="{FA8BFAB3-E8C1-4770-BE5A-73A7E3B051DF}" sibTransId="{573F7C42-8806-4F89-909C-5A14EC0B4CA6}"/>
    <dgm:cxn modelId="{19900129-EB50-4F4F-AC25-3B65C97766D9}" type="presOf" srcId="{CF0A27F7-BD46-4E24-ACEE-9064EE20AEBE}" destId="{7B1D2A29-746F-4A83-9ECA-14FBEE804F26}" srcOrd="0" destOrd="0" presId="urn:microsoft.com/office/officeart/2005/8/layout/pyramid3"/>
    <dgm:cxn modelId="{D8E14278-CCCD-488F-9847-7F88378DEDDA}" srcId="{C1C199E0-4EFF-480F-BB45-1C7373C73C95}" destId="{7A2BDA8F-7700-4833-A822-57C8DC75FAEF}" srcOrd="2" destOrd="0" parTransId="{C314AE28-8341-4B63-B95E-2D2FFBB8D7DF}" sibTransId="{AA8B2531-FE8E-4FE4-B114-BA16DB0D5135}"/>
    <dgm:cxn modelId="{04AD2045-CDF6-4571-B127-692F9994105F}" type="presOf" srcId="{CC8D5F63-ABC2-447F-828D-DD63E88E553D}" destId="{2471AD5A-3A38-4E48-BCD7-7A58166F30D8}" srcOrd="0" destOrd="0" presId="urn:microsoft.com/office/officeart/2005/8/layout/pyramid3"/>
    <dgm:cxn modelId="{CF5BD064-CFC5-474A-B496-0918D46B3FF2}" type="presOf" srcId="{C1C199E0-4EFF-480F-BB45-1C7373C73C95}" destId="{931FDEAF-69F9-408B-B7E8-54440CF1CCB3}" srcOrd="0" destOrd="0" presId="urn:microsoft.com/office/officeart/2005/8/layout/pyramid3"/>
    <dgm:cxn modelId="{7B7F7653-AB30-4116-9166-58AEEF88F22F}" srcId="{C1C199E0-4EFF-480F-BB45-1C7373C73C95}" destId="{CF0A27F7-BD46-4E24-ACEE-9064EE20AEBE}" srcOrd="1" destOrd="0" parTransId="{AE20E070-DE4F-42EF-904D-11884A6566B3}" sibTransId="{46C6E623-93D1-415B-91DF-16AC8B2C921B}"/>
    <dgm:cxn modelId="{A624723B-3CC2-4C83-858D-5715C84C320E}" type="presOf" srcId="{CC8D5F63-ABC2-447F-828D-DD63E88E553D}" destId="{0704B032-735B-4295-8015-35D4FA5991C3}" srcOrd="1" destOrd="0" presId="urn:microsoft.com/office/officeart/2005/8/layout/pyramid3"/>
    <dgm:cxn modelId="{4F5D3346-1990-48B1-BE69-68F09AC5B787}" type="presParOf" srcId="{931FDEAF-69F9-408B-B7E8-54440CF1CCB3}" destId="{F1B9DC8D-91CF-403B-AB65-D328F6AE06A2}" srcOrd="0" destOrd="0" presId="urn:microsoft.com/office/officeart/2005/8/layout/pyramid3"/>
    <dgm:cxn modelId="{0E88EE32-1206-4280-A3A5-2ECD8A17AFE9}" type="presParOf" srcId="{F1B9DC8D-91CF-403B-AB65-D328F6AE06A2}" destId="{2471AD5A-3A38-4E48-BCD7-7A58166F30D8}" srcOrd="0" destOrd="0" presId="urn:microsoft.com/office/officeart/2005/8/layout/pyramid3"/>
    <dgm:cxn modelId="{F265AFC7-6D34-4F0A-90C4-1C4E2FC076FF}" type="presParOf" srcId="{F1B9DC8D-91CF-403B-AB65-D328F6AE06A2}" destId="{0704B032-735B-4295-8015-35D4FA5991C3}" srcOrd="1" destOrd="0" presId="urn:microsoft.com/office/officeart/2005/8/layout/pyramid3"/>
    <dgm:cxn modelId="{1DD46F31-2AFA-4D40-8452-2FA95602D097}" type="presParOf" srcId="{931FDEAF-69F9-408B-B7E8-54440CF1CCB3}" destId="{C9E33636-C6EC-40E5-9650-B8F911D9CAEB}" srcOrd="1" destOrd="0" presId="urn:microsoft.com/office/officeart/2005/8/layout/pyramid3"/>
    <dgm:cxn modelId="{BB902AF3-9F88-49CC-8631-27B7713464A1}" type="presParOf" srcId="{C9E33636-C6EC-40E5-9650-B8F911D9CAEB}" destId="{7B1D2A29-746F-4A83-9ECA-14FBEE804F26}" srcOrd="0" destOrd="0" presId="urn:microsoft.com/office/officeart/2005/8/layout/pyramid3"/>
    <dgm:cxn modelId="{DB18D9A3-6928-48CB-AC12-CE5845092F6E}" type="presParOf" srcId="{C9E33636-C6EC-40E5-9650-B8F911D9CAEB}" destId="{EDFD5245-5EBA-4DBF-A8C9-6CD1C2280AB1}" srcOrd="1" destOrd="0" presId="urn:microsoft.com/office/officeart/2005/8/layout/pyramid3"/>
    <dgm:cxn modelId="{7E40FD14-9C4A-4B69-8468-2CCCEFA060E2}" type="presParOf" srcId="{931FDEAF-69F9-408B-B7E8-54440CF1CCB3}" destId="{F392D33C-17D2-4EE1-BDEB-3F5E0227DD6F}" srcOrd="2" destOrd="0" presId="urn:microsoft.com/office/officeart/2005/8/layout/pyramid3"/>
    <dgm:cxn modelId="{FA475168-5A65-47A8-A830-190934E7F384}" type="presParOf" srcId="{F392D33C-17D2-4EE1-BDEB-3F5E0227DD6F}" destId="{D6B5A815-CB10-4CCD-865C-32D1898CE143}" srcOrd="0" destOrd="0" presId="urn:microsoft.com/office/officeart/2005/8/layout/pyramid3"/>
    <dgm:cxn modelId="{622BFA77-D932-4DB3-A126-FFD2E5F95764}" type="presParOf" srcId="{F392D33C-17D2-4EE1-BDEB-3F5E0227DD6F}" destId="{4283F4E5-3467-4B88-91D3-0F143DD02C9D}" srcOrd="1" destOrd="0" presId="urn:microsoft.com/office/officeart/2005/8/layout/pyramid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423F7-0845-4F1B-9AC6-AC9D595D686F}">
      <dsp:nvSpPr>
        <dsp:cNvPr id="0" name=""/>
        <dsp:cNvSpPr/>
      </dsp:nvSpPr>
      <dsp:spPr>
        <a:xfrm>
          <a:off x="1727211" y="45356"/>
          <a:ext cx="721300" cy="72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1) Attract</a:t>
          </a:r>
          <a:endParaRPr lang="en-GB" sz="1200" kern="1200" dirty="0">
            <a:latin typeface="Arial" panose="020B0604020202020204" pitchFamily="34" charset="0"/>
            <a:cs typeface="Arial" panose="020B0604020202020204" pitchFamily="34" charset="0"/>
          </a:endParaRPr>
        </a:p>
      </dsp:txBody>
      <dsp:txXfrm>
        <a:off x="1727211" y="45356"/>
        <a:ext cx="721300" cy="721300"/>
      </dsp:txXfrm>
    </dsp:sp>
    <dsp:sp modelId="{6A17EF46-BACE-4288-8739-E536805EF790}">
      <dsp:nvSpPr>
        <dsp:cNvPr id="0" name=""/>
        <dsp:cNvSpPr/>
      </dsp:nvSpPr>
      <dsp:spPr>
        <a:xfrm>
          <a:off x="564991" y="228754"/>
          <a:ext cx="2037127" cy="2037127"/>
        </a:xfrm>
        <a:prstGeom prst="circularArrow">
          <a:avLst>
            <a:gd name="adj1" fmla="val 6905"/>
            <a:gd name="adj2" fmla="val 465546"/>
            <a:gd name="adj3" fmla="val 21334229"/>
            <a:gd name="adj4" fmla="val 19577707"/>
            <a:gd name="adj5" fmla="val 8055"/>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957EC-6FC8-4607-91D8-B5E5D221F801}">
      <dsp:nvSpPr>
        <dsp:cNvPr id="0" name=""/>
        <dsp:cNvSpPr/>
      </dsp:nvSpPr>
      <dsp:spPr>
        <a:xfrm>
          <a:off x="1798897" y="1297625"/>
          <a:ext cx="921576" cy="72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2) Entertain</a:t>
          </a:r>
          <a:endParaRPr lang="en-GB" sz="1200" kern="1200" dirty="0">
            <a:latin typeface="Arial" panose="020B0604020202020204" pitchFamily="34" charset="0"/>
            <a:cs typeface="Arial" panose="020B0604020202020204" pitchFamily="34" charset="0"/>
          </a:endParaRPr>
        </a:p>
      </dsp:txBody>
      <dsp:txXfrm>
        <a:off x="1798897" y="1297625"/>
        <a:ext cx="921576" cy="721300"/>
      </dsp:txXfrm>
    </dsp:sp>
    <dsp:sp modelId="{64BB38D7-94DA-451E-93B3-FF51EE48BE19}">
      <dsp:nvSpPr>
        <dsp:cNvPr id="0" name=""/>
        <dsp:cNvSpPr/>
      </dsp:nvSpPr>
      <dsp:spPr>
        <a:xfrm>
          <a:off x="402414" y="179594"/>
          <a:ext cx="2037127" cy="2037127"/>
        </a:xfrm>
        <a:prstGeom prst="circularArrow">
          <a:avLst>
            <a:gd name="adj1" fmla="val 6905"/>
            <a:gd name="adj2" fmla="val 465546"/>
            <a:gd name="adj3" fmla="val 6353080"/>
            <a:gd name="adj4" fmla="val 3847915"/>
            <a:gd name="adj5" fmla="val 8055"/>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70F21B-63A5-4FE4-9BEE-A88C427FE4F9}">
      <dsp:nvSpPr>
        <dsp:cNvPr id="0" name=""/>
        <dsp:cNvSpPr/>
      </dsp:nvSpPr>
      <dsp:spPr>
        <a:xfrm>
          <a:off x="0" y="1270336"/>
          <a:ext cx="1238104" cy="72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3) Engage</a:t>
          </a:r>
          <a:endParaRPr lang="en-GB" sz="1200" kern="1200" dirty="0">
            <a:latin typeface="Arial" panose="020B0604020202020204" pitchFamily="34" charset="0"/>
            <a:cs typeface="Arial" panose="020B0604020202020204" pitchFamily="34" charset="0"/>
          </a:endParaRPr>
        </a:p>
      </dsp:txBody>
      <dsp:txXfrm>
        <a:off x="0" y="1270336"/>
        <a:ext cx="1238104" cy="721300"/>
      </dsp:txXfrm>
    </dsp:sp>
    <dsp:sp modelId="{EC9B8BD2-EE4C-465B-8301-47BBC5BF9664}">
      <dsp:nvSpPr>
        <dsp:cNvPr id="0" name=""/>
        <dsp:cNvSpPr/>
      </dsp:nvSpPr>
      <dsp:spPr>
        <a:xfrm>
          <a:off x="299658" y="295093"/>
          <a:ext cx="2037127" cy="2037127"/>
        </a:xfrm>
        <a:prstGeom prst="circularArrow">
          <a:avLst>
            <a:gd name="adj1" fmla="val 6905"/>
            <a:gd name="adj2" fmla="val 465546"/>
            <a:gd name="adj3" fmla="val 12684119"/>
            <a:gd name="adj4" fmla="val 10972006"/>
            <a:gd name="adj5" fmla="val 8055"/>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96A5313-BFA1-4AB3-A942-9EB45476680A}">
      <dsp:nvSpPr>
        <dsp:cNvPr id="0" name=""/>
        <dsp:cNvSpPr/>
      </dsp:nvSpPr>
      <dsp:spPr>
        <a:xfrm>
          <a:off x="272201" y="45356"/>
          <a:ext cx="1181367" cy="72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4) Transact</a:t>
          </a:r>
          <a:endParaRPr lang="en-GB" sz="1200" kern="1200" dirty="0">
            <a:latin typeface="Arial" panose="020B0604020202020204" pitchFamily="34" charset="0"/>
            <a:cs typeface="Arial" panose="020B0604020202020204" pitchFamily="34" charset="0"/>
          </a:endParaRPr>
        </a:p>
      </dsp:txBody>
      <dsp:txXfrm>
        <a:off x="272201" y="45356"/>
        <a:ext cx="1181367" cy="721300"/>
      </dsp:txXfrm>
    </dsp:sp>
    <dsp:sp modelId="{5C99A435-FBA1-4624-AA73-EBD4CF9118EA}">
      <dsp:nvSpPr>
        <dsp:cNvPr id="0" name=""/>
        <dsp:cNvSpPr/>
      </dsp:nvSpPr>
      <dsp:spPr>
        <a:xfrm>
          <a:off x="456809" y="-69"/>
          <a:ext cx="2037127" cy="2037127"/>
        </a:xfrm>
        <a:prstGeom prst="circularArrow">
          <a:avLst>
            <a:gd name="adj1" fmla="val 6905"/>
            <a:gd name="adj2" fmla="val 465546"/>
            <a:gd name="adj3" fmla="val 16748599"/>
            <a:gd name="adj4" fmla="val 16113452"/>
            <a:gd name="adj5" fmla="val 8055"/>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423F7-0845-4F1B-9AC6-AC9D595D686F}">
      <dsp:nvSpPr>
        <dsp:cNvPr id="0" name=""/>
        <dsp:cNvSpPr/>
      </dsp:nvSpPr>
      <dsp:spPr>
        <a:xfrm>
          <a:off x="1621052" y="284546"/>
          <a:ext cx="1061113" cy="76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1) Entertain</a:t>
          </a:r>
          <a:endParaRPr lang="en-GB" sz="1200" kern="1200" dirty="0">
            <a:latin typeface="Arial" panose="020B0604020202020204" pitchFamily="34" charset="0"/>
            <a:cs typeface="Arial" panose="020B0604020202020204" pitchFamily="34" charset="0"/>
          </a:endParaRPr>
        </a:p>
      </dsp:txBody>
      <dsp:txXfrm>
        <a:off x="1621052" y="284546"/>
        <a:ext cx="1061113" cy="767659"/>
      </dsp:txXfrm>
    </dsp:sp>
    <dsp:sp modelId="{6A17EF46-BACE-4288-8739-E536805EF790}">
      <dsp:nvSpPr>
        <dsp:cNvPr id="0" name=""/>
        <dsp:cNvSpPr/>
      </dsp:nvSpPr>
      <dsp:spPr>
        <a:xfrm>
          <a:off x="535412" y="17928"/>
          <a:ext cx="1814809" cy="1814809"/>
        </a:xfrm>
        <a:prstGeom prst="circularArrow">
          <a:avLst>
            <a:gd name="adj1" fmla="val 8248"/>
            <a:gd name="adj2" fmla="val 576116"/>
            <a:gd name="adj3" fmla="val 2136273"/>
            <a:gd name="adj4" fmla="val 588124"/>
            <a:gd name="adj5" fmla="val 9623"/>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3957EC-6FC8-4607-91D8-B5E5D221F801}">
      <dsp:nvSpPr>
        <dsp:cNvPr id="0" name=""/>
        <dsp:cNvSpPr/>
      </dsp:nvSpPr>
      <dsp:spPr>
        <a:xfrm>
          <a:off x="987068" y="1269326"/>
          <a:ext cx="980808" cy="76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2) Engage</a:t>
          </a:r>
          <a:endParaRPr lang="en-GB" sz="1200" kern="1200" dirty="0">
            <a:latin typeface="Arial" panose="020B0604020202020204" pitchFamily="34" charset="0"/>
            <a:cs typeface="Arial" panose="020B0604020202020204" pitchFamily="34" charset="0"/>
          </a:endParaRPr>
        </a:p>
      </dsp:txBody>
      <dsp:txXfrm>
        <a:off x="987068" y="1269326"/>
        <a:ext cx="980808" cy="767659"/>
      </dsp:txXfrm>
    </dsp:sp>
    <dsp:sp modelId="{64BB38D7-94DA-451E-93B3-FF51EE48BE19}">
      <dsp:nvSpPr>
        <dsp:cNvPr id="0" name=""/>
        <dsp:cNvSpPr/>
      </dsp:nvSpPr>
      <dsp:spPr>
        <a:xfrm>
          <a:off x="566375" y="12267"/>
          <a:ext cx="1814809" cy="1814809"/>
        </a:xfrm>
        <a:prstGeom prst="circularArrow">
          <a:avLst>
            <a:gd name="adj1" fmla="val 8248"/>
            <a:gd name="adj2" fmla="val 576116"/>
            <a:gd name="adj3" fmla="val 9384714"/>
            <a:gd name="adj4" fmla="val 7846533"/>
            <a:gd name="adj5" fmla="val 9623"/>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70F21B-63A5-4FE4-9BEE-A88C427FE4F9}">
      <dsp:nvSpPr>
        <dsp:cNvPr id="0" name=""/>
        <dsp:cNvSpPr/>
      </dsp:nvSpPr>
      <dsp:spPr>
        <a:xfrm>
          <a:off x="91425" y="332127"/>
          <a:ext cx="1317680" cy="7676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smtClean="0">
              <a:latin typeface="Arial" panose="020B0604020202020204" pitchFamily="34" charset="0"/>
              <a:cs typeface="Arial" panose="020B0604020202020204" pitchFamily="34" charset="0"/>
            </a:rPr>
            <a:t>3) Reward</a:t>
          </a:r>
          <a:endParaRPr lang="en-GB" sz="1200" kern="1200" dirty="0">
            <a:latin typeface="Arial" panose="020B0604020202020204" pitchFamily="34" charset="0"/>
            <a:cs typeface="Arial" panose="020B0604020202020204" pitchFamily="34" charset="0"/>
          </a:endParaRPr>
        </a:p>
      </dsp:txBody>
      <dsp:txXfrm>
        <a:off x="91425" y="332127"/>
        <a:ext cx="1317680" cy="767659"/>
      </dsp:txXfrm>
    </dsp:sp>
    <dsp:sp modelId="{EC9B8BD2-EE4C-465B-8301-47BBC5BF9664}">
      <dsp:nvSpPr>
        <dsp:cNvPr id="0" name=""/>
        <dsp:cNvSpPr/>
      </dsp:nvSpPr>
      <dsp:spPr>
        <a:xfrm>
          <a:off x="550235" y="14417"/>
          <a:ext cx="1814809" cy="1814809"/>
        </a:xfrm>
        <a:prstGeom prst="circularArrow">
          <a:avLst>
            <a:gd name="adj1" fmla="val 8248"/>
            <a:gd name="adj2" fmla="val 576116"/>
            <a:gd name="adj3" fmla="val 17497423"/>
            <a:gd name="adj4" fmla="val 13938351"/>
            <a:gd name="adj5" fmla="val 9623"/>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193B87-8344-46CA-AFF4-A8C02870EFBD}">
      <dsp:nvSpPr>
        <dsp:cNvPr id="0" name=""/>
        <dsp:cNvSpPr/>
      </dsp:nvSpPr>
      <dsp:spPr>
        <a:xfrm>
          <a:off x="729355" y="0"/>
          <a:ext cx="729355" cy="1391436"/>
        </a:xfrm>
        <a:prstGeom prst="trapezoid">
          <a:avLst>
            <a:gd name="adj" fmla="val 50000"/>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Low</a:t>
          </a:r>
          <a:endParaRPr lang="en-GB" sz="1400" b="1" kern="1200" dirty="0"/>
        </a:p>
      </dsp:txBody>
      <dsp:txXfrm>
        <a:off x="729355" y="0"/>
        <a:ext cx="729355" cy="1391436"/>
      </dsp:txXfrm>
    </dsp:sp>
    <dsp:sp modelId="{1908B461-222D-48CC-8EFD-19550B6F445E}">
      <dsp:nvSpPr>
        <dsp:cNvPr id="0" name=""/>
        <dsp:cNvSpPr/>
      </dsp:nvSpPr>
      <dsp:spPr>
        <a:xfrm>
          <a:off x="364677" y="1391436"/>
          <a:ext cx="1458710" cy="1391436"/>
        </a:xfrm>
        <a:prstGeom prst="trapezoid">
          <a:avLst>
            <a:gd name="adj" fmla="val 26209"/>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Medium</a:t>
          </a:r>
          <a:endParaRPr lang="en-GB" sz="1400" b="1" kern="1200" dirty="0"/>
        </a:p>
      </dsp:txBody>
      <dsp:txXfrm>
        <a:off x="619952" y="1391436"/>
        <a:ext cx="948161" cy="1391436"/>
      </dsp:txXfrm>
    </dsp:sp>
    <dsp:sp modelId="{0BD5BEF6-5627-425D-9EE1-C014A8C579D0}">
      <dsp:nvSpPr>
        <dsp:cNvPr id="0" name=""/>
        <dsp:cNvSpPr/>
      </dsp:nvSpPr>
      <dsp:spPr>
        <a:xfrm>
          <a:off x="0" y="2782873"/>
          <a:ext cx="2188065" cy="1391436"/>
        </a:xfrm>
        <a:prstGeom prst="trapezoid">
          <a:avLst>
            <a:gd name="adj" fmla="val 26209"/>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bg1"/>
              </a:solidFill>
            </a:rPr>
            <a:t>High</a:t>
          </a:r>
          <a:endParaRPr lang="en-GB" sz="1400" b="1" kern="1200" dirty="0">
            <a:solidFill>
              <a:schemeClr val="bg1"/>
            </a:solidFill>
          </a:endParaRPr>
        </a:p>
      </dsp:txBody>
      <dsp:txXfrm>
        <a:off x="382911" y="2782873"/>
        <a:ext cx="1422242" cy="139143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71AD5A-3A38-4E48-BCD7-7A58166F30D8}">
      <dsp:nvSpPr>
        <dsp:cNvPr id="0" name=""/>
        <dsp:cNvSpPr/>
      </dsp:nvSpPr>
      <dsp:spPr>
        <a:xfrm rot="10800000">
          <a:off x="0" y="0"/>
          <a:ext cx="2209799" cy="1379760"/>
        </a:xfrm>
        <a:prstGeom prst="trapezoid">
          <a:avLst>
            <a:gd name="adj" fmla="val 26693"/>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bg1"/>
              </a:solidFill>
            </a:rPr>
            <a:t>High</a:t>
          </a:r>
          <a:endParaRPr lang="en-GB" sz="1400" b="1" kern="1200" dirty="0">
            <a:solidFill>
              <a:schemeClr val="bg1"/>
            </a:solidFill>
          </a:endParaRPr>
        </a:p>
      </dsp:txBody>
      <dsp:txXfrm rot="-10800000">
        <a:off x="386714" y="0"/>
        <a:ext cx="1436370" cy="1379760"/>
      </dsp:txXfrm>
    </dsp:sp>
    <dsp:sp modelId="{7B1D2A29-746F-4A83-9ECA-14FBEE804F26}">
      <dsp:nvSpPr>
        <dsp:cNvPr id="0" name=""/>
        <dsp:cNvSpPr/>
      </dsp:nvSpPr>
      <dsp:spPr>
        <a:xfrm rot="10800000">
          <a:off x="368299" y="1379760"/>
          <a:ext cx="1473200" cy="1379760"/>
        </a:xfrm>
        <a:prstGeom prst="trapezoid">
          <a:avLst>
            <a:gd name="adj" fmla="val 26693"/>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Medium</a:t>
          </a:r>
          <a:endParaRPr lang="en-GB" sz="1400" b="1" kern="1200" dirty="0"/>
        </a:p>
      </dsp:txBody>
      <dsp:txXfrm rot="-10800000">
        <a:off x="626109" y="1379760"/>
        <a:ext cx="957580" cy="1379760"/>
      </dsp:txXfrm>
    </dsp:sp>
    <dsp:sp modelId="{D6B5A815-CB10-4CCD-865C-32D1898CE143}">
      <dsp:nvSpPr>
        <dsp:cNvPr id="0" name=""/>
        <dsp:cNvSpPr/>
      </dsp:nvSpPr>
      <dsp:spPr>
        <a:xfrm rot="10800000">
          <a:off x="736599" y="2759520"/>
          <a:ext cx="736600" cy="1379760"/>
        </a:xfrm>
        <a:prstGeom prst="trapezoid">
          <a:avLst>
            <a:gd name="adj" fmla="val 50000"/>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Low</a:t>
          </a:r>
          <a:endParaRPr lang="en-GB" sz="1400" b="1" kern="1200" dirty="0"/>
        </a:p>
      </dsp:txBody>
      <dsp:txXfrm rot="-10800000">
        <a:off x="736599" y="2759520"/>
        <a:ext cx="736600" cy="1379760"/>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A438BC-8956-4B1B-914B-DE405D763184}" type="datetimeFigureOut">
              <a:rPr lang="en-GB" smtClean="0"/>
              <a:t>09/02/2016</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F21FB6-CFEA-4AE0-8B84-FB88DAD9F911}" type="slidenum">
              <a:rPr lang="en-GB" smtClean="0"/>
              <a:t>‹#›</a:t>
            </a:fld>
            <a:endParaRPr lang="en-GB"/>
          </a:p>
        </p:txBody>
      </p:sp>
    </p:spTree>
    <p:extLst>
      <p:ext uri="{BB962C8B-B14F-4D97-AF65-F5344CB8AC3E}">
        <p14:creationId xmlns:p14="http://schemas.microsoft.com/office/powerpoint/2010/main" val="21212562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5" name="Rectangle 7"/>
          <p:cNvSpPr>
            <a:spLocks noGrp="1" noChangeArrowheads="1"/>
          </p:cNvSpPr>
          <p:nvPr>
            <p:ph type="sldNum" sz="quarter" idx="5"/>
          </p:nvPr>
        </p:nvSpPr>
        <p:spPr>
          <a:noFill/>
        </p:spPr>
        <p:txBody>
          <a:bodyPr/>
          <a:lstStyle/>
          <a:p>
            <a:fld id="{7609AC3D-8D8A-4773-91D6-7C515D08D91A}" type="slidenum">
              <a:rPr lang="en-GB" smtClean="0">
                <a:solidFill>
                  <a:prstClr val="black"/>
                </a:solidFill>
                <a:cs typeface="Arial" charset="0"/>
              </a:rPr>
              <a:pPr/>
              <a:t>18</a:t>
            </a:fld>
            <a:endParaRPr lang="en-GB" smtClean="0">
              <a:solidFill>
                <a:prstClr val="black"/>
              </a:solidFill>
              <a:cs typeface="Arial" charset="0"/>
            </a:endParaRPr>
          </a:p>
        </p:txBody>
      </p:sp>
      <p:sp>
        <p:nvSpPr>
          <p:cNvPr id="635906" name="Rectangle 2"/>
          <p:cNvSpPr>
            <a:spLocks noGrp="1" noRot="1" noChangeAspect="1" noChangeArrowheads="1" noTextEdit="1"/>
          </p:cNvSpPr>
          <p:nvPr>
            <p:ph type="sldImg"/>
          </p:nvPr>
        </p:nvSpPr>
        <p:spPr>
          <a:ln/>
        </p:spPr>
      </p:sp>
      <p:sp>
        <p:nvSpPr>
          <p:cNvPr id="635907" name="Rectangle 3"/>
          <p:cNvSpPr>
            <a:spLocks noGrp="1" noChangeArrowheads="1"/>
          </p:cNvSpPr>
          <p:nvPr>
            <p:ph type="body" idx="1"/>
          </p:nvPr>
        </p:nvSpPr>
        <p:spPr>
          <a:noFill/>
          <a:ln/>
        </p:spPr>
        <p:txBody>
          <a:bodyPr/>
          <a:lstStyle/>
          <a:p>
            <a:pPr lvl="0"/>
            <a:r>
              <a:rPr lang="en-US" sz="1200" b="0" baseline="0" dirty="0" smtClean="0">
                <a:cs typeface="Arial" charset="0"/>
              </a:rPr>
              <a:t>In this slide we look at the ridesharing market. There are </a:t>
            </a:r>
            <a:r>
              <a:rPr lang="en-US" sz="1200" b="0" dirty="0" smtClean="0">
                <a:cs typeface="Arial" charset="0"/>
              </a:rPr>
              <a:t>3 interesting business models for ridesharing – </a:t>
            </a:r>
          </a:p>
          <a:p>
            <a:pPr marL="285750" lvl="0" indent="-285750">
              <a:buFont typeface="Arial" panose="020B0604020202020204" pitchFamily="34" charset="0"/>
              <a:buChar char="•"/>
            </a:pPr>
            <a:r>
              <a:rPr lang="en-US" sz="1200" dirty="0" smtClean="0"/>
              <a:t>The Fixed models where</a:t>
            </a:r>
            <a:r>
              <a:rPr lang="en-US" sz="1200" baseline="0" dirty="0" smtClean="0"/>
              <a:t> </a:t>
            </a:r>
            <a:r>
              <a:rPr lang="en-US" sz="1200" baseline="0" dirty="0" err="1" smtClean="0"/>
              <a:t>ther</a:t>
            </a:r>
            <a:r>
              <a:rPr lang="en-US" sz="1200" baseline="0" dirty="0" smtClean="0"/>
              <a:t> is a</a:t>
            </a:r>
            <a:r>
              <a:rPr lang="en-US" sz="1200" dirty="0" smtClean="0"/>
              <a:t>: Prior arrangement of trips, advertising/requesting empty space in a vehicle doing a common route</a:t>
            </a:r>
          </a:p>
          <a:p>
            <a:pPr marL="285750" lvl="0" indent="-285750">
              <a:buFont typeface="Arial" panose="020B0604020202020204" pitchFamily="34" charset="0"/>
              <a:buChar char="•"/>
            </a:pPr>
            <a:r>
              <a:rPr lang="en-US" sz="1200" dirty="0" smtClean="0"/>
              <a:t>Dynamic: Real time advertising/requesting empty space in a vehicle doing a common route</a:t>
            </a:r>
          </a:p>
          <a:p>
            <a:pPr marL="285750" lvl="0" indent="-285750">
              <a:buFont typeface="Arial" panose="020B0604020202020204" pitchFamily="34" charset="0"/>
              <a:buChar char="•"/>
            </a:pPr>
            <a:r>
              <a:rPr lang="en-US" sz="1200" dirty="0" smtClean="0"/>
              <a:t>Transportation Network Companies: Real time request for journeys, whereby driver specifically reacts to that request with the intention of taking payment for the service.</a:t>
            </a:r>
            <a:endParaRPr lang="en-GB" sz="1200" b="0" dirty="0" smtClean="0">
              <a:solidFill>
                <a:schemeClr val="tx1"/>
              </a:solidFill>
              <a:cs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cs typeface="Arial" charset="0"/>
              </a:rPr>
              <a:t>There are already &gt;15m Rideshare members in Europe, the majority 18-25 year olds but the appeal is increasing; </a:t>
            </a:r>
            <a:r>
              <a:rPr lang="en-US" sz="1200" b="0" dirty="0" err="1" smtClean="0">
                <a:cs typeface="Arial" charset="0"/>
              </a:rPr>
              <a:t>Blablacar</a:t>
            </a:r>
            <a:r>
              <a:rPr lang="en-US" sz="1200" b="0" dirty="0" smtClean="0">
                <a:cs typeface="Arial" charset="0"/>
              </a:rPr>
              <a:t> boast 25% of French 18-25 year olds as members – critical mass in Gen Y customers</a:t>
            </a:r>
          </a:p>
          <a:p>
            <a:pPr marL="285750" indent="-285750">
              <a:buFont typeface="Arial" panose="020B0604020202020204" pitchFamily="34" charset="0"/>
              <a:buChar char="•"/>
            </a:pPr>
            <a:r>
              <a:rPr lang="en-GB" sz="1200" dirty="0" smtClean="0">
                <a:solidFill>
                  <a:schemeClr val="tx1"/>
                </a:solidFill>
                <a:latin typeface="Arial" panose="020B0604020202020204" pitchFamily="34" charset="0"/>
                <a:cs typeface="Arial" panose="020B0604020202020204" pitchFamily="34" charset="0"/>
              </a:rPr>
              <a:t>In the future Cars likely to be enabled with rideshare capability for real time booking/space linked to navigation and</a:t>
            </a:r>
          </a:p>
          <a:p>
            <a:pPr marL="285750" indent="-285750">
              <a:buFont typeface="Arial" panose="020B0604020202020204" pitchFamily="34" charset="0"/>
              <a:buChar char="•"/>
            </a:pPr>
            <a:r>
              <a:rPr lang="en-GB" sz="1200" dirty="0" smtClean="0">
                <a:solidFill>
                  <a:schemeClr val="tx1"/>
                </a:solidFill>
                <a:latin typeface="Arial" panose="020B0604020202020204" pitchFamily="34" charset="0"/>
                <a:cs typeface="Arial" panose="020B0604020202020204" pitchFamily="34" charset="0"/>
              </a:rPr>
              <a:t>Opportunity exists for platforms to integrate discretional and regular trips as one business model </a:t>
            </a:r>
          </a:p>
          <a:p>
            <a:pPr eaLnBrk="1" hangingPunct="1"/>
            <a:r>
              <a:rPr lang="en-US" sz="1200" b="0" dirty="0" smtClean="0">
                <a:cs typeface="Arial" charset="0"/>
              </a:rPr>
              <a:t>Disruption</a:t>
            </a:r>
            <a:r>
              <a:rPr lang="en-US" sz="1200" b="0" baseline="0" dirty="0" smtClean="0">
                <a:cs typeface="Arial" charset="0"/>
              </a:rPr>
              <a:t> in the market. </a:t>
            </a:r>
            <a:r>
              <a:rPr lang="en-US" sz="1200" b="0" baseline="0" dirty="0" err="1" smtClean="0">
                <a:cs typeface="Arial" charset="0"/>
              </a:rPr>
              <a:t>Flinc</a:t>
            </a:r>
            <a:r>
              <a:rPr lang="en-US" sz="1200" b="0" baseline="0" dirty="0" smtClean="0">
                <a:cs typeface="Arial" charset="0"/>
              </a:rPr>
              <a:t> at businesses; SAP </a:t>
            </a:r>
            <a:r>
              <a:rPr lang="en-US" sz="1200" b="0" baseline="0" dirty="0" err="1" smtClean="0">
                <a:cs typeface="Arial" charset="0"/>
              </a:rPr>
              <a:t>TwoGo</a:t>
            </a:r>
            <a:r>
              <a:rPr lang="en-US" sz="1200" b="0" baseline="0" dirty="0" smtClean="0">
                <a:cs typeface="Arial" charset="0"/>
              </a:rPr>
              <a:t>. If that gets used by an employer then why not link to other </a:t>
            </a:r>
            <a:r>
              <a:rPr lang="en-US" sz="1200" b="0" baseline="0" dirty="0" err="1" smtClean="0">
                <a:cs typeface="Arial" charset="0"/>
              </a:rPr>
              <a:t>usership</a:t>
            </a:r>
            <a:r>
              <a:rPr lang="en-US" sz="1200" b="0" baseline="0" dirty="0" smtClean="0">
                <a:cs typeface="Arial" charset="0"/>
              </a:rPr>
              <a:t> products? Rental? Leasing? Could they be a challenger in the future? </a:t>
            </a:r>
            <a:endParaRPr lang="en-GB"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ased on audience, relate</a:t>
            </a:r>
            <a:r>
              <a:rPr lang="en-GB" baseline="0" dirty="0" smtClean="0"/>
              <a:t> these to the fleet and leasing industry and how they can be opportunities/risks</a:t>
            </a:r>
            <a:endParaRPr lang="en-GB" dirty="0"/>
          </a:p>
        </p:txBody>
      </p:sp>
      <p:sp>
        <p:nvSpPr>
          <p:cNvPr id="4" name="Slide Number Placeholder 3"/>
          <p:cNvSpPr>
            <a:spLocks noGrp="1"/>
          </p:cNvSpPr>
          <p:nvPr>
            <p:ph type="sldNum" sz="quarter" idx="10"/>
          </p:nvPr>
        </p:nvSpPr>
        <p:spPr/>
        <p:txBody>
          <a:bodyPr/>
          <a:lstStyle/>
          <a:p>
            <a:fld id="{3EF21FB6-CFEA-4AE0-8B84-FB88DAD9F911}"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2521179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200" dirty="0" smtClean="0">
                <a:solidFill>
                  <a:srgbClr val="002060"/>
                </a:solidFill>
                <a:ea typeface="Cambria Math" pitchFamily="18" charset="0"/>
              </a:rPr>
              <a:t>The boundaries between Fleet, Travel and Expense Management are blurring</a:t>
            </a:r>
          </a:p>
          <a:p>
            <a:r>
              <a:rPr lang="en-GB" b="1" i="1" dirty="0" smtClean="0"/>
              <a:t>Customized text:</a:t>
            </a:r>
            <a:r>
              <a:rPr lang="en-GB" b="1" dirty="0" smtClean="0"/>
              <a:t>  </a:t>
            </a:r>
            <a:r>
              <a:rPr lang="en-GB" dirty="0" smtClean="0"/>
              <a:t>First explain how we will meet the client’s specific, articulated need.  For example:  if the client has requested assistance in planning a market entry, list which steps we will complete across the engagement (e.g., demographic analysis, competitive intelligence collection, regulatory evaluation), detail on what we will accomplish within each step, and what deliverables we will provide.  You can then transition into the text listed below, which sets you up to share the graphic on the following page, which illustrates the full spectrum of Frost &amp; Sullivan services across this growth process.</a:t>
            </a:r>
            <a:endParaRPr lang="en-GB" b="1" dirty="0" smtClean="0"/>
          </a:p>
          <a:p>
            <a:r>
              <a:rPr lang="en-GB" b="1" i="1" dirty="0" smtClean="0"/>
              <a:t>Generic text:</a:t>
            </a:r>
            <a:r>
              <a:rPr lang="en-GB" dirty="0" smtClean="0"/>
              <a:t>  Frost &amp; Sullivan offers a wide variety of resources that can help clients successfully execute geographic expansion.  We provide strategic support to help companies gain a deep understanding of their expansion priorities, current markets, potential new markets, key players, potential partners or distributors, and entry strategy.  The figure on the following page outlines these capabilities in more detail and positions the full spectrum of our services within the context across the phases of Geographic Expansion</a:t>
            </a:r>
            <a:r>
              <a:rPr lang="en-US" dirty="0" smtClean="0"/>
              <a:t>.</a:t>
            </a:r>
          </a:p>
          <a:p>
            <a:endParaRPr lang="en-US" dirty="0"/>
          </a:p>
        </p:txBody>
      </p:sp>
      <p:sp>
        <p:nvSpPr>
          <p:cNvPr id="4" name="Slide Number Placeholder 3"/>
          <p:cNvSpPr>
            <a:spLocks noGrp="1"/>
          </p:cNvSpPr>
          <p:nvPr>
            <p:ph type="sldNum" sz="quarter" idx="10"/>
          </p:nvPr>
        </p:nvSpPr>
        <p:spPr/>
        <p:txBody>
          <a:bodyPr/>
          <a:lstStyle/>
          <a:p>
            <a:pPr>
              <a:defRPr/>
            </a:pPr>
            <a:fld id="{766E893C-2400-49D7-BBD1-18AB3568846E}" type="slidenum">
              <a:rPr lang="en-US" smtClean="0">
                <a:solidFill>
                  <a:prstClr val="black"/>
                </a:solidFill>
              </a:rPr>
              <a:pPr>
                <a:defRPr/>
              </a:pPr>
              <a:t>21</a:t>
            </a:fld>
            <a:endParaRPr lang="en-US" dirty="0">
              <a:solidFill>
                <a:prstClr val="black"/>
              </a:solidFill>
            </a:endParaRPr>
          </a:p>
        </p:txBody>
      </p:sp>
    </p:spTree>
    <p:extLst>
      <p:ext uri="{BB962C8B-B14F-4D97-AF65-F5344CB8AC3E}">
        <p14:creationId xmlns:p14="http://schemas.microsoft.com/office/powerpoint/2010/main" val="3946207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ased on audience, relate</a:t>
            </a:r>
            <a:r>
              <a:rPr lang="en-GB" baseline="0" dirty="0" smtClean="0"/>
              <a:t> these to the fleet and leasing industry and how they can be opportunities/risks</a:t>
            </a:r>
            <a:endParaRPr lang="en-GB" dirty="0"/>
          </a:p>
        </p:txBody>
      </p:sp>
      <p:sp>
        <p:nvSpPr>
          <p:cNvPr id="4" name="Slide Number Placeholder 3"/>
          <p:cNvSpPr>
            <a:spLocks noGrp="1"/>
          </p:cNvSpPr>
          <p:nvPr>
            <p:ph type="sldNum" sz="quarter" idx="10"/>
          </p:nvPr>
        </p:nvSpPr>
        <p:spPr/>
        <p:txBody>
          <a:bodyPr/>
          <a:lstStyle/>
          <a:p>
            <a:fld id="{3EF21FB6-CFEA-4AE0-8B84-FB88DAD9F911}" type="slidenum">
              <a:rPr lang="en-GB" smtClean="0">
                <a:solidFill>
                  <a:prstClr val="black"/>
                </a:solidFill>
              </a:rPr>
              <a:pPr/>
              <a:t>26</a:t>
            </a:fld>
            <a:endParaRPr lang="en-GB">
              <a:solidFill>
                <a:prstClr val="black"/>
              </a:solidFill>
            </a:endParaRPr>
          </a:p>
        </p:txBody>
      </p:sp>
    </p:spTree>
    <p:extLst>
      <p:ext uri="{BB962C8B-B14F-4D97-AF65-F5344CB8AC3E}">
        <p14:creationId xmlns:p14="http://schemas.microsoft.com/office/powerpoint/2010/main" val="25211790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9810" name="Rectangle 2"/>
          <p:cNvSpPr>
            <a:spLocks noGrp="1" noRot="1" noChangeAspect="1" noChangeArrowheads="1" noTextEdit="1"/>
          </p:cNvSpPr>
          <p:nvPr>
            <p:ph type="sldImg"/>
          </p:nvPr>
        </p:nvSpPr>
        <p:spPr>
          <a:xfrm>
            <a:off x="1319213" y="879475"/>
            <a:ext cx="4219575" cy="3165475"/>
          </a:xfrm>
          <a:solidFill>
            <a:srgbClr val="FFFFFF"/>
          </a:solidFill>
          <a:ln/>
        </p:spPr>
      </p:sp>
      <p:sp>
        <p:nvSpPr>
          <p:cNvPr id="119811" name="Rectangle 3"/>
          <p:cNvSpPr>
            <a:spLocks noGrp="1" noChangeArrowheads="1"/>
          </p:cNvSpPr>
          <p:nvPr>
            <p:ph type="body" idx="1"/>
          </p:nvPr>
        </p:nvSpPr>
        <p:spPr>
          <a:xfrm>
            <a:off x="1062041" y="4349752"/>
            <a:ext cx="4740275" cy="3514725"/>
          </a:xfrm>
          <a:noFill/>
          <a:ln/>
        </p:spPr>
        <p:txBody>
          <a:bodyPr wrap="none" anchor="ctr"/>
          <a:lstStyle/>
          <a:p>
            <a:r>
              <a:rPr lang="en-US" b="1" dirty="0" smtClean="0"/>
              <a:t>Vehicle-on-demand &amp; Peer-to-Peer</a:t>
            </a:r>
            <a:r>
              <a:rPr lang="en-US" b="1" baseline="0" dirty="0" smtClean="0"/>
              <a:t> Car Sharing</a:t>
            </a:r>
            <a:r>
              <a:rPr lang="en-US" b="1" dirty="0" smtClean="0"/>
              <a:t>: </a:t>
            </a:r>
            <a:r>
              <a:rPr lang="en-US" dirty="0" smtClean="0"/>
              <a:t>Autonomous vehicles will likely reduce vehicle ownership and parking costs by allowing shared, self-driving taxies to replace personal vehicles Research estimates that, by allowing household vehicles to serve multiple residents, for example, after taking a commuter to work, transporting other household member for errands and social activities, could recue vehicle ownership up to 43%, from 2.1 to 1.2 average vehicles per household, but increase travel per vehicle by up to 75%, from 11,661 to 20,406 annual miles per vehicle. </a:t>
            </a:r>
          </a:p>
          <a:p>
            <a:endParaRPr lang="en-US" dirty="0" smtClean="0"/>
          </a:p>
          <a:p>
            <a:r>
              <a:rPr lang="en-US" dirty="0" smtClean="0"/>
              <a:t>These impacts and benefits are difficult to predict. Many motorists prefer to own personal vehicles for identity (to display their style and success) and convenience (because they often leave equipment in vehicles or carry dirty loads). Shared autonomous vehicle cost profiles are likely to range between car sharing ($0.60- $1.00 per vehicle-mile, including ownership, operation and administrative costs) and human-operated taxis ($2.00-3.00 per vehicle-mile including ownership, operation, administration and labor costs). </a:t>
            </a:r>
          </a:p>
          <a:p>
            <a:endParaRPr lang="en-US" dirty="0" smtClean="0"/>
          </a:p>
          <a:p>
            <a:r>
              <a:rPr lang="en-US" dirty="0" smtClean="0"/>
              <a:t>Autonomous taxis are likely to incur these additional costs: </a:t>
            </a:r>
          </a:p>
          <a:p>
            <a:r>
              <a:rPr lang="en-US" dirty="0" smtClean="0"/>
              <a:t> Additional vehicle travel to trip origins. This may be modest in dense urban areas where such taxis are widely distributed, but is likely to add 10-20% to total vehicle travel in lower-density suburban and rural areas, or for specialized vehicles such as vans and trucks. </a:t>
            </a:r>
          </a:p>
          <a:p>
            <a:r>
              <a:rPr lang="en-US" dirty="0" smtClean="0"/>
              <a:t> Cleaning and vandalism. Taxis and public transit vehicles require frequent cleaning when passengers litter, smoke, spill food and drinks, spit or bring pets, and repairs when vehicles are vandalized. To minimize these risks self-driving taxis will need hardened surfaces, durable fabrics, minimal moving parts, electronic surveillance, and aggressive enforcement. Assuming that vehicles make 200 weekly trips, 5-15% of passengers leave messes with $10-30 average cleanup costs, and 1-4% vandalize vehicles with $50-100 average repair costs, these costs would average between $200 and $1,700 per vehicle-week. </a:t>
            </a:r>
          </a:p>
          <a:p>
            <a:r>
              <a:rPr lang="en-US" dirty="0" smtClean="0"/>
              <a:t> Reduced services. Drivers often help passengers (particularly those with disabilities) in and out of taxies, carry luggage, ensure passengers safely reach destinations, and offer guidance to visitors. </a:t>
            </a:r>
          </a:p>
          <a:p>
            <a:r>
              <a:rPr lang="en-US" dirty="0" smtClean="0"/>
              <a:t> Reduced comfort and privacy. Vehicles designed to minimize cleaning and vandalism risks will probably have less comfort (no leather upholstery or carpeted floors), fewer accessories (limited sound systems), and less reliability (since vehicles will frequently need cleaning and repairs) than personal vehicles. Passengers will need to accept that their activities will be recorded. Personal automobiles typically cost about $4,000 annually in fixed expenses plus 20¢ per mile in operating costs. It is generally cheaper to use conventional taxis ($2.00-3.00 per mile) rather than own a personal vehicle driven less than about 2,500 annual miles, or rely on </a:t>
            </a:r>
            <a:r>
              <a:rPr lang="en-US" dirty="0" err="1" smtClean="0"/>
              <a:t>carsharing</a:t>
            </a:r>
            <a:r>
              <a:rPr lang="en-US" dirty="0" smtClean="0"/>
              <a:t> services ($0.60-1.00 per mile) rather than own a vehicle driven less than about 6,000 annual miles. This suggests that autonomous vehicles will be a cost effective alternative to owning a vehicle driving less than 2,500 to 6,000 annual miles, depending on cleaning and repair costs. Table 2 summarizes trip types most suitable for self-driving taxis, a minority of total vehicle travel. Because of these additional costs, and reduced passenger comfort and privacy, it seems unlikely that most motorists will shift from owning vehicles to relying on self-driving taxis.</a:t>
            </a:r>
          </a:p>
          <a:p>
            <a:endParaRPr lang="en-US" dirty="0" smtClean="0"/>
          </a:p>
          <a:p>
            <a:r>
              <a:rPr lang="en-US" b="1" dirty="0" smtClean="0"/>
              <a:t>First and</a:t>
            </a:r>
            <a:r>
              <a:rPr lang="en-US" b="1" baseline="0" dirty="0" smtClean="0"/>
              <a:t> last mile connectivity: </a:t>
            </a:r>
            <a:r>
              <a:rPr lang="en-US" dirty="0" smtClean="0"/>
              <a:t>Public transportation plays a critical role in reducing </a:t>
            </a:r>
            <a:r>
              <a:rPr lang="en-US" dirty="0" err="1" smtClean="0"/>
              <a:t>traf</a:t>
            </a:r>
            <a:r>
              <a:rPr lang="en-US" dirty="0" smtClean="0"/>
              <a:t>- fic congestion, gasoline consumption and carbon emissions, especially in major cities. To promote sustainable transportation, it is important not only to stimulate the use of public transport but also to improve its accessibility. To this end, convenient means for the first- and last-mile transportation need to be provided in order to reduce the extra time and hassle the commuters face going from, e.g., home to a transit (e.g., train/subway) station and back. The first- and last-mile, coupled with public transit services can potentially provide cost-effective and sustainable door-to-door transportation</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smtClean="0"/>
              <a:t>Current: </a:t>
            </a:r>
            <a:r>
              <a:rPr lang="en-US" sz="1800" dirty="0" smtClean="0"/>
              <a:t>There are 13,437 medallions, the right to run a yellow taxi. A typical taxi travels 70,000 miles per year, enough to travel around the world 2.8 times. The average age of a taxi vehicle is 3.3 years. 60% of taxi vehicles are hybrid-electric vehicles and 2% of taxi vehicles are wheelchair-accessible. Trips: 485,000 per day | 175 MILLION per year. The are over 50,000 drivers. A typical driver shift is 9.5 hours. Passengers: 600,000 per day | 236 MILLION per year. </a:t>
            </a:r>
          </a:p>
          <a:p>
            <a:endParaRPr lang="en-US" sz="1800" dirty="0" smtClean="0"/>
          </a:p>
          <a:p>
            <a:r>
              <a:rPr lang="en-US" sz="1800" dirty="0" smtClean="0"/>
              <a:t>Useful link: http://www.nyc.gov/html/tlc/downloads/pdf/2014_taxicab_fact_book.pdf</a:t>
            </a:r>
            <a:endParaRPr lang="en-US" sz="1800" dirty="0"/>
          </a:p>
        </p:txBody>
      </p:sp>
      <p:sp>
        <p:nvSpPr>
          <p:cNvPr id="4" name="Slide Number Placeholder 3"/>
          <p:cNvSpPr>
            <a:spLocks noGrp="1"/>
          </p:cNvSpPr>
          <p:nvPr>
            <p:ph type="sldNum" sz="quarter" idx="10"/>
          </p:nvPr>
        </p:nvSpPr>
        <p:spPr/>
        <p:txBody>
          <a:bodyPr/>
          <a:lstStyle/>
          <a:p>
            <a:fld id="{9AC605A5-E12B-4B2E-9959-DB2134BB4238}" type="slidenum">
              <a:rPr lang="en-GB" smtClean="0"/>
              <a:pPr/>
              <a:t>28</a:t>
            </a:fld>
            <a:endParaRPr lang="en-GB"/>
          </a:p>
        </p:txBody>
      </p:sp>
    </p:spTree>
    <p:extLst>
      <p:ext uri="{BB962C8B-B14F-4D97-AF65-F5344CB8AC3E}">
        <p14:creationId xmlns:p14="http://schemas.microsoft.com/office/powerpoint/2010/main" val="12982702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Currently</a:t>
            </a:r>
            <a:r>
              <a:rPr lang="en-US" sz="1200" b="0" i="0" kern="1200" baseline="0" dirty="0" smtClean="0">
                <a:solidFill>
                  <a:schemeClr val="tx1"/>
                </a:solidFill>
                <a:effectLst/>
                <a:latin typeface="+mn-lt"/>
                <a:ea typeface="+mn-ea"/>
                <a:cs typeface="+mn-cs"/>
              </a:rPr>
              <a:t> insurance business revolves around the complex risk assessment process that is bound around the driver of the vehicle. Almost all major factors that define the boundaries of insurance premium are pertaining to the driver. But in the future there could we various possibilities of how the insurance could spin out to be. </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In a brand centric evaluation, the OEMs capability to provide automation and its rating could define the premium. This means to say that a volume OEM with comparatively more rudimentary form of automated driving could attract more premium that a benchmark automated driving by a premium OEM.</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Various types of automated vehicles could also attract different premiums based on their usability and purpose. Moreover, the complexity of the system and the use cases it hands over control to the driver may also be a possible parameter for defining premium. All of these scenarios exclusively or in collaboration would result in a significant shift in ownership of lability from the driver to the OEM.</a:t>
            </a:r>
            <a:endParaRPr lang="en-US" sz="1200" b="0" i="0" kern="1200" dirty="0" smtClean="0">
              <a:solidFill>
                <a:schemeClr val="tx1"/>
              </a:solidFill>
              <a:effectLst/>
              <a:latin typeface="+mn-lt"/>
              <a:ea typeface="+mn-ea"/>
              <a:cs typeface="+mn-cs"/>
            </a:endParaRP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Factors Effecting Future of Insurance: </a:t>
            </a:r>
          </a:p>
          <a:p>
            <a:endParaRPr lang="en-US" sz="1200" b="1"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Regulation:</a:t>
            </a:r>
            <a:r>
              <a:rPr lang="en-US" sz="1200" b="0" i="0" kern="1200" dirty="0" smtClean="0">
                <a:solidFill>
                  <a:schemeClr val="tx1"/>
                </a:solidFill>
                <a:effectLst/>
                <a:latin typeface="+mn-lt"/>
                <a:ea typeface="+mn-ea"/>
                <a:cs typeface="+mn-cs"/>
              </a:rPr>
              <a:t> In NA,</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insurance is state-regulated. Each jurisdiction has its own set of rules and regulations for auto insurance (and so far for self-driving cars). Basically, there are two kinds of liability systems. In some states liability is based on the no-fault concept, where insurers pay the injured party regardless of fault, and in others it is based on the tort system. But there are many important differences among the states in the regulations that now exist within each category, see report on No-Fault Auto Insurance. Will the auto insurance system change to be more uniform with the arrival of self-driving vehicles and will the federal government play a larger role? If car manufacturers are required to accept more responsibility for damage and injuries, they might push for a greater role for the federal government to eliminate some of the cost of complying with the rules of 51 jurisdictions.    </a:t>
            </a:r>
          </a:p>
          <a:p>
            <a:r>
              <a:rPr lang="en-US" sz="1200" b="1" i="0" kern="1200" dirty="0" smtClean="0">
                <a:solidFill>
                  <a:schemeClr val="tx1"/>
                </a:solidFill>
                <a:effectLst/>
                <a:latin typeface="+mn-lt"/>
                <a:ea typeface="+mn-ea"/>
                <a:cs typeface="+mn-cs"/>
              </a:rPr>
              <a:t>Underwriting:</a:t>
            </a:r>
            <a:r>
              <a:rPr lang="en-US" sz="1200" b="0" i="0" kern="1200" dirty="0" smtClean="0">
                <a:solidFill>
                  <a:schemeClr val="tx1"/>
                </a:solidFill>
                <a:effectLst/>
                <a:latin typeface="+mn-lt"/>
                <a:ea typeface="+mn-ea"/>
                <a:cs typeface="+mn-cs"/>
              </a:rPr>
              <a:t> Initially, many of the traditional underwriting criteria, such as the number and kind of accidents an applicant has had, the miles he or she expects to drive and where the car is garaged, will still apply, but the make, model and style of car may assume a greater importance. The implications of where a car is garaged and driven might be different if there are areas set aside, such as dedicated lanes, for automated driving.</a:t>
            </a:r>
          </a:p>
          <a:p>
            <a:r>
              <a:rPr lang="en-US" sz="1200" b="0" i="0" kern="1200" dirty="0" smtClean="0">
                <a:solidFill>
                  <a:schemeClr val="tx1"/>
                </a:solidFill>
                <a:effectLst/>
                <a:latin typeface="+mn-lt"/>
                <a:ea typeface="+mn-ea"/>
                <a:cs typeface="+mn-cs"/>
              </a:rPr>
              <a:t>During the transition to wholly autonomous driving, insurers may try to rely more on telematics devices, known as “black boxes,” that monitor driver activity. Some drivers may object to them based on concerns about privacy. Usage-based insurance policies, which depend on data about the driver’s behavior submitted by an electronic device in the driver’s car, have attracted a smaller than expected percentage of the driving population, possibly because people do not want to be monitored. According to the National Association of Insurance Commissioners, use of telematics is forecast to grow to up to 20 percent within the next five years.  </a:t>
            </a:r>
          </a:p>
          <a:p>
            <a:r>
              <a:rPr lang="en-US" sz="1200" b="1" i="0" kern="1200" dirty="0" smtClean="0">
                <a:solidFill>
                  <a:schemeClr val="tx1"/>
                </a:solidFill>
                <a:effectLst/>
                <a:latin typeface="+mn-lt"/>
                <a:ea typeface="+mn-ea"/>
                <a:cs typeface="+mn-cs"/>
              </a:rPr>
              <a:t>Liability:</a:t>
            </a:r>
            <a:r>
              <a:rPr lang="en-US" sz="1200" b="0" i="0" kern="1200" dirty="0" smtClean="0">
                <a:solidFill>
                  <a:schemeClr val="tx1"/>
                </a:solidFill>
                <a:effectLst/>
                <a:latin typeface="+mn-lt"/>
                <a:ea typeface="+mn-ea"/>
                <a:cs typeface="+mn-cs"/>
              </a:rPr>
              <a:t> As cars are become increasingly automated the onus might be on the manufacturer to prove it was not responsible for what happened in the event of a crash. The liability issue may evolve so that lawsuit concerns do not drive manufacturers and their suppliers out of business</a:t>
            </a:r>
          </a:p>
          <a:p>
            <a:r>
              <a:rPr lang="en-US" sz="1200" b="0" i="0" kern="1200" dirty="0" smtClean="0">
                <a:solidFill>
                  <a:schemeClr val="tx1"/>
                </a:solidFill>
                <a:effectLst/>
                <a:latin typeface="+mn-lt"/>
                <a:ea typeface="+mn-ea"/>
                <a:cs typeface="+mn-cs"/>
              </a:rPr>
              <a:t>RAND has suggested some kind of no-fault auto insurance system. Others foresee something akin to the National Childhood Vaccine Injury Act, a no-fault compensation program for vaccine recipients who suffer a serious adverse reaction when vaccinated. The legislation was passed in 1986 in response to the threat that life-saving vaccines might become scarce or even unavailable if manufacturers, overwhelmed by claims of injury, scaled back or terminated production.</a:t>
            </a:r>
          </a:p>
          <a:p>
            <a:r>
              <a:rPr lang="en-US" sz="1200" b="1" i="0" kern="1200" dirty="0" smtClean="0">
                <a:solidFill>
                  <a:schemeClr val="tx1"/>
                </a:solidFill>
                <a:effectLst/>
                <a:latin typeface="+mn-lt"/>
                <a:ea typeface="+mn-ea"/>
                <a:cs typeface="+mn-cs"/>
              </a:rPr>
              <a:t>Repair Costs:</a:t>
            </a:r>
            <a:r>
              <a:rPr lang="en-US" sz="1200" b="0" i="0" kern="1200" dirty="0" smtClean="0">
                <a:solidFill>
                  <a:schemeClr val="tx1"/>
                </a:solidFill>
                <a:effectLst/>
                <a:latin typeface="+mn-lt"/>
                <a:ea typeface="+mn-ea"/>
                <a:cs typeface="+mn-cs"/>
              </a:rPr>
              <a:t> While the number of accidents is expected to drop significantly as more crash avoidance features are incorporated into vehicles, the cost of replacing damaged parts is likely to increase because of the complexity of the components. It is not yet clear whether the reduction in the frequency of crashes will lead to a reduction in the cost of crashes overall.   </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10394D87-70E2-4BD6-A2CB-C681F1D972C3}" type="slidenum">
              <a:rPr lang="en-IN" smtClean="0">
                <a:solidFill>
                  <a:prstClr val="black"/>
                </a:solidFill>
              </a:rPr>
              <a:pPr/>
              <a:t>29</a:t>
            </a:fld>
            <a:endParaRPr lang="en-IN">
              <a:solidFill>
                <a:prstClr val="black"/>
              </a:solidFill>
            </a:endParaRPr>
          </a:p>
        </p:txBody>
      </p:sp>
    </p:spTree>
    <p:extLst>
      <p:ext uri="{BB962C8B-B14F-4D97-AF65-F5344CB8AC3E}">
        <p14:creationId xmlns:p14="http://schemas.microsoft.com/office/powerpoint/2010/main" val="29729605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dirty="0" smtClean="0">
                <a:solidFill>
                  <a:srgbClr val="002060"/>
                </a:solidFill>
                <a:ea typeface="Cambria Math" pitchFamily="18" charset="0"/>
              </a:rPr>
              <a:t>As premiums plummet, due to reduced crash risk, motor insurance may be bundled with other insurance packages or allowing vehicle manufacturers to pack motor insurance into other packages such as warranty</a:t>
            </a:r>
          </a:p>
          <a:p>
            <a:endParaRPr lang="en-US" dirty="0" smtClean="0"/>
          </a:p>
          <a:p>
            <a:r>
              <a:rPr lang="en-US" dirty="0" smtClean="0"/>
              <a:t>Future scenarios</a:t>
            </a:r>
          </a:p>
          <a:p>
            <a:r>
              <a:rPr lang="en-US" dirty="0" smtClean="0"/>
              <a:t> Although current technology and legislation are still very much works in progress, there are strong forces that do stand to reshape the sector, including shifts to new types of coverage, alternative distribution channels, and redefined customer segments. We envision three highly possible evolutionary changes to the personal auto insurance industry’s products, distribution, and customers, as well as one more truly transformative change that, if it occurs, would significantly affect the shape and size of the industry as we know it.</a:t>
            </a:r>
          </a:p>
          <a:p>
            <a:endParaRPr lang="en-US" dirty="0" smtClean="0"/>
          </a:p>
          <a:p>
            <a:pPr marL="228600" indent="-228600">
              <a:buAutoNum type="arabicPeriod"/>
            </a:pPr>
            <a:r>
              <a:rPr lang="en-US" dirty="0" smtClean="0"/>
              <a:t>Risk shifting – Advanced automotive technologies that reduce collisions, such as location awareness and automatic braking, will increasingly shift the risk of driver error to the risk of mechanical malfunction. This would shift driver liability to manufacturers and result in a new form of auto insurance that could be packaged with cars that rely on these technologies. In turn, this would shift the key buyer from the end-consumer to the manufacturer, and fundamentally change the entire value chain, from product definition to pricing, marketing, distribution, underwriting, service, and claims. If carriers decide to market this coverage to consumers, then they would do so either at the point of sale, or perhaps try to increase market share by co-marketing with the manufacturer and/or dealer.</a:t>
            </a:r>
          </a:p>
          <a:p>
            <a:pPr marL="228600" indent="-228600">
              <a:buAutoNum type="arabicPeriod"/>
            </a:pPr>
            <a:endParaRPr lang="en-US" dirty="0" smtClean="0"/>
          </a:p>
          <a:p>
            <a:pPr marL="228600" indent="-228600">
              <a:buAutoNum type="arabicPeriod"/>
            </a:pPr>
            <a:r>
              <a:rPr lang="en-US" dirty="0" smtClean="0"/>
              <a:t>Risk sharing – Smartphone apps and social networking have already started to play a role in collision reduction. In addition, the dramatic rise in social networking has enabled individuals to develop new affinities wherein people with similar attitudes, interests, and behaviors can pool resources to share risk and lower overall costs. For example, there are new carriers that combine social networking with insurance by connecting customers to form insurance networks that promise significantly lower premiums. These carriers claim that their models allow insurers to access new customers virally, decrease process costs, and reduce claim ratios. While, on the one hand, this represents the potential for lower rates for more groups, on the other hand, it also could make insurance more affordable for some and therefore lead to premium growth.</a:t>
            </a:r>
          </a:p>
          <a:p>
            <a:pPr marL="228600" indent="-228600">
              <a:buAutoNum type="arabicPeriod"/>
            </a:pPr>
            <a:endParaRPr lang="en-US" dirty="0" smtClean="0"/>
          </a:p>
          <a:p>
            <a:pPr marL="228600" indent="-228600">
              <a:buAutoNum type="arabicPeriod"/>
            </a:pPr>
            <a:r>
              <a:rPr lang="en-US" dirty="0" smtClean="0"/>
              <a:t>Risk slicing – Urban living and the increasing availability of automotive time-sharing suggests a future in which premiums move from 24-hour asset coverage to a pay-per-use model. Over 80 percent of the US and over 50 percent of the global population is considered urban; understandably, car sharing is rapidly growing. According to a Frost &amp; Sullivan research estimate that Forbes reported in March 2012, the global car sharing market could exceed $10 billion by 2020, and the North American car sharing market alone could surpass 4.4 million members and $3 billion by 2016. As a result, an increasing number of low-frequency drivers is likely to mean at least some reduction in individual premiums. However, this scenario does not necessarily represent only lost premiums. Most of the people do not choose to own cars will need to rent them at least occasionally; accordingly, car sharing can expand the market for alternative buyers of insurance.</a:t>
            </a:r>
          </a:p>
          <a:p>
            <a:pPr marL="228600" indent="-228600">
              <a:buAutoNum type="arabicPeriod"/>
            </a:pPr>
            <a:endParaRPr lang="en-US" dirty="0" smtClean="0"/>
          </a:p>
          <a:p>
            <a:pPr marL="228600" indent="-228600">
              <a:buAutoNum type="arabicPeriod"/>
            </a:pPr>
            <a:r>
              <a:rPr lang="en-US" dirty="0" smtClean="0"/>
              <a:t>Risk reduction – Unlike the above scenarios that represent significant change but not necessarily extreme disruption to the insurance industry, driverless cars equipped with the latest awareness technologies could completely change the industry as we know it. Google, Inc.’s auto research investments are hastening the eventual, widespread availability of driverless cars. Google’s driverless, laser-equipped vehicles have logged over 300,000 miles without an accident; moreover, the company has begun investing in the research and development that initially sets and then drives down the costs of new technologies. Driverless cars are now legal on California roadways, and Google’s US spending on advocacy of driverless vehicles exceeded $9 million in just the first half of 2012.5 Google estimates that the technology can reduce traffic accidents, the number of cars, and wasted commute time and energy by 90 percent, thereby resulting in savings of $2 trillion per year for the US economy.6 Moreover, in March 2012, J.D. Power and Associates found 37 percent of US consumers were interested in autonomous driving technology. More impressively, the first phase of the NHTSA’s Safety Pilot revealed that 9 out of 10 drivers who experienced V2V technology “have a highly favorable opinion of its safety benefits and would [value] V2V safety features on their personal vehicle.”</a:t>
            </a:r>
          </a:p>
          <a:p>
            <a:endParaRPr lang="en-GB" dirty="0"/>
          </a:p>
        </p:txBody>
      </p:sp>
      <p:sp>
        <p:nvSpPr>
          <p:cNvPr id="4" name="Slide Number Placeholder 3"/>
          <p:cNvSpPr>
            <a:spLocks noGrp="1"/>
          </p:cNvSpPr>
          <p:nvPr>
            <p:ph type="sldNum" sz="quarter" idx="10"/>
          </p:nvPr>
        </p:nvSpPr>
        <p:spPr/>
        <p:txBody>
          <a:bodyPr/>
          <a:lstStyle/>
          <a:p>
            <a:fld id="{9AC605A5-E12B-4B2E-9959-DB2134BB4238}" type="slidenum">
              <a:rPr lang="en-GB" smtClean="0"/>
              <a:pPr/>
              <a:t>30</a:t>
            </a:fld>
            <a:endParaRPr lang="en-GB"/>
          </a:p>
        </p:txBody>
      </p:sp>
    </p:spTree>
    <p:extLst>
      <p:ext uri="{BB962C8B-B14F-4D97-AF65-F5344CB8AC3E}">
        <p14:creationId xmlns:p14="http://schemas.microsoft.com/office/powerpoint/2010/main" val="3122921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a:buNone/>
            </a:pPr>
            <a:r>
              <a:rPr lang="en-US" dirty="0" smtClean="0">
                <a:sym typeface="Wingdings" panose="05000000000000000000" pitchFamily="2" charset="2"/>
              </a:rPr>
              <a:t>Car</a:t>
            </a:r>
            <a:r>
              <a:rPr lang="en-US" baseline="0" dirty="0" smtClean="0">
                <a:sym typeface="Wingdings" panose="05000000000000000000" pitchFamily="2" charset="2"/>
              </a:rPr>
              <a:t> of the future enabled by the above discussed areas.</a:t>
            </a:r>
            <a:endParaRPr lang="en-US" dirty="0" smtClean="0">
              <a:sym typeface="Wingdings" panose="05000000000000000000" pitchFamily="2" charset="2"/>
            </a:endParaRPr>
          </a:p>
          <a:p>
            <a:pPr marL="171450" indent="-171450">
              <a:buFont typeface="Wingdings"/>
              <a:buChar char="à"/>
            </a:pPr>
            <a:endParaRPr lang="en-US" dirty="0" smtClean="0">
              <a:sym typeface="Wingdings" panose="05000000000000000000" pitchFamily="2" charset="2"/>
            </a:endParaRPr>
          </a:p>
          <a:p>
            <a:pPr marL="171450" indent="-171450">
              <a:buFont typeface="Wingdings"/>
              <a:buChar char="à"/>
            </a:pPr>
            <a:r>
              <a:rPr lang="en-US" dirty="0" smtClean="0">
                <a:sym typeface="Wingdings" panose="05000000000000000000" pitchFamily="2" charset="2"/>
              </a:rPr>
              <a:t>Naturalistic driving is a</a:t>
            </a:r>
            <a:r>
              <a:rPr lang="en-US" baseline="0" dirty="0" smtClean="0">
                <a:sym typeface="Wingdings" panose="05000000000000000000" pitchFamily="2" charset="2"/>
              </a:rPr>
              <a:t> form of L3 automation and above where the vehicle learns to mimic the driver in terms of his/her driving style. The concept is artificial intelligence enabled through a number of means – machine learning through the camera sensors (Daimler calls this scene labelling) and analytics of driving data. This is what HERE wants to enable through its HD maps and cloud/analytics capabilities. This is what many OEMs like BMW, Acura are researching that will make automation a lot more personalized and not </a:t>
            </a:r>
            <a:r>
              <a:rPr lang="en-US" baseline="0" dirty="0" err="1" smtClean="0">
                <a:sym typeface="Wingdings" panose="05000000000000000000" pitchFamily="2" charset="2"/>
              </a:rPr>
              <a:t>pureplay</a:t>
            </a:r>
            <a:r>
              <a:rPr lang="en-US" baseline="0" dirty="0" smtClean="0">
                <a:sym typeface="Wingdings" panose="05000000000000000000" pitchFamily="2" charset="2"/>
              </a:rPr>
              <a:t> robotic. </a:t>
            </a:r>
          </a:p>
          <a:p>
            <a:pPr marL="171450" indent="-171450">
              <a:buFont typeface="Wingdings"/>
              <a:buChar char="à"/>
            </a:pPr>
            <a:r>
              <a:rPr lang="en-US" baseline="0" dirty="0" smtClean="0">
                <a:sym typeface="Wingdings" panose="05000000000000000000" pitchFamily="2" charset="2"/>
              </a:rPr>
              <a:t>Predictive connected services is where the connectivity and custom algorithms can understand driver habits and makes the entire experience contextual. The similar comparison is Google Now which is a predictive feature on Android </a:t>
            </a:r>
            <a:r>
              <a:rPr lang="en-US" baseline="0" dirty="0" err="1" smtClean="0">
                <a:sym typeface="Wingdings" panose="05000000000000000000" pitchFamily="2" charset="2"/>
              </a:rPr>
              <a:t>phoners</a:t>
            </a:r>
            <a:r>
              <a:rPr lang="en-US" baseline="0" dirty="0" smtClean="0">
                <a:sym typeface="Wingdings" panose="05000000000000000000" pitchFamily="2" charset="2"/>
              </a:rPr>
              <a:t>. </a:t>
            </a:r>
            <a:endParaRPr lang="en-US" dirty="0"/>
          </a:p>
        </p:txBody>
      </p:sp>
      <p:sp>
        <p:nvSpPr>
          <p:cNvPr id="4" name="Slide Number Placeholder 3"/>
          <p:cNvSpPr>
            <a:spLocks noGrp="1"/>
          </p:cNvSpPr>
          <p:nvPr>
            <p:ph type="sldNum" sz="quarter" idx="10"/>
          </p:nvPr>
        </p:nvSpPr>
        <p:spPr/>
        <p:txBody>
          <a:bodyPr/>
          <a:lstStyle/>
          <a:p>
            <a:fld id="{9AC605A5-E12B-4B2E-9959-DB2134BB4238}" type="slidenum">
              <a:rPr lang="en-GB" smtClean="0">
                <a:solidFill>
                  <a:prstClr val="black"/>
                </a:solidFill>
              </a:rPr>
              <a:pPr/>
              <a:t>31</a:t>
            </a:fld>
            <a:endParaRPr lang="en-GB">
              <a:solidFill>
                <a:prstClr val="black"/>
              </a:solidFill>
            </a:endParaRPr>
          </a:p>
        </p:txBody>
      </p:sp>
    </p:spTree>
    <p:extLst>
      <p:ext uri="{BB962C8B-B14F-4D97-AF65-F5344CB8AC3E}">
        <p14:creationId xmlns:p14="http://schemas.microsoft.com/office/powerpoint/2010/main" val="40647843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With relatively fewer entry barriers the Mobility integrator market is also likely to be commoditized</a:t>
            </a:r>
            <a:endParaRPr lang="en-GB" sz="1200" b="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Finding the right vehicle mix across occupancy ranges is a challenging task given the uncertainty of commuting needs</a:t>
            </a:r>
            <a:endParaRPr lang="en-GB" sz="120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OEMS that lack fleet management or mobility integration capability are likely to struggle in monetizing their business model.</a:t>
            </a:r>
            <a:endParaRPr lang="en-GB" dirty="0" smtClean="0">
              <a:solidFill>
                <a:schemeClr val="tx1"/>
              </a:solidFill>
            </a:endParaRPr>
          </a:p>
          <a:p>
            <a:endParaRPr lang="en-GB" dirty="0" smtClean="0"/>
          </a:p>
        </p:txBody>
      </p:sp>
      <p:sp>
        <p:nvSpPr>
          <p:cNvPr id="4" name="Slide Number Placeholder 3"/>
          <p:cNvSpPr>
            <a:spLocks noGrp="1"/>
          </p:cNvSpPr>
          <p:nvPr>
            <p:ph type="sldNum" sz="quarter" idx="10"/>
          </p:nvPr>
        </p:nvSpPr>
        <p:spPr/>
        <p:txBody>
          <a:bodyPr/>
          <a:lstStyle/>
          <a:p>
            <a:fld id="{3EF21FB6-CFEA-4AE0-8B84-FB88DAD9F911}" type="slidenum">
              <a:rPr lang="en-GB" smtClean="0"/>
              <a:t>32</a:t>
            </a:fld>
            <a:endParaRPr lang="en-GB"/>
          </a:p>
        </p:txBody>
      </p:sp>
    </p:spTree>
    <p:extLst>
      <p:ext uri="{BB962C8B-B14F-4D97-AF65-F5344CB8AC3E}">
        <p14:creationId xmlns:p14="http://schemas.microsoft.com/office/powerpoint/2010/main" val="1703965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dirty="0" smtClean="0"/>
          </a:p>
          <a:p>
            <a:endParaRPr lang="en-US" dirty="0"/>
          </a:p>
        </p:txBody>
      </p:sp>
      <p:sp>
        <p:nvSpPr>
          <p:cNvPr id="4" name="Slide Number Placeholder 3"/>
          <p:cNvSpPr>
            <a:spLocks noGrp="1"/>
          </p:cNvSpPr>
          <p:nvPr>
            <p:ph type="sldNum" sz="quarter" idx="10"/>
          </p:nvPr>
        </p:nvSpPr>
        <p:spPr/>
        <p:txBody>
          <a:bodyPr/>
          <a:lstStyle/>
          <a:p>
            <a:fld id="{8E9010E5-FA2C-48BD-B010-6EE79D2B3CFD}" type="slidenum">
              <a:rPr lang="en-US" smtClean="0"/>
              <a:t>3</a:t>
            </a:fld>
            <a:endParaRPr lang="en-US"/>
          </a:p>
        </p:txBody>
      </p:sp>
    </p:spTree>
    <p:extLst>
      <p:ext uri="{BB962C8B-B14F-4D97-AF65-F5344CB8AC3E}">
        <p14:creationId xmlns:p14="http://schemas.microsoft.com/office/powerpoint/2010/main" val="3881686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User group acceptance, data-processing</a:t>
            </a:r>
            <a:r>
              <a:rPr lang="en-GB" baseline="0" dirty="0" smtClean="0"/>
              <a:t> capability, </a:t>
            </a:r>
          </a:p>
          <a:p>
            <a:r>
              <a:rPr lang="en-GB" baseline="0" dirty="0" smtClean="0"/>
              <a:t>Ability to modify architecture for purpose-built vehicles</a:t>
            </a:r>
            <a:endParaRPr lang="en-GB" dirty="0"/>
          </a:p>
        </p:txBody>
      </p:sp>
      <p:sp>
        <p:nvSpPr>
          <p:cNvPr id="4" name="Slide Number Placeholder 3"/>
          <p:cNvSpPr>
            <a:spLocks noGrp="1"/>
          </p:cNvSpPr>
          <p:nvPr>
            <p:ph type="sldNum" sz="quarter" idx="10"/>
          </p:nvPr>
        </p:nvSpPr>
        <p:spPr/>
        <p:txBody>
          <a:bodyPr/>
          <a:lstStyle/>
          <a:p>
            <a:fld id="{7CCA3F9B-740B-40A1-9241-A78B79BBB562}" type="slidenum">
              <a:rPr lang="en-GB" smtClean="0">
                <a:solidFill>
                  <a:prstClr val="black"/>
                </a:solidFill>
              </a:rPr>
              <a:pPr/>
              <a:t>34</a:t>
            </a:fld>
            <a:endParaRPr lang="en-GB"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dirty="0" smtClean="0"/>
              <a:t>Tech companies are developing fully autonomous capability, while OEMs adopt an incremental approach in line with potential commercializ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err="1" smtClean="0"/>
              <a:t>Farraday</a:t>
            </a:r>
            <a:r>
              <a:rPr lang="en-GB" dirty="0" smtClean="0"/>
              <a:t> Futures launch. 20 new R&amp;D labs in the Silicon Valley back by Chinese investors</a:t>
            </a:r>
          </a:p>
          <a:p>
            <a:endParaRPr lang="en-GB" dirty="0"/>
          </a:p>
        </p:txBody>
      </p:sp>
      <p:sp>
        <p:nvSpPr>
          <p:cNvPr id="4" name="Slide Number Placeholder 3"/>
          <p:cNvSpPr>
            <a:spLocks noGrp="1"/>
          </p:cNvSpPr>
          <p:nvPr>
            <p:ph type="sldNum" sz="quarter" idx="10"/>
          </p:nvPr>
        </p:nvSpPr>
        <p:spPr/>
        <p:txBody>
          <a:bodyPr/>
          <a:lstStyle/>
          <a:p>
            <a:fld id="{8E9010E5-FA2C-48BD-B010-6EE79D2B3CFD}"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3300920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789E9F-27C9-4AA3-8BCD-644C7F449AE9}" type="slidenum">
              <a:rPr lang="en-US" smtClean="0">
                <a:solidFill>
                  <a:prstClr val="black"/>
                </a:solidFill>
              </a:rPr>
              <a:pPr/>
              <a:t>37</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ased on audience, relate</a:t>
            </a:r>
            <a:r>
              <a:rPr lang="en-GB" baseline="0" dirty="0" smtClean="0"/>
              <a:t> these to the fleet and leasing industry and how they can be opportunities/risks</a:t>
            </a:r>
            <a:endParaRPr lang="en-GB" dirty="0"/>
          </a:p>
        </p:txBody>
      </p:sp>
      <p:sp>
        <p:nvSpPr>
          <p:cNvPr id="4" name="Slide Number Placeholder 3"/>
          <p:cNvSpPr>
            <a:spLocks noGrp="1"/>
          </p:cNvSpPr>
          <p:nvPr>
            <p:ph type="sldNum" sz="quarter" idx="10"/>
          </p:nvPr>
        </p:nvSpPr>
        <p:spPr/>
        <p:txBody>
          <a:bodyPr/>
          <a:lstStyle/>
          <a:p>
            <a:fld id="{3EF21FB6-CFEA-4AE0-8B84-FB88DAD9F911}" type="slidenum">
              <a:rPr lang="en-GB" smtClean="0"/>
              <a:t>5</a:t>
            </a:fld>
            <a:endParaRPr lang="en-GB"/>
          </a:p>
        </p:txBody>
      </p:sp>
    </p:spTree>
    <p:extLst>
      <p:ext uri="{BB962C8B-B14F-4D97-AF65-F5344CB8AC3E}">
        <p14:creationId xmlns:p14="http://schemas.microsoft.com/office/powerpoint/2010/main" val="25211790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ased on audience, relate</a:t>
            </a:r>
            <a:r>
              <a:rPr lang="en-GB" baseline="0" dirty="0" smtClean="0"/>
              <a:t> these to the fleet and leasing industry and how they can be opportunities/risks</a:t>
            </a:r>
            <a:endParaRPr lang="en-GB" dirty="0"/>
          </a:p>
        </p:txBody>
      </p:sp>
      <p:sp>
        <p:nvSpPr>
          <p:cNvPr id="4" name="Slide Number Placeholder 3"/>
          <p:cNvSpPr>
            <a:spLocks noGrp="1"/>
          </p:cNvSpPr>
          <p:nvPr>
            <p:ph type="sldNum" sz="quarter" idx="10"/>
          </p:nvPr>
        </p:nvSpPr>
        <p:spPr/>
        <p:txBody>
          <a:bodyPr/>
          <a:lstStyle/>
          <a:p>
            <a:fld id="{3EF21FB6-CFEA-4AE0-8B84-FB88DAD9F911}" type="slidenum">
              <a:rPr lang="en-GB" smtClean="0"/>
              <a:t>6</a:t>
            </a:fld>
            <a:endParaRPr lang="en-GB"/>
          </a:p>
        </p:txBody>
      </p:sp>
    </p:spTree>
    <p:extLst>
      <p:ext uri="{BB962C8B-B14F-4D97-AF65-F5344CB8AC3E}">
        <p14:creationId xmlns:p14="http://schemas.microsoft.com/office/powerpoint/2010/main" val="2521179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pend some time ref the connected City – the</a:t>
            </a:r>
            <a:r>
              <a:rPr lang="en-GB" baseline="0" dirty="0" smtClean="0"/>
              <a:t> presentations are at small cities that can 1. learn from others, 2. lead the innovation as they have less legacy systems</a:t>
            </a:r>
          </a:p>
          <a:p>
            <a:r>
              <a:rPr lang="en-GB" baseline="0" dirty="0" smtClean="0"/>
              <a:t>Everywhere – i.e. access to your files and data everywhere – e.g. music library</a:t>
            </a:r>
            <a:endParaRPr lang="en-GB" dirty="0"/>
          </a:p>
        </p:txBody>
      </p:sp>
      <p:sp>
        <p:nvSpPr>
          <p:cNvPr id="4" name="Slide Number Placeholder 3"/>
          <p:cNvSpPr>
            <a:spLocks noGrp="1"/>
          </p:cNvSpPr>
          <p:nvPr>
            <p:ph type="sldNum" sz="quarter" idx="10"/>
          </p:nvPr>
        </p:nvSpPr>
        <p:spPr/>
        <p:txBody>
          <a:bodyPr/>
          <a:lstStyle/>
          <a:p>
            <a:fld id="{3EF21FB6-CFEA-4AE0-8B84-FB88DAD9F911}" type="slidenum">
              <a:rPr lang="en-GB" smtClean="0"/>
              <a:t>7</a:t>
            </a:fld>
            <a:endParaRPr lang="en-GB"/>
          </a:p>
        </p:txBody>
      </p:sp>
    </p:spTree>
    <p:extLst>
      <p:ext uri="{BB962C8B-B14F-4D97-AF65-F5344CB8AC3E}">
        <p14:creationId xmlns:p14="http://schemas.microsoft.com/office/powerpoint/2010/main" val="2587673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Based on audience, relate</a:t>
            </a:r>
            <a:r>
              <a:rPr lang="en-GB" baseline="0" dirty="0" smtClean="0"/>
              <a:t> these to the fleet and leasing industry and how they can be opportunities/risks</a:t>
            </a:r>
            <a:endParaRPr lang="en-GB" dirty="0"/>
          </a:p>
        </p:txBody>
      </p:sp>
      <p:sp>
        <p:nvSpPr>
          <p:cNvPr id="4" name="Slide Number Placeholder 3"/>
          <p:cNvSpPr>
            <a:spLocks noGrp="1"/>
          </p:cNvSpPr>
          <p:nvPr>
            <p:ph type="sldNum" sz="quarter" idx="10"/>
          </p:nvPr>
        </p:nvSpPr>
        <p:spPr/>
        <p:txBody>
          <a:bodyPr/>
          <a:lstStyle/>
          <a:p>
            <a:fld id="{3EF21FB6-CFEA-4AE0-8B84-FB88DAD9F911}"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2521179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clipartbest.co/ele</a:t>
            </a:r>
          </a:p>
          <a:p>
            <a:r>
              <a:rPr lang="en-US" dirty="0" smtClean="0"/>
              <a:t>http://www.quora.com/What-have-you-found-to-be-the-best-way-to-promote-your-blog-contentctrician-tape-clipart/</a:t>
            </a:r>
          </a:p>
          <a:p>
            <a:r>
              <a:rPr lang="en-GB" sz="1200" b="1" dirty="0" smtClean="0"/>
              <a:t>Automotive council UK </a:t>
            </a:r>
            <a:r>
              <a:rPr lang="en-GB" sz="1200" dirty="0" smtClean="0"/>
              <a:t>proposes a unified approach to bridge this disconnect called </a:t>
            </a:r>
            <a:r>
              <a:rPr lang="en-GB" sz="1200" i="1" dirty="0" smtClean="0"/>
              <a:t>intelligent mobility</a:t>
            </a:r>
            <a:r>
              <a:rPr lang="en-GB" sz="1200" dirty="0" smtClean="0"/>
              <a:t>. </a:t>
            </a:r>
          </a:p>
          <a:p>
            <a:r>
              <a:rPr lang="en-GB" sz="1200" dirty="0" smtClean="0"/>
              <a:t>It is an </a:t>
            </a:r>
            <a:r>
              <a:rPr lang="en-GB" sz="1200" i="1" dirty="0" smtClean="0"/>
              <a:t>integrated</a:t>
            </a:r>
            <a:r>
              <a:rPr lang="en-GB" sz="1200" dirty="0" smtClean="0"/>
              <a:t> approach towards achieving the global transportation industry’s 3 key goals of </a:t>
            </a:r>
            <a:r>
              <a:rPr lang="en-GB" sz="1200" i="1" dirty="0" smtClean="0"/>
              <a:t>safer, cleaner, and leaner </a:t>
            </a:r>
            <a:r>
              <a:rPr lang="en-GB" sz="1200" dirty="0" smtClean="0"/>
              <a:t>mobility by leveraging vehicle automation, cooperative driving, new mobility models, alternative propulsion, and traffic flow optimization.</a:t>
            </a:r>
            <a:endParaRPr lang="en-US" dirty="0"/>
          </a:p>
        </p:txBody>
      </p:sp>
      <p:sp>
        <p:nvSpPr>
          <p:cNvPr id="4" name="Slide Number Placeholder 3"/>
          <p:cNvSpPr>
            <a:spLocks noGrp="1"/>
          </p:cNvSpPr>
          <p:nvPr>
            <p:ph type="sldNum" sz="quarter" idx="10"/>
          </p:nvPr>
        </p:nvSpPr>
        <p:spPr/>
        <p:txBody>
          <a:bodyPr/>
          <a:lstStyle/>
          <a:p>
            <a:fld id="{5B789E9F-27C9-4AA3-8BCD-644C7F449AE9}" type="slidenum">
              <a:rPr lang="en-US" smtClean="0">
                <a:solidFill>
                  <a:prstClr val="black"/>
                </a:solidFill>
              </a:rPr>
              <a:pPr/>
              <a:t>15</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Dedicated lane:</a:t>
            </a:r>
            <a:r>
              <a:rPr lang="en-US" sz="1200" baseline="0" dirty="0" smtClean="0"/>
              <a:t> inductive charging, self driving lane </a:t>
            </a:r>
            <a:endParaRPr lang="en-US" sz="1200" dirty="0" smtClean="0"/>
          </a:p>
        </p:txBody>
      </p:sp>
      <p:sp>
        <p:nvSpPr>
          <p:cNvPr id="4" name="Slide Number Placeholder 3"/>
          <p:cNvSpPr>
            <a:spLocks noGrp="1"/>
          </p:cNvSpPr>
          <p:nvPr>
            <p:ph type="sldNum" sz="quarter" idx="10"/>
          </p:nvPr>
        </p:nvSpPr>
        <p:spPr/>
        <p:txBody>
          <a:bodyPr/>
          <a:lstStyle/>
          <a:p>
            <a:fld id="{5B789E9F-27C9-4AA3-8BCD-644C7F449AE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272581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 number of ITS applications contribute to enhancing the operational performance of transportation</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networks</a:t>
            </a:r>
            <a:r>
              <a:rPr lang="en-US" sz="1200" b="1" kern="1200" dirty="0" smtClean="0">
                <a:solidFill>
                  <a:srgbClr val="00B050"/>
                </a:solidFill>
                <a:effectLst/>
                <a:latin typeface="+mn-lt"/>
                <a:ea typeface="+mn-ea"/>
                <a:cs typeface="+mn-cs"/>
              </a:rPr>
              <a:t>: traffic signal light optimization can improve traffic flow significantly by reducing stops by</a:t>
            </a:r>
            <a:br>
              <a:rPr lang="en-US" sz="1200" b="1" kern="1200" dirty="0" smtClean="0">
                <a:solidFill>
                  <a:srgbClr val="00B050"/>
                </a:solidFill>
                <a:effectLst/>
                <a:latin typeface="+mn-lt"/>
                <a:ea typeface="+mn-ea"/>
                <a:cs typeface="+mn-cs"/>
              </a:rPr>
            </a:br>
            <a:r>
              <a:rPr lang="en-US" sz="1200" b="1" kern="1200" dirty="0" smtClean="0">
                <a:solidFill>
                  <a:srgbClr val="00B050"/>
                </a:solidFill>
                <a:effectLst/>
                <a:latin typeface="+mn-lt"/>
                <a:ea typeface="+mn-ea"/>
                <a:cs typeface="+mn-cs"/>
              </a:rPr>
              <a:t>40%, </a:t>
            </a:r>
            <a:r>
              <a:rPr lang="en-US" sz="1200" b="1" kern="1200" dirty="0" smtClean="0">
                <a:solidFill>
                  <a:schemeClr val="tx1"/>
                </a:solidFill>
                <a:effectLst/>
                <a:latin typeface="+mn-lt"/>
                <a:ea typeface="+mn-ea"/>
                <a:cs typeface="+mn-cs"/>
              </a:rPr>
              <a:t>fuel consumption by 10%, </a:t>
            </a:r>
            <a:r>
              <a:rPr lang="en-US" sz="1200" kern="1200" dirty="0" smtClean="0">
                <a:solidFill>
                  <a:schemeClr val="tx1"/>
                </a:solidFill>
                <a:effectLst/>
                <a:latin typeface="+mn-lt"/>
                <a:ea typeface="+mn-ea"/>
                <a:cs typeface="+mn-cs"/>
              </a:rPr>
              <a:t>vehicle emissions by 22%, </a:t>
            </a:r>
            <a:r>
              <a:rPr lang="en-US" sz="1200" b="1" kern="1200" dirty="0" smtClean="0">
                <a:solidFill>
                  <a:schemeClr val="tx1"/>
                </a:solidFill>
                <a:effectLst/>
                <a:latin typeface="+mn-lt"/>
                <a:ea typeface="+mn-ea"/>
                <a:cs typeface="+mn-cs"/>
              </a:rPr>
              <a:t>and travel time by 25%; ramp metering</a:t>
            </a:r>
            <a:br>
              <a:rPr lang="en-US" sz="1200" b="1" kern="1200" dirty="0" smtClean="0">
                <a:solidFill>
                  <a:schemeClr val="tx1"/>
                </a:solidFill>
                <a:effectLst/>
                <a:latin typeface="+mn-lt"/>
                <a:ea typeface="+mn-ea"/>
                <a:cs typeface="+mn-cs"/>
              </a:rPr>
            </a:br>
            <a:r>
              <a:rPr lang="en-US" sz="1200" b="1" kern="1200" dirty="0" smtClean="0">
                <a:solidFill>
                  <a:schemeClr val="tx1"/>
                </a:solidFill>
                <a:effectLst/>
                <a:latin typeface="+mn-lt"/>
                <a:ea typeface="+mn-ea"/>
                <a:cs typeface="+mn-cs"/>
              </a:rPr>
              <a:t>can increase vehicle throughput (the number of cars that pass through a road lane) from 8 – 22% </a:t>
            </a:r>
            <a:r>
              <a:rPr lang="en-US" sz="1200" kern="1200" dirty="0" smtClean="0">
                <a:solidFill>
                  <a:schemeClr val="tx1"/>
                </a:solidFill>
                <a:effectLst/>
                <a:latin typeface="+mn-lt"/>
                <a:ea typeface="+mn-ea"/>
                <a:cs typeface="+mn-cs"/>
              </a:rPr>
              <a:t>and  </a:t>
            </a:r>
            <a:r>
              <a:rPr lang="en-US" dirty="0" smtClean="0"/>
              <a:t> </a:t>
            </a:r>
            <a:r>
              <a:rPr lang="en-US" sz="1200" b="1" i="0" kern="1200" dirty="0" smtClean="0">
                <a:solidFill>
                  <a:schemeClr val="tx1"/>
                </a:solidFill>
                <a:effectLst/>
                <a:latin typeface="+mn-lt"/>
                <a:ea typeface="+mn-ea"/>
                <a:cs typeface="+mn-cs"/>
              </a:rPr>
              <a:t>◄</a:t>
            </a:r>
            <a:r>
              <a:rPr lang="en-US" sz="1200" b="1" kern="1200" dirty="0" smtClean="0">
                <a:solidFill>
                  <a:schemeClr val="tx1"/>
                </a:solidFill>
                <a:effectLst/>
                <a:latin typeface="+mn-lt"/>
                <a:ea typeface="+mn-ea"/>
                <a:cs typeface="+mn-cs"/>
              </a:rPr>
              <a:t>increase road speeds from 8 – 60%. </a:t>
            </a:r>
            <a:r>
              <a:rPr lang="en-US" sz="1200" kern="1200" dirty="0" smtClean="0">
                <a:solidFill>
                  <a:schemeClr val="tx1"/>
                </a:solidFill>
                <a:effectLst/>
                <a:latin typeface="+mn-lt"/>
                <a:ea typeface="+mn-ea"/>
                <a:cs typeface="+mn-cs"/>
              </a:rPr>
              <a:t>Additionally, up to 30% of highway congestion occurs at toll</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stops, deploying electronic toll collection systems have been found to reduce vehicle emissions by 16</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60% (USDOT, 2008). Assessing the impact of ITS including ramp metering, incident management,</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raffic signal coordination, and arterial access management, the US government found a reduction in</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urban delays of 9% (336 million hours) led to a further reduction in annual costs of USD 5.6 billion due</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o reduced fuel consumption and hours of delay (GAO, 2005). 8:19:12 PM</a:t>
            </a:r>
            <a:r>
              <a:rPr lang="en-US" dirty="0" smtClean="0"/>
              <a:t> </a:t>
            </a:r>
            <a:endParaRPr lang="en-US" dirty="0"/>
          </a:p>
        </p:txBody>
      </p:sp>
      <p:sp>
        <p:nvSpPr>
          <p:cNvPr id="4" name="Slide Number Placeholder 3"/>
          <p:cNvSpPr>
            <a:spLocks noGrp="1"/>
          </p:cNvSpPr>
          <p:nvPr>
            <p:ph type="sldNum" sz="quarter" idx="10"/>
          </p:nvPr>
        </p:nvSpPr>
        <p:spPr/>
        <p:txBody>
          <a:bodyPr/>
          <a:lstStyle/>
          <a:p>
            <a:fld id="{AB0CC374-1B0E-44A6-879E-79C4A693B43E}" type="slidenum">
              <a:rPr lang="en-US" smtClean="0"/>
              <a:pPr/>
              <a:t>17</a:t>
            </a:fld>
            <a:endParaRPr lang="en-US" dirty="0"/>
          </a:p>
        </p:txBody>
      </p:sp>
    </p:spTree>
    <p:extLst>
      <p:ext uri="{BB962C8B-B14F-4D97-AF65-F5344CB8AC3E}">
        <p14:creationId xmlns:p14="http://schemas.microsoft.com/office/powerpoint/2010/main" val="12879348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9719420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35220836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0"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9561925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0081930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29882878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6111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5941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02051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6466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5281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163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59217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11019876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27409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79114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01185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0901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75979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70662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33346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573361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9499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76243"/>
            <a:ext cx="2133600" cy="365125"/>
          </a:xfrm>
          <a:prstGeom prst="rect">
            <a:avLst/>
          </a:prstGeom>
        </p:spPr>
        <p:txBody>
          <a:bodyPr/>
          <a:lstStyle/>
          <a:p>
            <a:fld id="{E612D382-DB57-43BC-9FE9-F7F775BD3149}"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395536" y="6237312"/>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3007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10142623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
        <p:nvSpPr>
          <p:cNvPr id="5" name="Rectangle 4"/>
          <p:cNvSpPr/>
          <p:nvPr userDrawn="1"/>
        </p:nvSpPr>
        <p:spPr>
          <a:xfrm>
            <a:off x="234896" y="6553200"/>
            <a:ext cx="766557" cy="246221"/>
          </a:xfrm>
          <a:prstGeom prst="rect">
            <a:avLst/>
          </a:prstGeom>
        </p:spPr>
        <p:txBody>
          <a:bodyPr wrap="none">
            <a:spAutoFit/>
          </a:bodyPr>
          <a:lstStyle/>
          <a:p>
            <a:pPr algn="r"/>
            <a:r>
              <a:rPr lang="en-US" sz="1000" b="1" dirty="0">
                <a:solidFill>
                  <a:srgbClr val="06325C"/>
                </a:solidFill>
              </a:rPr>
              <a:t> ND31-18 </a:t>
            </a:r>
          </a:p>
        </p:txBody>
      </p:sp>
    </p:spTree>
    <p:extLst>
      <p:ext uri="{BB962C8B-B14F-4D97-AF65-F5344CB8AC3E}">
        <p14:creationId xmlns:p14="http://schemas.microsoft.com/office/powerpoint/2010/main" val="24362350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7578372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
        <p:nvSpPr>
          <p:cNvPr id="6"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29822798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307197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87929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541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5907769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0"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14631492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8504051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30114102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13425225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0200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16972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8227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3190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58347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9436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24210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1019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45433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7179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16257091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68553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64177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34276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22874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7518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718850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76243"/>
            <a:ext cx="2133600" cy="365125"/>
          </a:xfrm>
          <a:prstGeom prst="rect">
            <a:avLst/>
          </a:prstGeom>
        </p:spPr>
        <p:txBody>
          <a:bodyPr/>
          <a:lstStyle/>
          <a:p>
            <a:fld id="{E612D382-DB57-43BC-9FE9-F7F775BD3149}"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395536" y="6237312"/>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2850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
        <p:nvSpPr>
          <p:cNvPr id="5" name="Rectangle 4"/>
          <p:cNvSpPr/>
          <p:nvPr userDrawn="1"/>
        </p:nvSpPr>
        <p:spPr>
          <a:xfrm>
            <a:off x="234896" y="6553200"/>
            <a:ext cx="766557" cy="246221"/>
          </a:xfrm>
          <a:prstGeom prst="rect">
            <a:avLst/>
          </a:prstGeom>
        </p:spPr>
        <p:txBody>
          <a:bodyPr wrap="none">
            <a:spAutoFit/>
          </a:bodyPr>
          <a:lstStyle/>
          <a:p>
            <a:pPr algn="r"/>
            <a:r>
              <a:rPr lang="en-US" sz="1000" b="1" dirty="0">
                <a:solidFill>
                  <a:srgbClr val="06325C"/>
                </a:solidFill>
              </a:rPr>
              <a:t> ND31-18 </a:t>
            </a:r>
          </a:p>
        </p:txBody>
      </p:sp>
    </p:spTree>
    <p:extLst>
      <p:ext uri="{BB962C8B-B14F-4D97-AF65-F5344CB8AC3E}">
        <p14:creationId xmlns:p14="http://schemas.microsoft.com/office/powerpoint/2010/main" val="18557041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39318881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
        <p:nvSpPr>
          <p:cNvPr id="6"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17312416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231133979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966811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3377625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5871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2921135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0"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365917252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345104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3517942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15639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570726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80029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64873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524176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11415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09779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04655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2953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410652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92253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4049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16863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468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2169342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72071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757750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43575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76243"/>
            <a:ext cx="2133600" cy="365125"/>
          </a:xfrm>
          <a:prstGeom prst="rect">
            <a:avLst/>
          </a:prstGeom>
        </p:spPr>
        <p:txBody>
          <a:bodyPr/>
          <a:lstStyle/>
          <a:p>
            <a:fld id="{E612D382-DB57-43BC-9FE9-F7F775BD3149}"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395536" y="6237312"/>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7026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
        <p:nvSpPr>
          <p:cNvPr id="5" name="Rectangle 4"/>
          <p:cNvSpPr/>
          <p:nvPr userDrawn="1"/>
        </p:nvSpPr>
        <p:spPr>
          <a:xfrm>
            <a:off x="234896" y="6553200"/>
            <a:ext cx="766557" cy="246221"/>
          </a:xfrm>
          <a:prstGeom prst="rect">
            <a:avLst/>
          </a:prstGeom>
        </p:spPr>
        <p:txBody>
          <a:bodyPr wrap="none">
            <a:spAutoFit/>
          </a:bodyPr>
          <a:lstStyle/>
          <a:p>
            <a:pPr algn="r"/>
            <a:r>
              <a:rPr lang="en-US" sz="1000" b="1" dirty="0">
                <a:solidFill>
                  <a:srgbClr val="06325C"/>
                </a:solidFill>
              </a:rPr>
              <a:t> ND31-18 </a:t>
            </a:r>
          </a:p>
        </p:txBody>
      </p:sp>
    </p:spTree>
    <p:extLst>
      <p:ext uri="{BB962C8B-B14F-4D97-AF65-F5344CB8AC3E}">
        <p14:creationId xmlns:p14="http://schemas.microsoft.com/office/powerpoint/2010/main" val="331049117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39979781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323200745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1874718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98391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3217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741236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688990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12260898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smtClean="0">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92318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5381660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373376260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354548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822447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31535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7779024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26365116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984959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smtClean="0">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943624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27169983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342548230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001065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1601263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7938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939011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289792649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smtClean="0">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062689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Key Takeaway,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152400"/>
            <a:ext cx="8686800" cy="457200"/>
          </a:xfrm>
        </p:spPr>
        <p:txBody>
          <a:bodyPr/>
          <a:lstStyle>
            <a:lvl1pPr>
              <a:defRPr baseline="0"/>
            </a:lvl1pPr>
          </a:lstStyle>
          <a:p>
            <a:r>
              <a:rPr lang="en-US" dirty="0" smtClean="0"/>
              <a:t>Slide Title (Arial, 20 point)</a:t>
            </a:r>
            <a:endParaRPr lang="en-US" dirty="0"/>
          </a:p>
        </p:txBody>
      </p:sp>
      <p:sp>
        <p:nvSpPr>
          <p:cNvPr id="6" name="Content Placeholder 5"/>
          <p:cNvSpPr>
            <a:spLocks noGrp="1"/>
          </p:cNvSpPr>
          <p:nvPr>
            <p:ph sz="quarter" idx="10"/>
          </p:nvPr>
        </p:nvSpPr>
        <p:spPr>
          <a:xfrm>
            <a:off x="304800" y="1295400"/>
            <a:ext cx="8458200" cy="4953000"/>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hasCustomPrompt="1"/>
          </p:nvPr>
        </p:nvSpPr>
        <p:spPr>
          <a:xfrm>
            <a:off x="228600" y="533400"/>
            <a:ext cx="8686800" cy="381000"/>
          </a:xfrm>
        </p:spPr>
        <p:txBody>
          <a:bodyPr anchor="ctr"/>
          <a:lstStyle>
            <a:lvl1pPr>
              <a:defRPr sz="1400"/>
            </a:lvl1pPr>
            <a:lvl2pPr>
              <a:defRPr sz="1400"/>
            </a:lvl2pPr>
            <a:lvl3pPr>
              <a:defRPr sz="1400"/>
            </a:lvl3pPr>
            <a:lvl4pPr>
              <a:defRPr sz="1400"/>
            </a:lvl4pPr>
            <a:lvl5pPr marL="0" indent="0">
              <a:buNone/>
              <a:defRPr sz="1400" baseline="0">
                <a:solidFill>
                  <a:schemeClr val="tx2"/>
                </a:solidFill>
              </a:defRPr>
            </a:lvl5pPr>
          </a:lstStyle>
          <a:p>
            <a:pPr lvl="4"/>
            <a:r>
              <a:rPr lang="en-US" dirty="0" smtClean="0"/>
              <a:t>&lt;Add key takeaway here (Arial, 14 point, complete sentence, no initial caps, 1 to 2 lines.)&gt;</a:t>
            </a:r>
            <a:endParaRPr lang="en-US" dirty="0"/>
          </a:p>
        </p:txBody>
      </p:sp>
    </p:spTree>
    <p:extLst>
      <p:ext uri="{BB962C8B-B14F-4D97-AF65-F5344CB8AC3E}">
        <p14:creationId xmlns:p14="http://schemas.microsoft.com/office/powerpoint/2010/main" val="277732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12129629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59508941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23969242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27107236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0960489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687957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9160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4657911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139075470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035947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Key Takeaway,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152400"/>
            <a:ext cx="8686800" cy="457200"/>
          </a:xfrm>
        </p:spPr>
        <p:txBody>
          <a:bodyPr/>
          <a:lstStyle>
            <a:lvl1pPr>
              <a:defRPr baseline="0"/>
            </a:lvl1pPr>
          </a:lstStyle>
          <a:p>
            <a:r>
              <a:rPr lang="en-US" dirty="0" smtClean="0"/>
              <a:t>Slide Title (Arial, 20 point)</a:t>
            </a:r>
            <a:endParaRPr lang="en-US" dirty="0"/>
          </a:p>
        </p:txBody>
      </p:sp>
      <p:sp>
        <p:nvSpPr>
          <p:cNvPr id="6" name="Content Placeholder 5"/>
          <p:cNvSpPr>
            <a:spLocks noGrp="1"/>
          </p:cNvSpPr>
          <p:nvPr>
            <p:ph sz="quarter" idx="10"/>
          </p:nvPr>
        </p:nvSpPr>
        <p:spPr>
          <a:xfrm>
            <a:off x="304800" y="1295400"/>
            <a:ext cx="8458200" cy="4953000"/>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hasCustomPrompt="1"/>
          </p:nvPr>
        </p:nvSpPr>
        <p:spPr>
          <a:xfrm>
            <a:off x="228600" y="533400"/>
            <a:ext cx="8686800" cy="381000"/>
          </a:xfrm>
        </p:spPr>
        <p:txBody>
          <a:bodyPr anchor="ctr"/>
          <a:lstStyle>
            <a:lvl1pPr>
              <a:defRPr sz="1400"/>
            </a:lvl1pPr>
            <a:lvl2pPr>
              <a:defRPr sz="1400"/>
            </a:lvl2pPr>
            <a:lvl3pPr>
              <a:defRPr sz="1400"/>
            </a:lvl3pPr>
            <a:lvl4pPr>
              <a:defRPr sz="1400"/>
            </a:lvl4pPr>
            <a:lvl5pPr marL="0" indent="0">
              <a:buNone/>
              <a:defRPr sz="1400" baseline="0">
                <a:solidFill>
                  <a:schemeClr val="tx2"/>
                </a:solidFill>
              </a:defRPr>
            </a:lvl5pPr>
          </a:lstStyle>
          <a:p>
            <a:pPr lvl="4"/>
            <a:r>
              <a:rPr lang="en-US" dirty="0" smtClean="0"/>
              <a:t>&lt;Add key takeaway here (Arial, 14 point, complete sentence, no initial caps, 1 to 2 lines.)&gt;</a:t>
            </a:r>
            <a:endParaRPr lang="en-US" dirty="0"/>
          </a:p>
        </p:txBody>
      </p:sp>
    </p:spTree>
    <p:extLst>
      <p:ext uri="{BB962C8B-B14F-4D97-AF65-F5344CB8AC3E}">
        <p14:creationId xmlns:p14="http://schemas.microsoft.com/office/powerpoint/2010/main" val="38369686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133600"/>
            <a:ext cx="8229600" cy="1143000"/>
          </a:xfrm>
          <a:prstGeom prst="rect">
            <a:avLst/>
          </a:prstGeom>
        </p:spPr>
        <p:txBody>
          <a:bodyPr>
            <a:normAutofit/>
          </a:bodyPr>
          <a:lstStyle>
            <a:lvl1pPr algn="ctr">
              <a:defRPr sz="2400" b="1" cap="none" baseline="0">
                <a:solidFill>
                  <a:srgbClr val="17426B"/>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382473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252713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406802718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
        <p:nvSpPr>
          <p:cNvPr id="6"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178410369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254748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10346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1196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21047464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0"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9713543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9026731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48641530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4458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67941078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115732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04540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702020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06661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861054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5427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43495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4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0230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60012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322871104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57372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728400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E969F3E-B015-420F-AF0E-FA5F9AE197A4}"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467544" y="6309320"/>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0" name="Straight Connector 9"/>
          <p:cNvCxnSpPr/>
          <p:nvPr userDrawn="1"/>
        </p:nvCxnSpPr>
        <p:spPr>
          <a:xfrm>
            <a:off x="251520" y="908720"/>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32865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39442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62522FF-A412-4C6C-9172-854A957503AC}"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251520" y="6165304"/>
            <a:ext cx="2133600" cy="365125"/>
          </a:xfrm>
          <a:prstGeom prst="rect">
            <a:avLst/>
          </a:prstGeom>
        </p:spPr>
        <p:txBody>
          <a:bodyPr/>
          <a:lstStyle>
            <a:lvl1pPr algn="l">
              <a:defRPr/>
            </a:lvl1p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10597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Date Placeholder 3"/>
          <p:cNvSpPr>
            <a:spLocks noGrp="1"/>
          </p:cNvSpPr>
          <p:nvPr>
            <p:ph type="dt" sz="half" idx="10"/>
          </p:nvPr>
        </p:nvSpPr>
        <p:spPr>
          <a:xfrm>
            <a:off x="457200" y="6376243"/>
            <a:ext cx="2133600" cy="365125"/>
          </a:xfrm>
          <a:prstGeom prst="rect">
            <a:avLst/>
          </a:prstGeom>
        </p:spPr>
        <p:txBody>
          <a:bodyPr/>
          <a:lstStyle/>
          <a:p>
            <a:fld id="{E612D382-DB57-43BC-9FE9-F7F775BD3149}" type="datetime1">
              <a:rPr lang="en-GB" smtClean="0">
                <a:solidFill>
                  <a:prstClr val="black">
                    <a:tint val="75000"/>
                  </a:prstClr>
                </a:solidFill>
              </a:rPr>
              <a:pPr/>
              <a:t>09/02/2016</a:t>
            </a:fld>
            <a:endParaRPr lang="en-GB">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395536" y="6237312"/>
            <a:ext cx="2133600" cy="365125"/>
          </a:xfrm>
          <a:prstGeom prst="rect">
            <a:avLst/>
          </a:prstGeom>
        </p:spPr>
        <p:txBody>
          <a:bodyPr/>
          <a:lstStyle/>
          <a:p>
            <a:fld id="{C58B6C3D-03D5-4E75-9409-9BF075E2FED2}" type="slidenum">
              <a:rPr lang="en-GB" smtClean="0">
                <a:solidFill>
                  <a:prstClr val="black">
                    <a:tint val="75000"/>
                  </a:prstClr>
                </a:solidFill>
              </a:rPr>
              <a:pPr/>
              <a:t>‹#›</a:t>
            </a:fld>
            <a:endParaRPr lang="en-GB">
              <a:solidFill>
                <a:prstClr val="black">
                  <a:tint val="75000"/>
                </a:prstClr>
              </a:solidFill>
            </a:endParaRPr>
          </a:p>
        </p:txBody>
      </p:sp>
      <p:cxnSp>
        <p:nvCxnSpPr>
          <p:cNvPr id="12" name="Straight Connector 11"/>
          <p:cNvCxnSpPr/>
          <p:nvPr userDrawn="1"/>
        </p:nvCxnSpPr>
        <p:spPr>
          <a:xfrm>
            <a:off x="251520" y="5877272"/>
            <a:ext cx="7560840" cy="0"/>
          </a:xfrm>
          <a:prstGeom prst="line">
            <a:avLst/>
          </a:prstGeom>
          <a:ln>
            <a:solidFill>
              <a:srgbClr val="8C8C8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40092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
        <p:nvSpPr>
          <p:cNvPr id="5" name="Rectangle 4"/>
          <p:cNvSpPr/>
          <p:nvPr userDrawn="1"/>
        </p:nvSpPr>
        <p:spPr>
          <a:xfrm>
            <a:off x="234896" y="6553200"/>
            <a:ext cx="766557" cy="246221"/>
          </a:xfrm>
          <a:prstGeom prst="rect">
            <a:avLst/>
          </a:prstGeom>
        </p:spPr>
        <p:txBody>
          <a:bodyPr wrap="none">
            <a:spAutoFit/>
          </a:bodyPr>
          <a:lstStyle/>
          <a:p>
            <a:pPr algn="r"/>
            <a:r>
              <a:rPr lang="en-US" sz="1000" b="1" dirty="0">
                <a:solidFill>
                  <a:srgbClr val="06325C"/>
                </a:solidFill>
              </a:rPr>
              <a:t> ND31-18 </a:t>
            </a:r>
          </a:p>
        </p:txBody>
      </p:sp>
    </p:spTree>
    <p:extLst>
      <p:ext uri="{BB962C8B-B14F-4D97-AF65-F5344CB8AC3E}">
        <p14:creationId xmlns:p14="http://schemas.microsoft.com/office/powerpoint/2010/main" val="13540425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35457173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9308068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599185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10510746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3460995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79117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1301643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53370892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smtClean="0">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41155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Key Takeaway,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152400"/>
            <a:ext cx="8686800" cy="457200"/>
          </a:xfrm>
        </p:spPr>
        <p:txBody>
          <a:bodyPr/>
          <a:lstStyle>
            <a:lvl1pPr>
              <a:defRPr baseline="0"/>
            </a:lvl1pPr>
          </a:lstStyle>
          <a:p>
            <a:r>
              <a:rPr lang="en-US" dirty="0" smtClean="0"/>
              <a:t>Slide Title (Arial, 20 point)</a:t>
            </a:r>
            <a:endParaRPr lang="en-US" dirty="0"/>
          </a:p>
        </p:txBody>
      </p:sp>
      <p:sp>
        <p:nvSpPr>
          <p:cNvPr id="6" name="Content Placeholder 5"/>
          <p:cNvSpPr>
            <a:spLocks noGrp="1"/>
          </p:cNvSpPr>
          <p:nvPr>
            <p:ph sz="quarter" idx="10"/>
          </p:nvPr>
        </p:nvSpPr>
        <p:spPr>
          <a:xfrm>
            <a:off x="304800" y="1295400"/>
            <a:ext cx="8458200" cy="4953000"/>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hasCustomPrompt="1"/>
          </p:nvPr>
        </p:nvSpPr>
        <p:spPr>
          <a:xfrm>
            <a:off x="228600" y="533400"/>
            <a:ext cx="8686800" cy="381000"/>
          </a:xfrm>
        </p:spPr>
        <p:txBody>
          <a:bodyPr anchor="ctr"/>
          <a:lstStyle>
            <a:lvl1pPr>
              <a:defRPr sz="1400"/>
            </a:lvl1pPr>
            <a:lvl2pPr>
              <a:defRPr sz="1400"/>
            </a:lvl2pPr>
            <a:lvl3pPr>
              <a:defRPr sz="1400"/>
            </a:lvl3pPr>
            <a:lvl4pPr>
              <a:defRPr sz="1400"/>
            </a:lvl4pPr>
            <a:lvl5pPr marL="0" indent="0">
              <a:buNone/>
              <a:defRPr sz="1400" baseline="0">
                <a:solidFill>
                  <a:schemeClr val="tx2"/>
                </a:solidFill>
              </a:defRPr>
            </a:lvl5pPr>
          </a:lstStyle>
          <a:p>
            <a:pPr lvl="4"/>
            <a:r>
              <a:rPr lang="en-US" dirty="0" smtClean="0"/>
              <a:t>&lt;Add key takeaway here (Arial, 14 point, complete sentence, no initial caps, 1 to 2 lines.)&gt;</a:t>
            </a:r>
            <a:endParaRPr lang="en-US" dirty="0"/>
          </a:p>
        </p:txBody>
      </p:sp>
    </p:spTree>
    <p:extLst>
      <p:ext uri="{BB962C8B-B14F-4D97-AF65-F5344CB8AC3E}">
        <p14:creationId xmlns:p14="http://schemas.microsoft.com/office/powerpoint/2010/main" val="29622204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17707392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31351813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381000" y="1371600"/>
            <a:ext cx="8382000" cy="2316162"/>
          </a:xfrm>
          <a:prstGeom prst="rect">
            <a:avLst/>
          </a:prstGeom>
          <a:noFill/>
          <a:ln w="9525">
            <a:noFill/>
            <a:miter lim="800000"/>
            <a:headEnd/>
            <a:tailEnd/>
          </a:ln>
        </p:spPr>
        <p:txBody>
          <a:bodyPr/>
          <a:lstStyle/>
          <a:p>
            <a:pPr lvl="0"/>
            <a:r>
              <a:rPr lang="en-US" dirty="0" smtClean="0"/>
              <a:t>Click to edit Master title style</a:t>
            </a:r>
          </a:p>
        </p:txBody>
      </p:sp>
    </p:spTree>
    <p:extLst>
      <p:ext uri="{BB962C8B-B14F-4D97-AF65-F5344CB8AC3E}">
        <p14:creationId xmlns:p14="http://schemas.microsoft.com/office/powerpoint/2010/main" val="2644853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177306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2887250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779513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62201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121284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707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420959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24457867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44973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12582584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2482818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438744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0186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166552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1311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233454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3239836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61349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039236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8CA3337-EE77-413B-BA91-5A18FFF603EA}" type="datetimeFigureOut">
              <a:rPr lang="en-US">
                <a:solidFill>
                  <a:srgbClr val="000000"/>
                </a:solidFill>
              </a:rPr>
              <a:pPr/>
              <a:t>2/9/2016</a:t>
            </a:fld>
            <a:endParaRPr lang="en-US" dirty="0">
              <a:solidFill>
                <a:srgbClr val="000000"/>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D791AC9F-2C3C-4B92-8A7E-55597D795D60}"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023275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0352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1122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133629444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Key Takeaway,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152400"/>
            <a:ext cx="8686800" cy="457200"/>
          </a:xfrm>
        </p:spPr>
        <p:txBody>
          <a:bodyPr/>
          <a:lstStyle>
            <a:lvl1pPr>
              <a:defRPr baseline="0"/>
            </a:lvl1pPr>
          </a:lstStyle>
          <a:p>
            <a:r>
              <a:rPr lang="en-US" dirty="0" smtClean="0"/>
              <a:t>Slide Title (Arial, 20 point)</a:t>
            </a:r>
            <a:endParaRPr lang="en-US" dirty="0"/>
          </a:p>
        </p:txBody>
      </p:sp>
      <p:sp>
        <p:nvSpPr>
          <p:cNvPr id="6" name="Content Placeholder 5"/>
          <p:cNvSpPr>
            <a:spLocks noGrp="1"/>
          </p:cNvSpPr>
          <p:nvPr>
            <p:ph sz="quarter" idx="10"/>
          </p:nvPr>
        </p:nvSpPr>
        <p:spPr>
          <a:xfrm>
            <a:off x="304800" y="1295400"/>
            <a:ext cx="8458200" cy="4953000"/>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hasCustomPrompt="1"/>
          </p:nvPr>
        </p:nvSpPr>
        <p:spPr>
          <a:xfrm>
            <a:off x="228600" y="533400"/>
            <a:ext cx="8686800" cy="381000"/>
          </a:xfrm>
        </p:spPr>
        <p:txBody>
          <a:bodyPr anchor="ctr"/>
          <a:lstStyle>
            <a:lvl1pPr>
              <a:defRPr sz="1400"/>
            </a:lvl1pPr>
            <a:lvl2pPr>
              <a:defRPr sz="1400"/>
            </a:lvl2pPr>
            <a:lvl3pPr>
              <a:defRPr sz="1400"/>
            </a:lvl3pPr>
            <a:lvl4pPr>
              <a:defRPr sz="1400"/>
            </a:lvl4pPr>
            <a:lvl5pPr marL="0" indent="0">
              <a:buNone/>
              <a:defRPr sz="1400" baseline="0">
                <a:solidFill>
                  <a:schemeClr val="tx2"/>
                </a:solidFill>
              </a:defRPr>
            </a:lvl5pPr>
          </a:lstStyle>
          <a:p>
            <a:pPr lvl="4"/>
            <a:r>
              <a:rPr lang="en-US" dirty="0" smtClean="0"/>
              <a:t>&lt;Add key takeaway here (Arial, 14 point, complete sentence, no initial caps, 1 to 2 lines.)&gt;</a:t>
            </a:r>
            <a:endParaRPr lang="en-US" dirty="0"/>
          </a:p>
        </p:txBody>
      </p:sp>
    </p:spTree>
    <p:extLst>
      <p:ext uri="{BB962C8B-B14F-4D97-AF65-F5344CB8AC3E}">
        <p14:creationId xmlns:p14="http://schemas.microsoft.com/office/powerpoint/2010/main" val="1428354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6940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3252409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25542915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27357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23738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84103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579182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14685450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4013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3" descr="Cover_MELogo.jpg"/>
          <p:cNvPicPr>
            <a:picLocks noChangeAspect="1"/>
          </p:cNvPicPr>
          <p:nvPr userDrawn="1"/>
        </p:nvPicPr>
        <p:blipFill>
          <a:blip r:embed="rId2" cstate="print"/>
          <a:stretch>
            <a:fillRect/>
          </a:stretch>
        </p:blipFill>
        <p:spPr>
          <a:xfrm>
            <a:off x="0" y="0"/>
            <a:ext cx="9144000" cy="6858000"/>
          </a:xfrm>
          <a:prstGeom prst="rect">
            <a:avLst/>
          </a:prstGeom>
        </p:spPr>
      </p:pic>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black">
          <a:xfrm>
            <a:off x="1371600" y="4800600"/>
            <a:ext cx="6400800" cy="1066800"/>
          </a:xfrm>
        </p:spPr>
        <p:txBody>
          <a:bodyPr/>
          <a:lstStyle>
            <a:lvl1pPr marL="0" indent="0" algn="ctr">
              <a:defRPr>
                <a:solidFill>
                  <a:srgbClr val="17426B"/>
                </a:solidFill>
              </a:defRPr>
            </a:lvl1pPr>
          </a:lstStyle>
          <a:p>
            <a:r>
              <a:rPr lang="en-US" dirty="0"/>
              <a:t>Subtitle text here</a:t>
            </a:r>
          </a:p>
        </p:txBody>
      </p:sp>
    </p:spTree>
    <p:extLst>
      <p:ext uri="{BB962C8B-B14F-4D97-AF65-F5344CB8AC3E}">
        <p14:creationId xmlns:p14="http://schemas.microsoft.com/office/powerpoint/2010/main" val="34550880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ME Divider.jpg"/>
          <p:cNvPicPr>
            <a:picLocks noChangeAspect="1"/>
          </p:cNvPicPr>
          <p:nvPr userDrawn="1"/>
        </p:nvPicPr>
        <p:blipFill>
          <a:blip r:embed="rId2" cstate="print"/>
          <a:stretch>
            <a:fillRect/>
          </a:stretch>
        </p:blipFill>
        <p:spPr>
          <a:xfrm>
            <a:off x="0" y="0"/>
            <a:ext cx="9144000" cy="6858000"/>
          </a:xfrm>
          <a:prstGeom prst="rect">
            <a:avLst/>
          </a:prstGeom>
        </p:spPr>
      </p:pic>
      <p:sp>
        <p:nvSpPr>
          <p:cNvPr id="112645" name="Rectangle 5"/>
          <p:cNvSpPr>
            <a:spLocks noGrp="1" noChangeArrowheads="1"/>
          </p:cNvSpPr>
          <p:nvPr>
            <p:ph type="ctrTitle"/>
          </p:nvPr>
        </p:nvSpPr>
        <p:spPr bwMode="white">
          <a:xfrm>
            <a:off x="685800" y="2667000"/>
            <a:ext cx="7772400" cy="1219200"/>
          </a:xfrm>
        </p:spPr>
        <p:txBody>
          <a:bodyPr/>
          <a:lstStyle>
            <a:lvl1pPr algn="ctr">
              <a:defRPr>
                <a:solidFill>
                  <a:schemeClr val="bg1"/>
                </a:solidFill>
              </a:defRPr>
            </a:lvl1pPr>
          </a:lstStyle>
          <a:p>
            <a:r>
              <a:rPr lang="en-US" dirty="0"/>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
        <p:nvSpPr>
          <p:cNvPr id="7" name="Rectangle 25"/>
          <p:cNvSpPr>
            <a:spLocks noChangeArrowheads="1"/>
          </p:cNvSpPr>
          <p:nvPr userDrawn="1"/>
        </p:nvSpPr>
        <p:spPr bwMode="auto">
          <a:xfrm>
            <a:off x="7086600" y="6466242"/>
            <a:ext cx="1905000" cy="391758"/>
          </a:xfrm>
          <a:prstGeom prst="rect">
            <a:avLst/>
          </a:prstGeom>
          <a:noFill/>
          <a:ln w="9525">
            <a:noFill/>
            <a:miter lim="800000"/>
            <a:headEnd/>
            <a:tailEnd/>
          </a:ln>
          <a:effectLst/>
        </p:spPr>
        <p:txBody>
          <a:bodyPr wrap="square" lIns="91440" tIns="45720" rIns="91440" bIns="45720" anchor="ctr">
            <a:noAutofit/>
          </a:bodyPr>
          <a:lstStyle/>
          <a:p>
            <a:pPr algn="r" eaLnBrk="0" fontAlgn="base" hangingPunct="0">
              <a:spcBef>
                <a:spcPct val="0"/>
              </a:spcBef>
              <a:spcAft>
                <a:spcPct val="0"/>
              </a:spcAft>
              <a:defRPr/>
            </a:pPr>
            <a:fld id="{B020A85C-718C-42DB-B691-E1313AD0D70D}" type="slidenum">
              <a:rPr lang="en-US" sz="900">
                <a:solidFill>
                  <a:srgbClr val="06325C"/>
                </a:solidFill>
              </a:rPr>
              <a:pPr algn="r" eaLnBrk="0" fontAlgn="base" hangingPunct="0">
                <a:spcBef>
                  <a:spcPct val="0"/>
                </a:spcBef>
                <a:spcAft>
                  <a:spcPct val="0"/>
                </a:spcAft>
                <a:defRPr/>
              </a:pPr>
              <a:t>‹#›</a:t>
            </a:fld>
            <a:endParaRPr lang="en-US" sz="1000" dirty="0">
              <a:solidFill>
                <a:srgbClr val="06325C"/>
              </a:solidFill>
            </a:endParaRPr>
          </a:p>
        </p:txBody>
      </p:sp>
      <p:sp>
        <p:nvSpPr>
          <p:cNvPr id="9" name="Rectangle 8"/>
          <p:cNvSpPr/>
          <p:nvPr userDrawn="1"/>
        </p:nvSpPr>
        <p:spPr>
          <a:xfrm>
            <a:off x="281974" y="6541325"/>
            <a:ext cx="671979" cy="230832"/>
          </a:xfrm>
          <a:prstGeom prst="rect">
            <a:avLst/>
          </a:prstGeom>
        </p:spPr>
        <p:txBody>
          <a:bodyPr wrap="none">
            <a:spAutoFit/>
          </a:bodyPr>
          <a:lstStyle/>
          <a:p>
            <a:pPr algn="r" fontAlgn="base">
              <a:spcAft>
                <a:spcPct val="0"/>
              </a:spcAft>
            </a:pPr>
            <a:r>
              <a:rPr lang="en-US" sz="900" dirty="0">
                <a:solidFill>
                  <a:srgbClr val="06325C"/>
                </a:solidFill>
              </a:rPr>
              <a:t>MAD6-18</a:t>
            </a:r>
          </a:p>
        </p:txBody>
      </p:sp>
    </p:spTree>
    <p:extLst>
      <p:ext uri="{BB962C8B-B14F-4D97-AF65-F5344CB8AC3E}">
        <p14:creationId xmlns:p14="http://schemas.microsoft.com/office/powerpoint/2010/main" val="49978456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593764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513542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353333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3747106372"/>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326481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382000" cy="10668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95400"/>
            <a:ext cx="8229600" cy="48307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Slide Number Placeholder 5"/>
          <p:cNvSpPr>
            <a:spLocks noGrp="1"/>
          </p:cNvSpPr>
          <p:nvPr>
            <p:ph type="sldNum" sz="quarter" idx="10"/>
          </p:nvPr>
        </p:nvSpPr>
        <p:spPr>
          <a:xfrm>
            <a:off x="8382000" y="6515100"/>
            <a:ext cx="609600" cy="228600"/>
          </a:xfrm>
          <a:prstGeom prst="rect">
            <a:avLst/>
          </a:prstGeom>
        </p:spPr>
        <p:txBody>
          <a:bodyPr vert="horz" lIns="91440" tIns="45720" rIns="91440" bIns="45720" rtlCol="0" anchor="ctr"/>
          <a:lstStyle>
            <a:lvl1pPr algn="r" fontAlgn="auto">
              <a:spcBef>
                <a:spcPts val="0"/>
              </a:spcBef>
              <a:spcAft>
                <a:spcPts val="0"/>
              </a:spcAft>
              <a:defRPr sz="1200">
                <a:solidFill>
                  <a:srgbClr val="FFFFFF"/>
                </a:solidFill>
                <a:latin typeface="Arial" pitchFamily="34" charset="0"/>
                <a:cs typeface="Arial" pitchFamily="34" charset="0"/>
              </a:defRPr>
            </a:lvl1pPr>
          </a:lstStyle>
          <a:p>
            <a:pPr>
              <a:defRPr/>
            </a:pPr>
            <a:fld id="{80423992-5590-44BE-8E5B-E64E00CCD88C}" type="slidenum">
              <a:rPr lang="en-US"/>
              <a:pPr>
                <a:defRPr/>
              </a:pPr>
              <a:t>‹#›</a:t>
            </a:fld>
            <a:endParaRPr lang="en-US" dirty="0"/>
          </a:p>
        </p:txBody>
      </p:sp>
    </p:spTree>
    <p:extLst>
      <p:ext uri="{BB962C8B-B14F-4D97-AF65-F5344CB8AC3E}">
        <p14:creationId xmlns:p14="http://schemas.microsoft.com/office/powerpoint/2010/main" val="283184073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1800" y="228600"/>
            <a:ext cx="8331200" cy="609600"/>
          </a:xfrm>
        </p:spPr>
        <p:txBody>
          <a:bodyPr/>
          <a:lstStyle/>
          <a:p>
            <a:r>
              <a:rPr lang="en-US" smtClean="0"/>
              <a:t>Click to edit Master title style</a:t>
            </a:r>
            <a:endParaRPr lang="en-IN"/>
          </a:p>
        </p:txBody>
      </p:sp>
      <p:sp>
        <p:nvSpPr>
          <p:cNvPr id="3" name="Table Placeholder 2"/>
          <p:cNvSpPr>
            <a:spLocks noGrp="1"/>
          </p:cNvSpPr>
          <p:nvPr>
            <p:ph type="tbl" idx="1"/>
          </p:nvPr>
        </p:nvSpPr>
        <p:spPr>
          <a:xfrm>
            <a:off x="457200" y="1295400"/>
            <a:ext cx="8229600" cy="4953000"/>
          </a:xfrm>
        </p:spPr>
        <p:txBody>
          <a:bodyPr/>
          <a:lstStyle/>
          <a:p>
            <a:pPr lvl="0"/>
            <a:endParaRPr lang="en-IN" noProof="0" dirty="0"/>
          </a:p>
        </p:txBody>
      </p:sp>
    </p:spTree>
    <p:extLst>
      <p:ext uri="{BB962C8B-B14F-4D97-AF65-F5344CB8AC3E}">
        <p14:creationId xmlns:p14="http://schemas.microsoft.com/office/powerpoint/2010/main" val="205381885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55600" y="65088"/>
            <a:ext cx="8424863" cy="8382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24863" cy="4724400"/>
          </a:xfrm>
        </p:spPr>
        <p:txBody>
          <a:bodyPr/>
          <a:lstStyle/>
          <a:p>
            <a:pPr lvl="0"/>
            <a:endParaRPr lang="en-US" noProof="0" dirty="0"/>
          </a:p>
        </p:txBody>
      </p:sp>
    </p:spTree>
    <p:extLst>
      <p:ext uri="{BB962C8B-B14F-4D97-AF65-F5344CB8AC3E}">
        <p14:creationId xmlns:p14="http://schemas.microsoft.com/office/powerpoint/2010/main" val="358951356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3" descr="Cover_MELogo.jpg"/>
          <p:cNvPicPr>
            <a:picLocks noChangeAspect="1"/>
          </p:cNvPicPr>
          <p:nvPr/>
        </p:nvPicPr>
        <p:blipFill>
          <a:blip r:embed="rId2" cstate="print"/>
          <a:stretch>
            <a:fillRect/>
          </a:stretch>
        </p:blipFill>
        <p:spPr>
          <a:xfrm>
            <a:off x="0" y="0"/>
            <a:ext cx="9144000" cy="6858000"/>
          </a:xfrm>
          <a:prstGeom prst="rect">
            <a:avLst/>
          </a:prstGeom>
        </p:spPr>
      </p:pic>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black">
          <a:xfrm>
            <a:off x="1371600" y="4800600"/>
            <a:ext cx="6400800" cy="1066800"/>
          </a:xfrm>
        </p:spPr>
        <p:txBody>
          <a:bodyPr/>
          <a:lstStyle>
            <a:lvl1pPr marL="0" indent="0" algn="ctr">
              <a:defRPr>
                <a:solidFill>
                  <a:srgbClr val="17426B"/>
                </a:solidFill>
              </a:defRPr>
            </a:lvl1pPr>
          </a:lstStyle>
          <a:p>
            <a:r>
              <a:rPr lang="en-US" dirty="0"/>
              <a:t>Subtitle text here</a:t>
            </a:r>
          </a:p>
        </p:txBody>
      </p:sp>
    </p:spTree>
    <p:extLst>
      <p:ext uri="{BB962C8B-B14F-4D97-AF65-F5344CB8AC3E}">
        <p14:creationId xmlns:p14="http://schemas.microsoft.com/office/powerpoint/2010/main" val="10352779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ME Divider.jpg"/>
          <p:cNvPicPr>
            <a:picLocks noChangeAspect="1"/>
          </p:cNvPicPr>
          <p:nvPr/>
        </p:nvPicPr>
        <p:blipFill>
          <a:blip r:embed="rId2" cstate="print"/>
          <a:stretch>
            <a:fillRect/>
          </a:stretch>
        </p:blipFill>
        <p:spPr>
          <a:xfrm>
            <a:off x="0" y="0"/>
            <a:ext cx="9144000" cy="6858000"/>
          </a:xfrm>
          <a:prstGeom prst="rect">
            <a:avLst/>
          </a:prstGeom>
        </p:spPr>
      </p:pic>
      <p:sp>
        <p:nvSpPr>
          <p:cNvPr id="112645" name="Rectangle 5"/>
          <p:cNvSpPr>
            <a:spLocks noGrp="1" noChangeArrowheads="1"/>
          </p:cNvSpPr>
          <p:nvPr>
            <p:ph type="ctrTitle"/>
          </p:nvPr>
        </p:nvSpPr>
        <p:spPr bwMode="white">
          <a:xfrm>
            <a:off x="685800" y="2667000"/>
            <a:ext cx="7772400" cy="1219200"/>
          </a:xfrm>
        </p:spPr>
        <p:txBody>
          <a:bodyPr/>
          <a:lstStyle>
            <a:lvl1pPr algn="ctr">
              <a:defRPr>
                <a:solidFill>
                  <a:schemeClr val="bg1"/>
                </a:solidFill>
              </a:defRPr>
            </a:lvl1pPr>
          </a:lstStyle>
          <a:p>
            <a:r>
              <a:rPr lang="en-US" dirty="0"/>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
        <p:nvSpPr>
          <p:cNvPr id="7" name="Rectangle 25"/>
          <p:cNvSpPr>
            <a:spLocks noChangeArrowheads="1"/>
          </p:cNvSpPr>
          <p:nvPr/>
        </p:nvSpPr>
        <p:spPr bwMode="auto">
          <a:xfrm>
            <a:off x="6871440" y="6597126"/>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
        <p:nvSpPr>
          <p:cNvPr id="8" name="Rectangle 7"/>
          <p:cNvSpPr/>
          <p:nvPr userDrawn="1"/>
        </p:nvSpPr>
        <p:spPr>
          <a:xfrm>
            <a:off x="152401" y="6466242"/>
            <a:ext cx="762000" cy="391758"/>
          </a:xfrm>
          <a:prstGeom prst="rect">
            <a:avLst/>
          </a:prstGeom>
        </p:spPr>
        <p:txBody>
          <a:bodyPr wrap="square" anchor="ctr" anchorCtr="0">
            <a:noAutofit/>
          </a:bodyPr>
          <a:lstStyle/>
          <a:p>
            <a:pPr algn="ctr" fontAlgn="base">
              <a:spcAft>
                <a:spcPct val="0"/>
              </a:spcAft>
            </a:pPr>
            <a:r>
              <a:rPr lang="en-US" sz="900" dirty="0">
                <a:solidFill>
                  <a:srgbClr val="06325C"/>
                </a:solidFill>
              </a:rPr>
              <a:t>MAEA-18</a:t>
            </a:r>
          </a:p>
        </p:txBody>
      </p:sp>
    </p:spTree>
    <p:extLst>
      <p:ext uri="{BB962C8B-B14F-4D97-AF65-F5344CB8AC3E}">
        <p14:creationId xmlns:p14="http://schemas.microsoft.com/office/powerpoint/2010/main" val="32281531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8783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38976462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198236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62000"/>
          </a:xfrm>
        </p:spPr>
        <p:txBody>
          <a:bodyPr/>
          <a:lstStyle/>
          <a:p>
            <a:r>
              <a:rPr lang="en-US" smtClean="0"/>
              <a:t>Click to edit Master title style</a:t>
            </a:r>
            <a:endParaRPr lang="en-US"/>
          </a:p>
        </p:txBody>
      </p:sp>
    </p:spTree>
    <p:extLst>
      <p:ext uri="{BB962C8B-B14F-4D97-AF65-F5344CB8AC3E}">
        <p14:creationId xmlns:p14="http://schemas.microsoft.com/office/powerpoint/2010/main" val="6296867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Key Takeaway,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686800" cy="457200"/>
          </a:xfrm>
        </p:spPr>
        <p:txBody>
          <a:bodyPr/>
          <a:lstStyle>
            <a:lvl1pPr>
              <a:defRPr baseline="0"/>
            </a:lvl1pPr>
          </a:lstStyle>
          <a:p>
            <a:endParaRPr lang="en-US" dirty="0"/>
          </a:p>
        </p:txBody>
      </p:sp>
      <p:sp>
        <p:nvSpPr>
          <p:cNvPr id="6" name="Content Placeholder 5"/>
          <p:cNvSpPr>
            <a:spLocks noGrp="1"/>
          </p:cNvSpPr>
          <p:nvPr>
            <p:ph sz="quarter" idx="10"/>
          </p:nvPr>
        </p:nvSpPr>
        <p:spPr>
          <a:xfrm>
            <a:off x="304800" y="1295400"/>
            <a:ext cx="8458200" cy="4953000"/>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hasCustomPrompt="1"/>
          </p:nvPr>
        </p:nvSpPr>
        <p:spPr>
          <a:xfrm>
            <a:off x="228600" y="533400"/>
            <a:ext cx="8686800" cy="381000"/>
          </a:xfrm>
        </p:spPr>
        <p:txBody>
          <a:bodyPr anchor="ctr"/>
          <a:lstStyle>
            <a:lvl1pPr>
              <a:defRPr sz="1400"/>
            </a:lvl1pPr>
            <a:lvl2pPr>
              <a:defRPr sz="1400"/>
            </a:lvl2pPr>
            <a:lvl3pPr>
              <a:defRPr sz="1400"/>
            </a:lvl3pPr>
            <a:lvl4pPr>
              <a:defRPr sz="1400"/>
            </a:lvl4pPr>
            <a:lvl5pPr marL="0" indent="0">
              <a:buNone/>
              <a:defRPr sz="1600" baseline="0">
                <a:solidFill>
                  <a:schemeClr val="tx2"/>
                </a:solidFill>
              </a:defRPr>
            </a:lvl5pPr>
          </a:lstStyle>
          <a:p>
            <a:pPr lvl="4"/>
            <a:r>
              <a:rPr lang="en-US" dirty="0" smtClean="0"/>
              <a:t>&lt;Add key takeaway here (Arial, 16 point, complete sentence, no initial caps, 1 to 2 lines.)&gt;</a:t>
            </a:r>
            <a:endParaRPr lang="en-US" dirty="0"/>
          </a:p>
        </p:txBody>
      </p:sp>
    </p:spTree>
    <p:extLst>
      <p:ext uri="{BB962C8B-B14F-4D97-AF65-F5344CB8AC3E}">
        <p14:creationId xmlns:p14="http://schemas.microsoft.com/office/powerpoint/2010/main" val="28477794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2248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Line 36"/>
          <p:cNvSpPr>
            <a:spLocks noChangeShapeType="1"/>
          </p:cNvSpPr>
          <p:nvPr userDrawn="1"/>
        </p:nvSpPr>
        <p:spPr bwMode="auto">
          <a:xfrm>
            <a:off x="381000" y="1066800"/>
            <a:ext cx="8382000" cy="0"/>
          </a:xfrm>
          <a:prstGeom prst="line">
            <a:avLst/>
          </a:prstGeom>
          <a:noFill/>
          <a:ln w="9525">
            <a:solidFill>
              <a:srgbClr val="C0C0C0"/>
            </a:solidFill>
            <a:round/>
            <a:headEnd/>
            <a:tailEnd/>
          </a:ln>
          <a:effectLst/>
        </p:spPr>
        <p:txBody>
          <a:bodyPr/>
          <a:lstStyle/>
          <a:p>
            <a:pPr>
              <a:defRPr/>
            </a:pPr>
            <a:endParaRPr lang="en-US">
              <a:solidFill>
                <a:srgbClr val="000000"/>
              </a:solidFill>
              <a:cs typeface="Arial" pitchFamily="34" charset="0"/>
            </a:endParaRPr>
          </a:p>
        </p:txBody>
      </p:sp>
      <p:sp>
        <p:nvSpPr>
          <p:cNvPr id="2" name="Title 1"/>
          <p:cNvSpPr>
            <a:spLocks noGrp="1"/>
          </p:cNvSpPr>
          <p:nvPr>
            <p:ph type="title"/>
          </p:nvPr>
        </p:nvSpPr>
        <p:spPr>
          <a:xfrm>
            <a:off x="381000" y="274638"/>
            <a:ext cx="8382000" cy="792162"/>
          </a:xfrm>
        </p:spPr>
        <p:txBody>
          <a:bodyPr/>
          <a:lstStyle>
            <a:lvl1pPr algn="l">
              <a:defRPr sz="2000" b="1">
                <a:latin typeface="Arial" pitchFamily="34" charset="0"/>
                <a:ea typeface="Verdana"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1000" y="1295400"/>
            <a:ext cx="8382000" cy="2288381"/>
          </a:xfrm>
        </p:spPr>
        <p:txBody>
          <a:bodyPr/>
          <a:lstStyle>
            <a:lvl1pPr>
              <a:defRPr sz="1400">
                <a:solidFill>
                  <a:srgbClr val="002060"/>
                </a:solidFill>
                <a:latin typeface="Arial" pitchFamily="34" charset="0"/>
                <a:ea typeface="Verdana" pitchFamily="34" charset="0"/>
                <a:cs typeface="Arial" pitchFamily="34" charset="0"/>
              </a:defRPr>
            </a:lvl1pPr>
            <a:lvl2pPr>
              <a:defRPr sz="1400">
                <a:solidFill>
                  <a:srgbClr val="002060"/>
                </a:solidFill>
                <a:latin typeface="Arial" pitchFamily="34" charset="0"/>
                <a:ea typeface="Verdana" pitchFamily="34" charset="0"/>
                <a:cs typeface="Arial" pitchFamily="34" charset="0"/>
              </a:defRPr>
            </a:lvl2pPr>
            <a:lvl3pPr>
              <a:defRPr sz="1400">
                <a:solidFill>
                  <a:srgbClr val="002060"/>
                </a:solidFill>
                <a:latin typeface="Arial" pitchFamily="34" charset="0"/>
                <a:ea typeface="Verdana" pitchFamily="34" charset="0"/>
                <a:cs typeface="Arial" pitchFamily="34" charset="0"/>
              </a:defRPr>
            </a:lvl3pPr>
            <a:lvl4pPr>
              <a:defRPr sz="1400">
                <a:solidFill>
                  <a:srgbClr val="002060"/>
                </a:solidFill>
                <a:latin typeface="Arial" pitchFamily="34" charset="0"/>
                <a:ea typeface="Verdana"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Content Placeholder 2"/>
          <p:cNvSpPr>
            <a:spLocks noGrp="1"/>
          </p:cNvSpPr>
          <p:nvPr>
            <p:ph idx="10"/>
          </p:nvPr>
        </p:nvSpPr>
        <p:spPr>
          <a:xfrm>
            <a:off x="381000" y="3810000"/>
            <a:ext cx="8382000" cy="2362200"/>
          </a:xfrm>
        </p:spPr>
        <p:txBody>
          <a:bodyPr/>
          <a:lstStyle>
            <a:lvl1pPr>
              <a:defRPr sz="1400">
                <a:solidFill>
                  <a:srgbClr val="002060"/>
                </a:solidFill>
                <a:latin typeface="Arial" pitchFamily="34" charset="0"/>
                <a:ea typeface="Verdana" pitchFamily="34" charset="0"/>
                <a:cs typeface="Arial" pitchFamily="34" charset="0"/>
              </a:defRPr>
            </a:lvl1pPr>
            <a:lvl2pPr>
              <a:defRPr sz="1400">
                <a:solidFill>
                  <a:srgbClr val="002060"/>
                </a:solidFill>
                <a:latin typeface="Arial" pitchFamily="34" charset="0"/>
                <a:ea typeface="Verdana" pitchFamily="34" charset="0"/>
                <a:cs typeface="Arial" pitchFamily="34" charset="0"/>
              </a:defRPr>
            </a:lvl2pPr>
            <a:lvl3pPr>
              <a:defRPr sz="1400">
                <a:solidFill>
                  <a:srgbClr val="002060"/>
                </a:solidFill>
                <a:latin typeface="Arial" pitchFamily="34" charset="0"/>
                <a:ea typeface="Verdana" pitchFamily="34" charset="0"/>
                <a:cs typeface="Arial" pitchFamily="34" charset="0"/>
              </a:defRPr>
            </a:lvl3pPr>
            <a:lvl4pPr>
              <a:defRPr sz="1400">
                <a:solidFill>
                  <a:srgbClr val="002060"/>
                </a:solidFill>
                <a:latin typeface="Arial" pitchFamily="34" charset="0"/>
                <a:ea typeface="Verdana"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6489271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2976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33722383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26857868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75363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9835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90806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6786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9804359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31689426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90312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24521283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4"/>
          <p:cNvSpPr>
            <a:spLocks noChangeArrowheads="1"/>
          </p:cNvSpPr>
          <p:nvPr userDrawn="1"/>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17467846-7B82-4BD0-A742-7FAC6E214C45}"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Tree>
    <p:extLst>
      <p:ext uri="{BB962C8B-B14F-4D97-AF65-F5344CB8AC3E}">
        <p14:creationId xmlns:p14="http://schemas.microsoft.com/office/powerpoint/2010/main" val="12717145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859970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212161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1523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5"/>
          <p:cNvSpPr>
            <a:spLocks noGrp="1"/>
          </p:cNvSpPr>
          <p:nvPr>
            <p:ph type="dt" sz="half" idx="10"/>
          </p:nvPr>
        </p:nvSpPr>
        <p:spPr>
          <a:xfrm>
            <a:off x="381000" y="6681788"/>
            <a:ext cx="1905000" cy="152400"/>
          </a:xfrm>
          <a:prstGeom prst="rect">
            <a:avLst/>
          </a:prstGeo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1"/>
          </p:nvPr>
        </p:nvSpPr>
        <p:spPr>
          <a:xfrm>
            <a:off x="7010400" y="6681788"/>
            <a:ext cx="1905000" cy="152400"/>
          </a:xfrm>
          <a:prstGeom prst="rect">
            <a:avLst/>
          </a:prstGeom>
        </p:spPr>
        <p:txBody>
          <a:bodyPr/>
          <a:lstStyle>
            <a:lvl1pPr>
              <a:defRPr/>
            </a:lvl1pPr>
          </a:lstStyle>
          <a:p>
            <a:fld id="{44F329FB-F867-4029-95FF-294CB871B1E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845707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792162"/>
          </a:xfrm>
        </p:spPr>
        <p:txBody>
          <a:bodyPr/>
          <a:lstStyle>
            <a:lvl1pPr algn="l">
              <a:defRPr sz="24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p:spPr>
        <p:txBody>
          <a:bodyPr/>
          <a:lstStyle>
            <a:lvl1pPr>
              <a:defRPr sz="1800">
                <a:latin typeface="Arial" pitchFamily="34" charset="0"/>
                <a:cs typeface="Arial" pitchFamily="34" charset="0"/>
              </a:defRPr>
            </a:lvl1pPr>
            <a:lvl2pPr>
              <a:defRPr sz="16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2"/>
          <p:cNvSpPr>
            <a:spLocks noGrp="1"/>
          </p:cNvSpPr>
          <p:nvPr>
            <p:ph idx="10"/>
          </p:nvPr>
        </p:nvSpPr>
        <p:spPr>
          <a:xfrm>
            <a:off x="381000" y="1143001"/>
            <a:ext cx="8382000" cy="381000"/>
          </a:xfrm>
        </p:spPr>
        <p:txBody>
          <a:bodyPr/>
          <a:lstStyle>
            <a:lvl1pPr>
              <a:defRPr sz="1400">
                <a:latin typeface="Arial" pitchFamily="34" charset="0"/>
                <a:cs typeface="Arial" pitchFamily="34" charset="0"/>
              </a:defRPr>
            </a:lvl1pPr>
            <a:lvl2pPr>
              <a:defRPr sz="1400">
                <a:latin typeface="Arial" pitchFamily="34" charset="0"/>
                <a:cs typeface="Arial" pitchFamily="34" charset="0"/>
              </a:defRPr>
            </a:lvl2pPr>
            <a:lvl3pPr>
              <a:defRPr sz="1400">
                <a:latin typeface="Arial" pitchFamily="34" charset="0"/>
                <a:cs typeface="Arial" pitchFamily="34" charset="0"/>
              </a:defRPr>
            </a:lvl3pPr>
            <a:lvl4pPr>
              <a:defRPr sz="1400">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19694485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5601" y="65088"/>
            <a:ext cx="8455025" cy="8382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295400"/>
            <a:ext cx="8432800" cy="4724400"/>
          </a:xfrm>
        </p:spPr>
        <p:txBody>
          <a:bodyPr/>
          <a:lstStyle/>
          <a:p>
            <a:pPr lvl="0"/>
            <a:endParaRPr lang="en-US" noProof="0" dirty="0"/>
          </a:p>
        </p:txBody>
      </p:sp>
    </p:spTree>
    <p:extLst>
      <p:ext uri="{BB962C8B-B14F-4D97-AF65-F5344CB8AC3E}">
        <p14:creationId xmlns:p14="http://schemas.microsoft.com/office/powerpoint/2010/main" val="5058031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47599EB-307F-4B02-B0F9-CADC87F9048B}" type="datetime1">
              <a:rPr lang="en-US">
                <a:solidFill>
                  <a:prstClr val="black">
                    <a:tint val="75000"/>
                  </a:prstClr>
                </a:solidFill>
              </a:rPr>
              <a:pPr/>
              <a:t>2/9/2016</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970A74C-6C3B-4032-912F-3B4B1AD2B02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07525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Key Takeaway,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686800" cy="457200"/>
          </a:xfrm>
        </p:spPr>
        <p:txBody>
          <a:bodyPr/>
          <a:lstStyle>
            <a:lvl1pPr>
              <a:defRPr baseline="0"/>
            </a:lvl1pPr>
          </a:lstStyle>
          <a:p>
            <a:endParaRPr lang="en-US" dirty="0"/>
          </a:p>
        </p:txBody>
      </p:sp>
      <p:sp>
        <p:nvSpPr>
          <p:cNvPr id="6" name="Content Placeholder 5"/>
          <p:cNvSpPr>
            <a:spLocks noGrp="1"/>
          </p:cNvSpPr>
          <p:nvPr>
            <p:ph sz="quarter" idx="10"/>
          </p:nvPr>
        </p:nvSpPr>
        <p:spPr>
          <a:xfrm>
            <a:off x="304800" y="1295400"/>
            <a:ext cx="8458200" cy="4953000"/>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hasCustomPrompt="1"/>
          </p:nvPr>
        </p:nvSpPr>
        <p:spPr>
          <a:xfrm>
            <a:off x="228600" y="533400"/>
            <a:ext cx="8686800" cy="381000"/>
          </a:xfrm>
        </p:spPr>
        <p:txBody>
          <a:bodyPr anchor="ctr"/>
          <a:lstStyle>
            <a:lvl1pPr>
              <a:defRPr sz="1400"/>
            </a:lvl1pPr>
            <a:lvl2pPr>
              <a:defRPr sz="1400"/>
            </a:lvl2pPr>
            <a:lvl3pPr>
              <a:defRPr sz="1400"/>
            </a:lvl3pPr>
            <a:lvl4pPr>
              <a:defRPr sz="1400"/>
            </a:lvl4pPr>
            <a:lvl5pPr marL="0" indent="0">
              <a:buNone/>
              <a:defRPr sz="1600" baseline="0">
                <a:solidFill>
                  <a:schemeClr val="tx2"/>
                </a:solidFill>
              </a:defRPr>
            </a:lvl5pPr>
          </a:lstStyle>
          <a:p>
            <a:pPr lvl="4"/>
            <a:r>
              <a:rPr lang="en-US" dirty="0" smtClean="0"/>
              <a:t>&lt;Add key takeaway here (Arial, 16 point, complete sentence, no initial caps, 1 to 2 lines.)&gt;</a:t>
            </a:r>
            <a:endParaRPr lang="en-US" dirty="0"/>
          </a:p>
        </p:txBody>
      </p:sp>
    </p:spTree>
    <p:extLst>
      <p:ext uri="{BB962C8B-B14F-4D97-AF65-F5344CB8AC3E}">
        <p14:creationId xmlns:p14="http://schemas.microsoft.com/office/powerpoint/2010/main" val="23133678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6"/>
          <p:cNvSpPr>
            <a:spLocks noGrp="1"/>
          </p:cNvSpPr>
          <p:nvPr>
            <p:ph type="title" hasCustomPrompt="1"/>
          </p:nvPr>
        </p:nvSpPr>
        <p:spPr bwMode="white">
          <a:xfrm>
            <a:off x="457200" y="1219200"/>
            <a:ext cx="8229600" cy="1447800"/>
          </a:xfrm>
          <a:prstGeom prst="rect">
            <a:avLst/>
          </a:prstGeom>
        </p:spPr>
        <p:txBody>
          <a:bodyPr vert="horz"/>
          <a:lstStyle>
            <a:lvl1pPr>
              <a:defRPr b="1">
                <a:effectLst>
                  <a:outerShdw blurRad="50800" dist="38100" dir="2700000" algn="tl" rotWithShape="0">
                    <a:prstClr val="black">
                      <a:alpha val="40000"/>
                    </a:prstClr>
                  </a:outerShdw>
                </a:effectLst>
              </a:defRPr>
            </a:lvl1pPr>
          </a:lstStyle>
          <a:p>
            <a:r>
              <a:rPr lang="en-US" dirty="0" smtClean="0"/>
              <a:t>CLICK TO EDIT MASTER TITLE STYLE</a:t>
            </a:r>
            <a:endParaRPr lang="en-US" dirty="0"/>
          </a:p>
        </p:txBody>
      </p:sp>
      <p:sp>
        <p:nvSpPr>
          <p:cNvPr id="11" name="Subtitle 2"/>
          <p:cNvSpPr>
            <a:spLocks noGrp="1"/>
          </p:cNvSpPr>
          <p:nvPr>
            <p:ph type="subTitle" idx="1" hasCustomPrompt="1"/>
          </p:nvPr>
        </p:nvSpPr>
        <p:spPr bwMode="white">
          <a:xfrm>
            <a:off x="457200" y="2743200"/>
            <a:ext cx="8229600" cy="1295400"/>
          </a:xfrm>
          <a:prstGeom prst="rect">
            <a:avLst/>
          </a:prstGeom>
        </p:spPr>
        <p:txBody>
          <a:bodyPr/>
          <a:lstStyle>
            <a:lvl1pPr marL="0" indent="0" algn="ctr">
              <a:buNone/>
              <a:defRPr sz="2000">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2" name="Date Placeholder 3"/>
          <p:cNvSpPr>
            <a:spLocks noGrp="1"/>
          </p:cNvSpPr>
          <p:nvPr>
            <p:ph type="dt" sz="half" idx="10"/>
          </p:nvPr>
        </p:nvSpPr>
        <p:spPr bwMode="white">
          <a:xfrm>
            <a:off x="445325" y="5574475"/>
            <a:ext cx="3505200" cy="365125"/>
          </a:xfrm>
          <a:prstGeom prst="rect">
            <a:avLst/>
          </a:prstGeom>
        </p:spPr>
        <p:txBody>
          <a:bodyPr/>
          <a:lstStyle>
            <a:lvl1pPr algn="ctr" fontAlgn="auto">
              <a:spcBef>
                <a:spcPts val="0"/>
              </a:spcBef>
              <a:spcAft>
                <a:spcPts val="0"/>
              </a:spcAft>
              <a:defRPr>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stStyle>
          <a:p>
            <a:pPr>
              <a:defRPr/>
            </a:pPr>
            <a:endParaRPr lang="en-US" dirty="0">
              <a:solidFill>
                <a:srgbClr val="FFFFFF"/>
              </a:solidFill>
            </a:endParaRPr>
          </a:p>
        </p:txBody>
      </p:sp>
      <p:cxnSp>
        <p:nvCxnSpPr>
          <p:cNvPr id="14" name="Straight Connector 13"/>
          <p:cNvCxnSpPr/>
          <p:nvPr userDrawn="1"/>
        </p:nvCxnSpPr>
        <p:spPr bwMode="white">
          <a:xfrm>
            <a:off x="457200" y="5943600"/>
            <a:ext cx="822960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pic>
        <p:nvPicPr>
          <p:cNvPr id="2" name="Picture 1" descr="FS_50_Year_Logo_CMY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27125" y="3886200"/>
            <a:ext cx="1524000" cy="19431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382467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99352" name="Rectangle 24"/>
          <p:cNvSpPr>
            <a:spLocks noGrp="1" noChangeArrowheads="1"/>
          </p:cNvSpPr>
          <p:nvPr>
            <p:ph type="ctrTitle"/>
          </p:nvPr>
        </p:nvSpPr>
        <p:spPr bwMode="white">
          <a:xfrm>
            <a:off x="685800" y="2667000"/>
            <a:ext cx="77724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white">
          <a:xfrm>
            <a:off x="1371600" y="4800600"/>
            <a:ext cx="6400800" cy="1066800"/>
          </a:xfrm>
        </p:spPr>
        <p:txBody>
          <a:bodyPr/>
          <a:lstStyle>
            <a:lvl1pPr marL="0" indent="0" algn="ctr">
              <a:defRPr>
                <a:solidFill>
                  <a:srgbClr val="17426B"/>
                </a:solidFill>
              </a:defRPr>
            </a:lvl1pPr>
          </a:lstStyle>
          <a:p>
            <a:r>
              <a:rPr lang="en-US"/>
              <a:t>Subtitle text here</a:t>
            </a:r>
          </a:p>
        </p:txBody>
      </p:sp>
    </p:spTree>
    <p:extLst>
      <p:ext uri="{BB962C8B-B14F-4D97-AF65-F5344CB8AC3E}">
        <p14:creationId xmlns:p14="http://schemas.microsoft.com/office/powerpoint/2010/main" val="17046268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12645" name="Rectangle 5"/>
          <p:cNvSpPr>
            <a:spLocks noGrp="1" noChangeArrowheads="1"/>
          </p:cNvSpPr>
          <p:nvPr>
            <p:ph type="ctrTitle"/>
          </p:nvPr>
        </p:nvSpPr>
        <p:spPr>
          <a:xfrm>
            <a:off x="685800" y="2667000"/>
            <a:ext cx="7772400" cy="1219200"/>
          </a:xfrm>
        </p:spPr>
        <p:txBody>
          <a:bodyPr/>
          <a:lstStyle>
            <a:lvl1pPr algn="ctr">
              <a:defRPr>
                <a:solidFill>
                  <a:schemeClr val="bg1"/>
                </a:solidFill>
              </a:defRPr>
            </a:lvl1pPr>
          </a:lstStyle>
          <a:p>
            <a:r>
              <a:rPr lang="en-US"/>
              <a:t>Click to edit Master title style</a:t>
            </a:r>
          </a:p>
        </p:txBody>
      </p:sp>
      <p:sp>
        <p:nvSpPr>
          <p:cNvPr id="112646" name="Rectangle 6"/>
          <p:cNvSpPr>
            <a:spLocks noGrp="1" noChangeArrowheads="1"/>
          </p:cNvSpPr>
          <p:nvPr>
            <p:ph type="subTitle" idx="1"/>
          </p:nvPr>
        </p:nvSpPr>
        <p:spPr>
          <a:xfrm>
            <a:off x="1371600" y="4648200"/>
            <a:ext cx="6400800" cy="1219200"/>
          </a:xfrm>
        </p:spPr>
        <p:txBody>
          <a:bodyPr/>
          <a:lstStyle>
            <a:lvl1pPr marL="0" indent="0" algn="ctr">
              <a:defRPr>
                <a:solidFill>
                  <a:srgbClr val="17426B"/>
                </a:solidFill>
              </a:defRPr>
            </a:lvl1pPr>
          </a:lstStyle>
          <a:p>
            <a:r>
              <a:rPr lang="en-US"/>
              <a:t>Click to edit Master subtitle style</a:t>
            </a:r>
          </a:p>
        </p:txBody>
      </p:sp>
      <p:sp>
        <p:nvSpPr>
          <p:cNvPr id="6"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15087050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260127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444503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1246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82000" cy="8382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905000"/>
            <a:ext cx="38481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381500" y="1905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381500" y="4191000"/>
            <a:ext cx="38481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256582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image" Target="../media/image2.jpeg"/><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ags" Target="../tags/tag7.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vmlDrawing" Target="../drawings/vmlDrawing7.vml"/><Relationship Id="rId5" Type="http://schemas.openxmlformats.org/officeDocument/2006/relationships/slideLayout" Target="../slideLayouts/slideLayout88.xml"/><Relationship Id="rId15" Type="http://schemas.openxmlformats.org/officeDocument/2006/relationships/image" Target="../media/image1.emf"/><Relationship Id="rId10" Type="http://schemas.openxmlformats.org/officeDocument/2006/relationships/theme" Target="../theme/theme10.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oleObject" Target="../embeddings/oleObject7.bin"/></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11.xml"/><Relationship Id="rId1" Type="http://schemas.openxmlformats.org/officeDocument/2006/relationships/slideLayout" Target="../slideLayouts/slideLayout93.xml"/><Relationship Id="rId4" Type="http://schemas.openxmlformats.org/officeDocument/2006/relationships/image" Target="../media/image8.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image" Target="../media/image2.jpe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theme" Target="../theme/theme12.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image" Target="../media/image2.jpe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theme" Target="../theme/theme13.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image" Target="../media/image2.jpe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theme" Target="../theme/theme14.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oleObject" Target="../embeddings/oleObject8.bin"/><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image" Target="../media/image2.jpeg"/><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tags" Target="../tags/tag8.xml"/><Relationship Id="rId5" Type="http://schemas.openxmlformats.org/officeDocument/2006/relationships/slideLayout" Target="../slideLayouts/slideLayout179.xml"/><Relationship Id="rId10" Type="http://schemas.openxmlformats.org/officeDocument/2006/relationships/vmlDrawing" Target="../drawings/vmlDrawing8.vml"/><Relationship Id="rId4" Type="http://schemas.openxmlformats.org/officeDocument/2006/relationships/slideLayout" Target="../slideLayouts/slideLayout178.xml"/><Relationship Id="rId9" Type="http://schemas.openxmlformats.org/officeDocument/2006/relationships/theme" Target="../theme/theme15.xml"/><Relationship Id="rId14"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oleObject" Target="../embeddings/oleObject9.bin"/><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image" Target="../media/image2.jpeg"/><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tags" Target="../tags/tag9.xml"/><Relationship Id="rId5" Type="http://schemas.openxmlformats.org/officeDocument/2006/relationships/slideLayout" Target="../slideLayouts/slideLayout187.xml"/><Relationship Id="rId10" Type="http://schemas.openxmlformats.org/officeDocument/2006/relationships/vmlDrawing" Target="../drawings/vmlDrawing9.vml"/><Relationship Id="rId4" Type="http://schemas.openxmlformats.org/officeDocument/2006/relationships/slideLayout" Target="../slideLayouts/slideLayout186.xml"/><Relationship Id="rId9" Type="http://schemas.openxmlformats.org/officeDocument/2006/relationships/theme" Target="../theme/theme16.xml"/><Relationship Id="rId14"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image" Target="../media/image2.jpeg"/><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tags" Target="../tags/tag10.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vmlDrawing" Target="../drawings/vmlDrawing10.vml"/><Relationship Id="rId5" Type="http://schemas.openxmlformats.org/officeDocument/2006/relationships/slideLayout" Target="../slideLayouts/slideLayout195.xml"/><Relationship Id="rId15" Type="http://schemas.openxmlformats.org/officeDocument/2006/relationships/image" Target="../media/image1.emf"/><Relationship Id="rId10" Type="http://schemas.openxmlformats.org/officeDocument/2006/relationships/theme" Target="../theme/theme17.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oleObject" Target="../embeddings/oleObject10.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tags" Target="../tags/tag11.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vmlDrawing" Target="../drawings/vmlDrawing11.vml"/><Relationship Id="rId2" Type="http://schemas.openxmlformats.org/officeDocument/2006/relationships/slideLayout" Target="../slideLayouts/slideLayout201.xml"/><Relationship Id="rId16" Type="http://schemas.openxmlformats.org/officeDocument/2006/relationships/image" Target="../media/image1.emf"/><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theme" Target="../theme/theme18.xml"/><Relationship Id="rId5" Type="http://schemas.openxmlformats.org/officeDocument/2006/relationships/slideLayout" Target="../slideLayouts/slideLayout204.xml"/><Relationship Id="rId15" Type="http://schemas.openxmlformats.org/officeDocument/2006/relationships/oleObject" Target="../embeddings/oleObject11.bin"/><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image" Target="../media/image2.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slideLayout" Target="../slideLayouts/slideLayout235.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29" Type="http://schemas.openxmlformats.org/officeDocument/2006/relationships/image" Target="../media/image2.jpeg"/><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theme" Target="../theme/theme19.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2.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ags" Target="../tags/tag2.xml"/><Relationship Id="rId2" Type="http://schemas.openxmlformats.org/officeDocument/2006/relationships/slideLayout" Target="../slideLayouts/slideLayout15.xml"/><Relationship Id="rId16" Type="http://schemas.openxmlformats.org/officeDocument/2006/relationships/vmlDrawing" Target="../drawings/vmlDrawing2.v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oleObject" Target="../embeddings/oleObject2.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image" Target="../media/image2.jpeg"/><Relationship Id="rId3" Type="http://schemas.openxmlformats.org/officeDocument/2006/relationships/slideLayout" Target="../slideLayouts/slideLayout239.xml"/><Relationship Id="rId7" Type="http://schemas.openxmlformats.org/officeDocument/2006/relationships/slideLayout" Target="../slideLayouts/slideLayout243.xml"/><Relationship Id="rId12" Type="http://schemas.openxmlformats.org/officeDocument/2006/relationships/tags" Target="../tags/tag12.xml"/><Relationship Id="rId2" Type="http://schemas.openxmlformats.org/officeDocument/2006/relationships/slideLayout" Target="../slideLayouts/slideLayout238.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vmlDrawing" Target="../drawings/vmlDrawing12.vml"/><Relationship Id="rId5" Type="http://schemas.openxmlformats.org/officeDocument/2006/relationships/slideLayout" Target="../slideLayouts/slideLayout241.xml"/><Relationship Id="rId15" Type="http://schemas.openxmlformats.org/officeDocument/2006/relationships/image" Target="../media/image1.emf"/><Relationship Id="rId10" Type="http://schemas.openxmlformats.org/officeDocument/2006/relationships/theme" Target="../theme/theme20.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oleObject" Target="../embeddings/oleObject1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3.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2.jpe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3.xml"/><Relationship Id="rId5" Type="http://schemas.openxmlformats.org/officeDocument/2006/relationships/slideLayout" Target="../slideLayouts/slideLayout32.xml"/><Relationship Id="rId10" Type="http://schemas.openxmlformats.org/officeDocument/2006/relationships/vmlDrawing" Target="../drawings/vmlDrawing3.vml"/><Relationship Id="rId4" Type="http://schemas.openxmlformats.org/officeDocument/2006/relationships/slideLayout" Target="../slideLayouts/slideLayout31.xml"/><Relationship Id="rId9" Type="http://schemas.openxmlformats.org/officeDocument/2006/relationships/theme" Target="../theme/theme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oleObject" Target="../embeddings/oleObject4.bin"/><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image" Target="../media/image2.jpe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4.xml"/><Relationship Id="rId5" Type="http://schemas.openxmlformats.org/officeDocument/2006/relationships/slideLayout" Target="../slideLayouts/slideLayout40.xml"/><Relationship Id="rId10" Type="http://schemas.openxmlformats.org/officeDocument/2006/relationships/vmlDrawing" Target="../drawings/vmlDrawing4.vml"/><Relationship Id="rId4" Type="http://schemas.openxmlformats.org/officeDocument/2006/relationships/slideLayout" Target="../slideLayouts/slideLayout39.xml"/><Relationship Id="rId9" Type="http://schemas.openxmlformats.org/officeDocument/2006/relationships/theme" Target="../theme/theme4.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6.xml"/><Relationship Id="rId7"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oleObject" Target="../embeddings/oleObject5.bin"/><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image" Target="../media/image2.jpeg"/><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5.xml"/><Relationship Id="rId5" Type="http://schemas.openxmlformats.org/officeDocument/2006/relationships/slideLayout" Target="../slideLayouts/slideLayout54.xml"/><Relationship Id="rId10" Type="http://schemas.openxmlformats.org/officeDocument/2006/relationships/vmlDrawing" Target="../drawings/vmlDrawing5.vml"/><Relationship Id="rId4" Type="http://schemas.openxmlformats.org/officeDocument/2006/relationships/slideLayout" Target="../slideLayouts/slideLayout53.xml"/><Relationship Id="rId9" Type="http://schemas.openxmlformats.org/officeDocument/2006/relationships/theme" Target="../theme/theme6.xml"/><Relationship Id="rId14"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6.jpeg"/><Relationship Id="rId5" Type="http://schemas.openxmlformats.org/officeDocument/2006/relationships/slideLayout" Target="../slideLayouts/slideLayout62.xml"/><Relationship Id="rId10" Type="http://schemas.openxmlformats.org/officeDocument/2006/relationships/theme" Target="../theme/theme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image" Target="../media/image6.jpeg"/><Relationship Id="rId5" Type="http://schemas.openxmlformats.org/officeDocument/2006/relationships/slideLayout" Target="../slideLayouts/slideLayout71.xml"/><Relationship Id="rId10" Type="http://schemas.openxmlformats.org/officeDocument/2006/relationships/theme" Target="../theme/theme8.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oleObject" Target="../embeddings/oleObject6.bin"/><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image" Target="../media/image2.jpeg"/><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ags" Target="../tags/tag6.xml"/><Relationship Id="rId5" Type="http://schemas.openxmlformats.org/officeDocument/2006/relationships/slideLayout" Target="../slideLayouts/slideLayout80.xml"/><Relationship Id="rId10" Type="http://schemas.openxmlformats.org/officeDocument/2006/relationships/vmlDrawing" Target="../drawings/vmlDrawing6.vml"/><Relationship Id="rId4" Type="http://schemas.openxmlformats.org/officeDocument/2006/relationships/slideLayout" Target="../slideLayouts/slideLayout79.xml"/><Relationship Id="rId9" Type="http://schemas.openxmlformats.org/officeDocument/2006/relationships/theme" Target="../theme/theme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7"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125659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4" name="think-cell Slide" r:id="rId18" imgW="360" imgH="360" progId="TCLayout.ActiveDocument.1">
                  <p:embed/>
                </p:oleObj>
              </mc:Choice>
              <mc:Fallback>
                <p:oleObj name="think-cell Slide" r:id="rId18" imgW="360" imgH="360" progId="TCLayout.ActiveDocument.1">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29122824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3178367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3"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2094855548"/>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911" r:id="rId9"/>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9" descr="fs_clear_blue"/>
          <p:cNvPicPr>
            <a:picLocks noChangeAspect="1" noChangeArrowheads="1"/>
          </p:cNvPicPr>
          <p:nvPr/>
        </p:nvPicPr>
        <p:blipFill>
          <a:blip r:embed="rId3" cstate="print">
            <a:clrChange>
              <a:clrFrom>
                <a:srgbClr val="FDFDFD"/>
              </a:clrFrom>
              <a:clrTo>
                <a:srgbClr val="FDFDFD">
                  <a:alpha val="0"/>
                </a:srgbClr>
              </a:clrTo>
            </a:clrChange>
            <a:lum bright="100000"/>
          </a:blip>
          <a:srcRect/>
          <a:stretch>
            <a:fillRect/>
          </a:stretch>
        </p:blipFill>
        <p:spPr bwMode="auto">
          <a:xfrm>
            <a:off x="1639888" y="5981700"/>
            <a:ext cx="5864225" cy="800100"/>
          </a:xfrm>
          <a:prstGeom prst="rect">
            <a:avLst/>
          </a:prstGeom>
          <a:noFill/>
          <a:ln w="9525">
            <a:noFill/>
            <a:miter lim="800000"/>
            <a:headEnd/>
            <a:tailEnd/>
          </a:ln>
        </p:spPr>
      </p:pic>
      <p:pic>
        <p:nvPicPr>
          <p:cNvPr id="4" name="Picture 3" descr="FS cover imag14.jpg"/>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spTree>
    <p:extLst>
      <p:ext uri="{BB962C8B-B14F-4D97-AF65-F5344CB8AC3E}">
        <p14:creationId xmlns:p14="http://schemas.microsoft.com/office/powerpoint/2010/main" val="2423652279"/>
      </p:ext>
    </p:extLst>
  </p:cSld>
  <p:clrMap bg1="lt1" tx1="dk1" bg2="lt2" tx2="dk2" accent1="accent1" accent2="accent2" accent3="accent3" accent4="accent4" accent5="accent5" accent6="accent6" hlink="hlink" folHlink="folHlink"/>
  <p:sldLayoutIdLst>
    <p:sldLayoutId id="2147483762" r:id="rId1"/>
  </p:sldLayoutIdLst>
  <p:hf sldNum="0" hdr="0" ftr="0" dt="0"/>
  <p:txStyles>
    <p:titleStyle>
      <a:lvl1pPr algn="ctr" defTabSz="457200" rtl="0" eaLnBrk="1" latinLnBrk="0" hangingPunct="1">
        <a:spcBef>
          <a:spcPct val="0"/>
        </a:spcBef>
        <a:buNone/>
        <a:defRPr sz="2800" kern="1200">
          <a:solidFill>
            <a:schemeClr val="bg1"/>
          </a:solidFill>
          <a:latin typeface="Arial"/>
          <a:ea typeface="+mj-ea"/>
          <a:cs typeface="Arial"/>
        </a:defRPr>
      </a:lvl1pPr>
    </p:titleStyle>
    <p:bodyStyle>
      <a:lvl1pPr marL="0" indent="0" algn="ctr" defTabSz="457200" rtl="0" eaLnBrk="1" latinLnBrk="0" hangingPunct="1">
        <a:spcBef>
          <a:spcPct val="20000"/>
        </a:spcBef>
        <a:buFont typeface="Arial"/>
        <a:buNone/>
        <a:defRPr sz="3200" kern="1200">
          <a:solidFill>
            <a:schemeClr val="tx1"/>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29"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314083826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29"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334787731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29"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2526710198"/>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3236259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9"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174687264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1669383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327490158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3004796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26" name="think-cell Slide" r:id="rId14" imgW="360" imgH="360" progId="TCLayout.ActiveDocument.1">
                  <p:embed/>
                </p:oleObj>
              </mc:Choice>
              <mc:Fallback>
                <p:oleObj name="think-cell Slide" r:id="rId14" imgW="360" imgH="360" progId="TCLayout.ActiveDocument.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355374361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913" r:id="rId9"/>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674633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3"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2785255694"/>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912" r:id="rId9"/>
    <p:sldLayoutId id="2147483914" r:id="rId10"/>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29" cstate="print"/>
          <a:srcRect/>
          <a:stretch>
            <a:fillRect/>
          </a:stretch>
        </a:blipFill>
        <a:effectLst/>
      </p:bgPr>
    </p:bg>
    <p:spTree>
      <p:nvGrpSpPr>
        <p:cNvPr id="1" name=""/>
        <p:cNvGrpSpPr/>
        <p:nvPr/>
      </p:nvGrpSpPr>
      <p:grpSpPr>
        <a:xfrm>
          <a:off x="0" y="0"/>
          <a:ext cx="0" cy="0"/>
          <a:chOff x="0" y="0"/>
          <a:chExt cx="0" cy="0"/>
        </a:xfrm>
      </p:grpSpPr>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Rectangle 25"/>
          <p:cNvSpPr>
            <a:spLocks noChangeArrowheads="1"/>
          </p:cNvSpPr>
          <p:nvPr userDrawn="1"/>
        </p:nvSpPr>
        <p:spPr bwMode="auto">
          <a:xfrm>
            <a:off x="7007718" y="6605882"/>
            <a:ext cx="1905000" cy="152400"/>
          </a:xfrm>
          <a:prstGeom prst="rect">
            <a:avLst/>
          </a:prstGeom>
          <a:noFill/>
          <a:ln w="9525">
            <a:noFill/>
            <a:miter lim="800000"/>
            <a:headEnd/>
            <a:tailEnd/>
          </a:ln>
          <a:effectLst/>
        </p:spPr>
        <p:txBody>
          <a:bodyPr lIns="0" tIns="0" rIns="0" bIns="0"/>
          <a:lstStyle/>
          <a:p>
            <a:pPr algn="r" eaLnBrk="0" hangingPunct="0">
              <a:defRPr/>
            </a:pPr>
            <a:fld id="{EF343EA0-A3D6-4870-B3AA-C5774F22A727}" type="slidenum">
              <a:rPr lang="en-US" sz="900">
                <a:solidFill>
                  <a:srgbClr val="06325C"/>
                </a:solidFill>
              </a:rPr>
              <a:pPr algn="r" eaLnBrk="0" hangingPunct="0">
                <a:defRPr/>
              </a:pPr>
              <a:t>‹#›</a:t>
            </a:fld>
            <a:endParaRPr lang="en-US" sz="900" dirty="0">
              <a:solidFill>
                <a:srgbClr val="06325C"/>
              </a:solidFill>
            </a:endParaRPr>
          </a:p>
        </p:txBody>
      </p:sp>
    </p:spTree>
    <p:extLst>
      <p:ext uri="{BB962C8B-B14F-4D97-AF65-F5344CB8AC3E}">
        <p14:creationId xmlns:p14="http://schemas.microsoft.com/office/powerpoint/2010/main" val="1158590924"/>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 id="2147483901" r:id="rId18"/>
    <p:sldLayoutId id="2147483902" r:id="rId19"/>
    <p:sldLayoutId id="2147483903" r:id="rId20"/>
    <p:sldLayoutId id="2147483904" r:id="rId21"/>
    <p:sldLayoutId id="2147483905" r:id="rId22"/>
    <p:sldLayoutId id="2147483906" r:id="rId23"/>
    <p:sldLayoutId id="2147483907" r:id="rId24"/>
    <p:sldLayoutId id="2147483908" r:id="rId25"/>
    <p:sldLayoutId id="2147483909" r:id="rId26"/>
    <p:sldLayoutId id="2147483910" r:id="rId27"/>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8"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3416256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8"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19941390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915" r:id="rId14"/>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871028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7"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2279646653"/>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2533397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282802152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318478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6"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356343461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81000" y="274638"/>
            <a:ext cx="8382000" cy="792162"/>
          </a:xfrm>
          <a:prstGeom prst="rect">
            <a:avLst/>
          </a:prstGeom>
          <a:noFill/>
          <a:ln w="9525">
            <a:noFill/>
            <a:miter lim="800000"/>
            <a:headEnd/>
            <a:tailEnd/>
          </a:ln>
        </p:spPr>
        <p:txBody>
          <a:bodyPr vert="horz" wrap="square" lIns="91440" tIns="0" rIns="91440" bIns="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57200" y="1295400"/>
            <a:ext cx="822960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Line 36"/>
          <p:cNvSpPr>
            <a:spLocks noChangeShapeType="1"/>
          </p:cNvSpPr>
          <p:nvPr/>
        </p:nvSpPr>
        <p:spPr bwMode="auto">
          <a:xfrm>
            <a:off x="381000" y="1066800"/>
            <a:ext cx="8382000" cy="0"/>
          </a:xfrm>
          <a:prstGeom prst="line">
            <a:avLst/>
          </a:prstGeom>
          <a:noFill/>
          <a:ln w="9525">
            <a:solidFill>
              <a:srgbClr val="C0C0C0"/>
            </a:solidFill>
            <a:round/>
            <a:headEnd/>
            <a:tailEnd/>
          </a:ln>
          <a:effectLst/>
        </p:spPr>
        <p:txBody>
          <a:bodyPr/>
          <a:lstStyle/>
          <a:p>
            <a:pPr>
              <a:defRPr/>
            </a:pPr>
            <a:endParaRPr lang="en-US" dirty="0">
              <a:solidFill>
                <a:srgbClr val="000000"/>
              </a:solidFill>
            </a:endParaRPr>
          </a:p>
        </p:txBody>
      </p:sp>
      <p:sp>
        <p:nvSpPr>
          <p:cNvPr id="9" name="Line 36"/>
          <p:cNvSpPr>
            <a:spLocks noChangeShapeType="1"/>
          </p:cNvSpPr>
          <p:nvPr/>
        </p:nvSpPr>
        <p:spPr bwMode="auto">
          <a:xfrm>
            <a:off x="381000" y="6400800"/>
            <a:ext cx="8382000" cy="0"/>
          </a:xfrm>
          <a:prstGeom prst="line">
            <a:avLst/>
          </a:prstGeom>
          <a:noFill/>
          <a:ln w="9525">
            <a:solidFill>
              <a:srgbClr val="C0C0C0"/>
            </a:solidFill>
            <a:round/>
            <a:headEnd/>
            <a:tailEnd/>
          </a:ln>
          <a:effectLst/>
        </p:spPr>
        <p:txBody>
          <a:bodyPr/>
          <a:lstStyle/>
          <a:p>
            <a:pPr>
              <a:defRPr/>
            </a:pPr>
            <a:endParaRPr lang="en-US" dirty="0">
              <a:solidFill>
                <a:srgbClr val="000000"/>
              </a:solidFill>
            </a:endParaRPr>
          </a:p>
        </p:txBody>
      </p:sp>
      <p:pic>
        <p:nvPicPr>
          <p:cNvPr id="13" name="Picture 33" descr="fs_clear_blue"/>
          <p:cNvPicPr>
            <a:picLocks noChangeAspect="1" noChangeArrowheads="1"/>
          </p:cNvPicPr>
          <p:nvPr/>
        </p:nvPicPr>
        <p:blipFill>
          <a:blip r:embed="rId8" cstate="screen">
            <a:clrChange>
              <a:clrFrom>
                <a:srgbClr val="FDFDFD"/>
              </a:clrFrom>
              <a:clrTo>
                <a:srgbClr val="FDFDFD">
                  <a:alpha val="0"/>
                </a:srgbClr>
              </a:clrTo>
            </a:clrChange>
            <a:extLst>
              <a:ext uri="{28A0092B-C50C-407E-A947-70E740481C1C}">
                <a14:useLocalDpi xmlns:a14="http://schemas.microsoft.com/office/drawing/2010/main"/>
              </a:ext>
            </a:extLst>
          </a:blip>
          <a:srcRect/>
          <a:stretch>
            <a:fillRect/>
          </a:stretch>
        </p:blipFill>
        <p:spPr bwMode="auto">
          <a:xfrm>
            <a:off x="2885023" y="6397414"/>
            <a:ext cx="3373954" cy="460586"/>
          </a:xfrm>
          <a:prstGeom prst="rect">
            <a:avLst/>
          </a:prstGeom>
          <a:noFill/>
          <a:ln w="9525">
            <a:noFill/>
            <a:miter lim="800000"/>
            <a:headEnd/>
            <a:tailEnd/>
          </a:ln>
        </p:spPr>
      </p:pic>
      <p:sp>
        <p:nvSpPr>
          <p:cNvPr id="14" name="Slide Number Placeholder 2"/>
          <p:cNvSpPr txBox="1">
            <a:spLocks/>
          </p:cNvSpPr>
          <p:nvPr/>
        </p:nvSpPr>
        <p:spPr>
          <a:xfrm>
            <a:off x="6705600" y="6416675"/>
            <a:ext cx="2057400" cy="441325"/>
          </a:xfrm>
          <a:prstGeom prst="rect">
            <a:avLst/>
          </a:prstGeom>
        </p:spPr>
        <p:txBody>
          <a:bodyPr anchor="ctr"/>
          <a:lstStyle/>
          <a:p>
            <a:pPr algn="r" fontAlgn="base">
              <a:spcBef>
                <a:spcPct val="0"/>
              </a:spcBef>
              <a:spcAft>
                <a:spcPct val="0"/>
              </a:spcAft>
              <a:defRPr/>
            </a:pPr>
            <a:fld id="{09343BD6-7CF3-425F-87EB-32CF662AC21B}" type="slidenum">
              <a:rPr lang="en-US" sz="1000">
                <a:solidFill>
                  <a:srgbClr val="000000"/>
                </a:solidFill>
                <a:cs typeface="Arial" pitchFamily="34" charset="0"/>
              </a:rPr>
              <a:pPr algn="r" fontAlgn="base">
                <a:spcBef>
                  <a:spcPct val="0"/>
                </a:spcBef>
                <a:spcAft>
                  <a:spcPct val="0"/>
                </a:spcAft>
                <a:defRPr/>
              </a:pPr>
              <a:t>‹#›</a:t>
            </a:fld>
            <a:endParaRPr lang="en-US" sz="1000" dirty="0">
              <a:solidFill>
                <a:srgbClr val="000000"/>
              </a:solidFill>
              <a:cs typeface="Arial" pitchFamily="34" charset="0"/>
            </a:endParaRPr>
          </a:p>
        </p:txBody>
      </p:sp>
      <p:sp>
        <p:nvSpPr>
          <p:cNvPr id="10" name="TextBox 9"/>
          <p:cNvSpPr txBox="1"/>
          <p:nvPr/>
        </p:nvSpPr>
        <p:spPr>
          <a:xfrm>
            <a:off x="6400800" y="6205600"/>
            <a:ext cx="2362200" cy="190240"/>
          </a:xfrm>
          <a:prstGeom prst="rect">
            <a:avLst/>
          </a:prstGeom>
          <a:noFill/>
        </p:spPr>
        <p:txBody>
          <a:bodyPr wrap="square" tIns="0" bIns="36000" rtlCol="0" anchor="b" anchorCtr="0">
            <a:spAutoFit/>
          </a:bodyPr>
          <a:lstStyle/>
          <a:p>
            <a:pPr algn="r" fontAlgn="base">
              <a:spcBef>
                <a:spcPct val="0"/>
              </a:spcBef>
              <a:spcAft>
                <a:spcPct val="0"/>
              </a:spcAft>
            </a:pPr>
            <a:r>
              <a:rPr lang="en-US" sz="1000" kern="0" dirty="0">
                <a:solidFill>
                  <a:srgbClr val="FFFFFF">
                    <a:lumMod val="50000"/>
                  </a:srgbClr>
                </a:solidFill>
                <a:cs typeface="Arial" pitchFamily="34" charset="0"/>
              </a:rPr>
              <a:t>Source:  Frost &amp; Sullivan</a:t>
            </a:r>
          </a:p>
        </p:txBody>
      </p:sp>
    </p:spTree>
    <p:extLst>
      <p:ext uri="{BB962C8B-B14F-4D97-AF65-F5344CB8AC3E}">
        <p14:creationId xmlns:p14="http://schemas.microsoft.com/office/powerpoint/2010/main" val="289514991"/>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10" r:id="rId3"/>
    <p:sldLayoutId id="2147483711" r:id="rId4"/>
    <p:sldLayoutId id="2147483712" r:id="rId5"/>
    <p:sldLayoutId id="2147483713" r:id="rId6"/>
  </p:sldLayoutIdLst>
  <p:hf sldNum="0" hdr="0" ftr="0" dt="0"/>
  <p:txStyles>
    <p:title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chemeClr val="tx1"/>
          </a:solidFill>
          <a:latin typeface="Arial" pitchFamily="34" charset="0"/>
          <a:cs typeface="Arial" pitchFamily="34" charset="0"/>
        </a:defRPr>
      </a:lvl2pPr>
      <a:lvl3pPr algn="l" rtl="0" eaLnBrk="0" fontAlgn="base" hangingPunct="0">
        <a:spcBef>
          <a:spcPct val="0"/>
        </a:spcBef>
        <a:spcAft>
          <a:spcPct val="0"/>
        </a:spcAft>
        <a:defRPr sz="2400" b="1">
          <a:solidFill>
            <a:schemeClr val="tx1"/>
          </a:solidFill>
          <a:latin typeface="Arial" pitchFamily="34" charset="0"/>
          <a:cs typeface="Arial" pitchFamily="34" charset="0"/>
        </a:defRPr>
      </a:lvl3pPr>
      <a:lvl4pPr algn="l" rtl="0" eaLnBrk="0" fontAlgn="base" hangingPunct="0">
        <a:spcBef>
          <a:spcPct val="0"/>
        </a:spcBef>
        <a:spcAft>
          <a:spcPct val="0"/>
        </a:spcAft>
        <a:defRPr sz="2400" b="1">
          <a:solidFill>
            <a:schemeClr val="tx1"/>
          </a:solidFill>
          <a:latin typeface="Arial" pitchFamily="34" charset="0"/>
          <a:cs typeface="Arial" pitchFamily="34" charset="0"/>
        </a:defRPr>
      </a:lvl4pPr>
      <a:lvl5pPr algn="l" rtl="0" eaLnBrk="0" fontAlgn="base" hangingPunct="0">
        <a:spcBef>
          <a:spcPct val="0"/>
        </a:spcBef>
        <a:spcAft>
          <a:spcPct val="0"/>
        </a:spcAft>
        <a:defRPr sz="2400" b="1">
          <a:solidFill>
            <a:schemeClr val="tx1"/>
          </a:solidFill>
          <a:latin typeface="Arial" pitchFamily="34" charset="0"/>
          <a:cs typeface="Arial" pitchFamily="34" charset="0"/>
        </a:defRPr>
      </a:lvl5pPr>
      <a:lvl6pPr marL="457200" algn="l" rtl="0" fontAlgn="base">
        <a:spcBef>
          <a:spcPct val="0"/>
        </a:spcBef>
        <a:spcAft>
          <a:spcPct val="0"/>
        </a:spcAft>
        <a:defRPr sz="2400" b="1">
          <a:solidFill>
            <a:schemeClr val="tx1"/>
          </a:solidFill>
          <a:latin typeface="Arial" pitchFamily="34" charset="0"/>
          <a:cs typeface="Arial" pitchFamily="34" charset="0"/>
        </a:defRPr>
      </a:lvl6pPr>
      <a:lvl7pPr marL="914400" algn="l" rtl="0" fontAlgn="base">
        <a:spcBef>
          <a:spcPct val="0"/>
        </a:spcBef>
        <a:spcAft>
          <a:spcPct val="0"/>
        </a:spcAft>
        <a:defRPr sz="2400" b="1">
          <a:solidFill>
            <a:schemeClr val="tx1"/>
          </a:solidFill>
          <a:latin typeface="Arial" pitchFamily="34" charset="0"/>
          <a:cs typeface="Arial" pitchFamily="34" charset="0"/>
        </a:defRPr>
      </a:lvl7pPr>
      <a:lvl8pPr marL="1371600" algn="l" rtl="0" fontAlgn="base">
        <a:spcBef>
          <a:spcPct val="0"/>
        </a:spcBef>
        <a:spcAft>
          <a:spcPct val="0"/>
        </a:spcAft>
        <a:defRPr sz="2400" b="1">
          <a:solidFill>
            <a:schemeClr val="tx1"/>
          </a:solidFill>
          <a:latin typeface="Arial" pitchFamily="34" charset="0"/>
          <a:cs typeface="Arial" pitchFamily="34" charset="0"/>
        </a:defRPr>
      </a:lvl8pPr>
      <a:lvl9pPr marL="1828800" algn="l" rtl="0" fontAlgn="base">
        <a:spcBef>
          <a:spcPct val="0"/>
        </a:spcBef>
        <a:spcAft>
          <a:spcPct val="0"/>
        </a:spcAft>
        <a:defRPr sz="2400" b="1">
          <a:solidFill>
            <a:schemeClr val="tx1"/>
          </a:solidFill>
          <a:latin typeface="Arial" pitchFamily="34" charset="0"/>
          <a:cs typeface="Arial" pitchFamily="34" charset="0"/>
        </a:defRPr>
      </a:lvl9pPr>
    </p:titleStyle>
    <p:bodyStyle>
      <a:lvl1pPr marL="0" indent="0" algn="l" rtl="0" eaLnBrk="0" fontAlgn="base" hangingPunct="0">
        <a:lnSpc>
          <a:spcPct val="110000"/>
        </a:lnSpc>
        <a:spcBef>
          <a:spcPts val="300"/>
        </a:spcBef>
        <a:spcAft>
          <a:spcPts val="300"/>
        </a:spcAft>
        <a:buClr>
          <a:srgbClr val="17426B"/>
        </a:buClr>
        <a:buFont typeface="Wingdings" charset="2"/>
        <a:buNone/>
        <a:defRPr kern="1200">
          <a:solidFill>
            <a:schemeClr val="tx1"/>
          </a:solidFill>
          <a:latin typeface="Arial" pitchFamily="34" charset="0"/>
          <a:ea typeface="+mn-ea"/>
          <a:cs typeface="Arial" pitchFamily="34" charset="0"/>
        </a:defRPr>
      </a:lvl1pPr>
      <a:lvl2pPr marL="182880" indent="0" algn="l" rtl="0" eaLnBrk="0" fontAlgn="base" hangingPunct="0">
        <a:lnSpc>
          <a:spcPct val="110000"/>
        </a:lnSpc>
        <a:spcBef>
          <a:spcPts val="300"/>
        </a:spcBef>
        <a:spcAft>
          <a:spcPts val="300"/>
        </a:spcAft>
        <a:buClr>
          <a:srgbClr val="17426B"/>
        </a:buClr>
        <a:buFont typeface="Arial" pitchFamily="34" charset="0"/>
        <a:buNone/>
        <a:defRPr sz="1600" kern="1200">
          <a:solidFill>
            <a:schemeClr val="tx1"/>
          </a:solidFill>
          <a:latin typeface="Arial" pitchFamily="34" charset="0"/>
          <a:ea typeface="+mn-ea"/>
          <a:cs typeface="Arial" pitchFamily="34" charset="0"/>
        </a:defRPr>
      </a:lvl2pPr>
      <a:lvl3pPr marL="365760" indent="0" algn="l" rtl="0" eaLnBrk="0" fontAlgn="base" hangingPunct="0">
        <a:lnSpc>
          <a:spcPct val="110000"/>
        </a:lnSpc>
        <a:spcBef>
          <a:spcPts val="300"/>
        </a:spcBef>
        <a:spcAft>
          <a:spcPts val="300"/>
        </a:spcAft>
        <a:buClr>
          <a:srgbClr val="17426B"/>
        </a:buClr>
        <a:buFont typeface="Wingdings" charset="2"/>
        <a:buNone/>
        <a:defRPr sz="1400" kern="1200">
          <a:solidFill>
            <a:schemeClr val="tx1"/>
          </a:solidFill>
          <a:latin typeface="Arial" pitchFamily="34" charset="0"/>
          <a:ea typeface="+mn-ea"/>
          <a:cs typeface="Arial" pitchFamily="34" charset="0"/>
        </a:defRPr>
      </a:lvl3pPr>
      <a:lvl4pPr marL="548640" indent="0" algn="l" rtl="0" eaLnBrk="0" fontAlgn="base" hangingPunct="0">
        <a:lnSpc>
          <a:spcPct val="110000"/>
        </a:lnSpc>
        <a:spcBef>
          <a:spcPts val="300"/>
        </a:spcBef>
        <a:spcAft>
          <a:spcPts val="300"/>
        </a:spcAft>
        <a:buClr>
          <a:srgbClr val="17426B"/>
        </a:buClr>
        <a:buFont typeface="Arial" pitchFamily="34" charset="0"/>
        <a:buNone/>
        <a:defRPr sz="14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1241975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3"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164716794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6" name="Picture 5" descr="Body.jpg"/>
          <p:cNvPicPr>
            <a:picLocks noChangeAspect="1"/>
          </p:cNvPicPr>
          <p:nvPr/>
        </p:nvPicPr>
        <p:blipFill>
          <a:blip r:embed="rId11" cstate="print"/>
          <a:stretch>
            <a:fillRect/>
          </a:stretch>
        </p:blipFill>
        <p:spPr>
          <a:xfrm>
            <a:off x="0" y="0"/>
            <a:ext cx="9144000" cy="6858000"/>
          </a:xfrm>
          <a:prstGeom prst="rect">
            <a:avLst/>
          </a:prstGeom>
        </p:spPr>
      </p:pic>
      <p:sp>
        <p:nvSpPr>
          <p:cNvPr id="1026" name="Rectangle 13"/>
          <p:cNvSpPr>
            <a:spLocks noGrp="1" noChangeArrowheads="1"/>
          </p:cNvSpPr>
          <p:nvPr>
            <p:ph type="title"/>
          </p:nvPr>
        </p:nvSpPr>
        <p:spPr bwMode="auto">
          <a:xfrm>
            <a:off x="152400" y="152400"/>
            <a:ext cx="883920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ectangle 25"/>
          <p:cNvSpPr>
            <a:spLocks noChangeArrowheads="1"/>
          </p:cNvSpPr>
          <p:nvPr/>
        </p:nvSpPr>
        <p:spPr bwMode="auto">
          <a:xfrm>
            <a:off x="7086600" y="6466242"/>
            <a:ext cx="1905000" cy="391758"/>
          </a:xfrm>
          <a:prstGeom prst="rect">
            <a:avLst/>
          </a:prstGeom>
          <a:noFill/>
          <a:ln w="9525">
            <a:noFill/>
            <a:miter lim="800000"/>
            <a:headEnd/>
            <a:tailEnd/>
          </a:ln>
          <a:effectLst/>
        </p:spPr>
        <p:txBody>
          <a:bodyPr wrap="square" lIns="91440" tIns="45720" rIns="91440" bIns="45720" anchor="ctr">
            <a:noAutofit/>
          </a:bodyPr>
          <a:lstStyle/>
          <a:p>
            <a:pPr algn="r" eaLnBrk="0" fontAlgn="base" hangingPunct="0">
              <a:spcBef>
                <a:spcPct val="0"/>
              </a:spcBef>
              <a:spcAft>
                <a:spcPct val="0"/>
              </a:spcAft>
              <a:defRPr/>
            </a:pPr>
            <a:fld id="{B020A85C-718C-42DB-B691-E1313AD0D70D}"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
        <p:nvSpPr>
          <p:cNvPr id="9" name="Rectangle 8"/>
          <p:cNvSpPr/>
          <p:nvPr userDrawn="1"/>
        </p:nvSpPr>
        <p:spPr>
          <a:xfrm>
            <a:off x="281974" y="6541325"/>
            <a:ext cx="671979" cy="230832"/>
          </a:xfrm>
          <a:prstGeom prst="rect">
            <a:avLst/>
          </a:prstGeom>
        </p:spPr>
        <p:txBody>
          <a:bodyPr wrap="none">
            <a:spAutoFit/>
          </a:bodyPr>
          <a:lstStyle/>
          <a:p>
            <a:pPr algn="r" fontAlgn="base">
              <a:spcAft>
                <a:spcPct val="0"/>
              </a:spcAft>
            </a:pPr>
            <a:r>
              <a:rPr lang="en-US" sz="900" dirty="0">
                <a:solidFill>
                  <a:srgbClr val="06325C"/>
                </a:solidFill>
              </a:rPr>
              <a:t>MAD6-18</a:t>
            </a:r>
          </a:p>
        </p:txBody>
      </p:sp>
    </p:spTree>
    <p:extLst>
      <p:ext uri="{BB962C8B-B14F-4D97-AF65-F5344CB8AC3E}">
        <p14:creationId xmlns:p14="http://schemas.microsoft.com/office/powerpoint/2010/main" val="164818865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Lst>
  <p:timing>
    <p:tnLst>
      <p:par>
        <p:cTn id="1" dur="indefinite" restart="never" nodeType="tmRoot"/>
      </p:par>
    </p:tnLst>
  </p:timing>
  <p:txStyles>
    <p:titleStyle>
      <a:lvl1pPr algn="l" rtl="0" eaLnBrk="0" fontAlgn="base" hangingPunct="0">
        <a:spcBef>
          <a:spcPct val="0"/>
        </a:spcBef>
        <a:spcAft>
          <a:spcPct val="0"/>
        </a:spcAft>
        <a:defRPr sz="20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6" name="Picture 5" descr="Body.jpg"/>
          <p:cNvPicPr>
            <a:picLocks noChangeAspect="1"/>
          </p:cNvPicPr>
          <p:nvPr/>
        </p:nvPicPr>
        <p:blipFill>
          <a:blip r:embed="rId11" cstate="print"/>
          <a:stretch>
            <a:fillRect/>
          </a:stretch>
        </p:blipFill>
        <p:spPr>
          <a:xfrm>
            <a:off x="0" y="0"/>
            <a:ext cx="9144000" cy="6858000"/>
          </a:xfrm>
          <a:prstGeom prst="rect">
            <a:avLst/>
          </a:prstGeom>
        </p:spPr>
      </p:pic>
      <p:sp>
        <p:nvSpPr>
          <p:cNvPr id="1026" name="Rectangle 13"/>
          <p:cNvSpPr>
            <a:spLocks noGrp="1" noChangeArrowheads="1"/>
          </p:cNvSpPr>
          <p:nvPr>
            <p:ph type="title"/>
          </p:nvPr>
        </p:nvSpPr>
        <p:spPr bwMode="auto">
          <a:xfrm>
            <a:off x="152400" y="152400"/>
            <a:ext cx="883920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6871440" y="6597126"/>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
        <p:nvSpPr>
          <p:cNvPr id="7" name="Rectangle 6"/>
          <p:cNvSpPr/>
          <p:nvPr userDrawn="1"/>
        </p:nvSpPr>
        <p:spPr>
          <a:xfrm>
            <a:off x="152401" y="6466242"/>
            <a:ext cx="762000" cy="391758"/>
          </a:xfrm>
          <a:prstGeom prst="rect">
            <a:avLst/>
          </a:prstGeom>
        </p:spPr>
        <p:txBody>
          <a:bodyPr wrap="square" anchor="ctr" anchorCtr="0">
            <a:noAutofit/>
          </a:bodyPr>
          <a:lstStyle/>
          <a:p>
            <a:pPr algn="ctr" fontAlgn="base">
              <a:spcAft>
                <a:spcPct val="0"/>
              </a:spcAft>
            </a:pPr>
            <a:r>
              <a:rPr lang="en-US" sz="900" dirty="0">
                <a:solidFill>
                  <a:srgbClr val="06325C"/>
                </a:solidFill>
              </a:rPr>
              <a:t>MAEA-18</a:t>
            </a:r>
          </a:p>
        </p:txBody>
      </p:sp>
    </p:spTree>
    <p:extLst>
      <p:ext uri="{BB962C8B-B14F-4D97-AF65-F5344CB8AC3E}">
        <p14:creationId xmlns:p14="http://schemas.microsoft.com/office/powerpoint/2010/main" val="384787294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Lst>
  <p:txStyles>
    <p:titleStyle>
      <a:lvl1pPr algn="l" rtl="0" eaLnBrk="0" fontAlgn="base" hangingPunct="0">
        <a:spcBef>
          <a:spcPct val="0"/>
        </a:spcBef>
        <a:spcAft>
          <a:spcPct val="0"/>
        </a:spcAft>
        <a:defRPr sz="20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3536649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7"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13"/>
          <p:cNvSpPr>
            <a:spLocks noGrp="1" noChangeArrowheads="1"/>
          </p:cNvSpPr>
          <p:nvPr>
            <p:ph type="title"/>
          </p:nvPr>
        </p:nvSpPr>
        <p:spPr bwMode="auto">
          <a:xfrm>
            <a:off x="431800" y="228600"/>
            <a:ext cx="8331200"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smtClean="0"/>
              <a:t>Click to edit Master title style</a:t>
            </a:r>
          </a:p>
        </p:txBody>
      </p:sp>
      <p:sp>
        <p:nvSpPr>
          <p:cNvPr id="1027" name="Rectangle 14"/>
          <p:cNvSpPr>
            <a:spLocks noGrp="1" noChangeArrowheads="1"/>
          </p:cNvSpPr>
          <p:nvPr>
            <p:ph type="body" idx="1"/>
          </p:nvPr>
        </p:nvSpPr>
        <p:spPr bwMode="auto">
          <a:xfrm>
            <a:off x="457200" y="1295400"/>
            <a:ext cx="82296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1705" name="Rectangle 25"/>
          <p:cNvSpPr>
            <a:spLocks noChangeArrowheads="1"/>
          </p:cNvSpPr>
          <p:nvPr/>
        </p:nvSpPr>
        <p:spPr bwMode="auto">
          <a:xfrm>
            <a:off x="7086600" y="6629400"/>
            <a:ext cx="1905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17426B"/>
                </a:solidFill>
              </a:rPr>
              <a:pPr algn="r" eaLnBrk="0" fontAlgn="base" hangingPunct="0">
                <a:spcBef>
                  <a:spcPct val="0"/>
                </a:spcBef>
                <a:spcAft>
                  <a:spcPct val="0"/>
                </a:spcAft>
                <a:defRPr/>
              </a:pPr>
              <a:t>‹#›</a:t>
            </a:fld>
            <a:endParaRPr lang="en-US" sz="900" dirty="0">
              <a:solidFill>
                <a:srgbClr val="17426B"/>
              </a:solidFill>
            </a:endParaRPr>
          </a:p>
        </p:txBody>
      </p:sp>
    </p:spTree>
    <p:extLst>
      <p:ext uri="{BB962C8B-B14F-4D97-AF65-F5344CB8AC3E}">
        <p14:creationId xmlns:p14="http://schemas.microsoft.com/office/powerpoint/2010/main" val="147723729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Lst>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Layout" Target="../slideLayouts/slideLayout16.xml"/><Relationship Id="rId7" Type="http://schemas.openxmlformats.org/officeDocument/2006/relationships/image" Target="../media/image27.jpe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204.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7.bin"/><Relationship Id="rId10" Type="http://schemas.openxmlformats.org/officeDocument/2006/relationships/image" Target="../media/image14.gif"/><Relationship Id="rId4" Type="http://schemas.openxmlformats.org/officeDocument/2006/relationships/notesSlide" Target="../notesSlides/notesSlide6.xml"/><Relationship Id="rId9" Type="http://schemas.openxmlformats.org/officeDocument/2006/relationships/image" Target="../media/image13.jpe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0.png"/><Relationship Id="rId16" Type="http://schemas.openxmlformats.org/officeDocument/2006/relationships/image" Target="../media/image44.jpeg"/><Relationship Id="rId1" Type="http://schemas.openxmlformats.org/officeDocument/2006/relationships/slideLayout" Target="../slideLayouts/slideLayout20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02.xml"/></Relationships>
</file>

<file path=ppt/slides/_rels/slide15.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notesSlide" Target="../notesSlides/notesSlide7.xml"/><Relationship Id="rId1" Type="http://schemas.openxmlformats.org/officeDocument/2006/relationships/slideLayout" Target="../slideLayouts/slideLayout20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jpeg"/><Relationship Id="rId9" Type="http://schemas.openxmlformats.org/officeDocument/2006/relationships/image" Target="../media/image52.jpe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208.xml"/><Relationship Id="rId4" Type="http://schemas.openxmlformats.org/officeDocument/2006/relationships/image" Target="../media/image54.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2.xml"/></Relationships>
</file>

<file path=ppt/slides/_rels/slide18.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slideLayout" Target="../slideLayouts/slideLayout79.xml"/><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5" Type="http://schemas.openxmlformats.org/officeDocument/2006/relationships/image" Target="../media/image73.png"/><Relationship Id="rId2" Type="http://schemas.openxmlformats.org/officeDocument/2006/relationships/tags" Target="../tags/tag29.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59.png"/><Relationship Id="rId24" Type="http://schemas.openxmlformats.org/officeDocument/2006/relationships/image" Target="../media/image72.png"/><Relationship Id="rId5" Type="http://schemas.openxmlformats.org/officeDocument/2006/relationships/oleObject" Target="../embeddings/oleObject18.bin"/><Relationship Id="rId15" Type="http://schemas.openxmlformats.org/officeDocument/2006/relationships/image" Target="../media/image63.png"/><Relationship Id="rId23" Type="http://schemas.openxmlformats.org/officeDocument/2006/relationships/image" Target="../media/image71.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notesSlide" Target="../notesSlides/notesSlide10.xml"/><Relationship Id="rId9" Type="http://schemas.openxmlformats.org/officeDocument/2006/relationships/image" Target="../media/image57.png"/><Relationship Id="rId14" Type="http://schemas.openxmlformats.org/officeDocument/2006/relationships/image" Target="../media/image62.png"/><Relationship Id="rId22" Type="http://schemas.openxmlformats.org/officeDocument/2006/relationships/image" Target="../media/image70.png"/><Relationship Id="rId27" Type="http://schemas.openxmlformats.org/officeDocument/2006/relationships/image" Target="../media/image75.png"/></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10.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slideLayout" Target="../slideLayouts/slideLayout24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s>
</file>

<file path=ppt/slides/_rels/slide2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204.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9.bin"/><Relationship Id="rId10" Type="http://schemas.openxmlformats.org/officeDocument/2006/relationships/image" Target="../media/image14.gif"/><Relationship Id="rId4" Type="http://schemas.openxmlformats.org/officeDocument/2006/relationships/notesSlide" Target="../notesSlides/notesSlide11.xml"/><Relationship Id="rId9" Type="http://schemas.openxmlformats.org/officeDocument/2006/relationships/image" Target="../media/image13.jpeg"/></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203.xml"/><Relationship Id="rId5" Type="http://schemas.openxmlformats.org/officeDocument/2006/relationships/image" Target="../media/image80.png"/><Relationship Id="rId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09.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23.xml.rels><?xml version="1.0" encoding="UTF-8" standalone="yes"?>
<Relationships xmlns="http://schemas.openxmlformats.org/package/2006/relationships"><Relationship Id="rId8" Type="http://schemas.openxmlformats.org/officeDocument/2006/relationships/image" Target="../media/image87.jpeg"/><Relationship Id="rId13" Type="http://schemas.openxmlformats.org/officeDocument/2006/relationships/image" Target="../media/image92.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png"/><Relationship Id="rId2" Type="http://schemas.openxmlformats.org/officeDocument/2006/relationships/image" Target="../media/image81.png"/><Relationship Id="rId1" Type="http://schemas.openxmlformats.org/officeDocument/2006/relationships/slideLayout" Target="../slideLayouts/slideLayout209.xml"/><Relationship Id="rId6" Type="http://schemas.openxmlformats.org/officeDocument/2006/relationships/image" Target="../media/image85.jpeg"/><Relationship Id="rId11" Type="http://schemas.openxmlformats.org/officeDocument/2006/relationships/image" Target="../media/image90.jpeg"/><Relationship Id="rId5" Type="http://schemas.openxmlformats.org/officeDocument/2006/relationships/image" Target="../media/image84.png"/><Relationship Id="rId15" Type="http://schemas.openxmlformats.org/officeDocument/2006/relationships/image" Target="../media/image94.jpeg"/><Relationship Id="rId10" Type="http://schemas.openxmlformats.org/officeDocument/2006/relationships/image" Target="../media/image89.jpe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jpeg"/></Relationships>
</file>

<file path=ppt/slides/_rels/slide2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jpeg"/><Relationship Id="rId7" Type="http://schemas.openxmlformats.org/officeDocument/2006/relationships/image" Target="../media/image98.png"/><Relationship Id="rId2" Type="http://schemas.openxmlformats.org/officeDocument/2006/relationships/image" Target="../media/image43.png"/><Relationship Id="rId1" Type="http://schemas.openxmlformats.org/officeDocument/2006/relationships/slideLayout" Target="../slideLayouts/slideLayout209.xml"/><Relationship Id="rId6" Type="http://schemas.openxmlformats.org/officeDocument/2006/relationships/image" Target="../media/image97.png"/><Relationship Id="rId5" Type="http://schemas.openxmlformats.org/officeDocument/2006/relationships/image" Target="../media/image96.jpeg"/><Relationship Id="rId10" Type="http://schemas.openxmlformats.org/officeDocument/2006/relationships/image" Target="../media/image101.jpeg"/><Relationship Id="rId4" Type="http://schemas.openxmlformats.org/officeDocument/2006/relationships/image" Target="../media/image95.png"/><Relationship Id="rId9" Type="http://schemas.openxmlformats.org/officeDocument/2006/relationships/image" Target="../media/image100.jpeg"/></Relationships>
</file>

<file path=ppt/slides/_rels/slide2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09.xml"/></Relationships>
</file>

<file path=ppt/slides/_rels/slide2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204.xml"/><Relationship Id="rId7" Type="http://schemas.openxmlformats.org/officeDocument/2006/relationships/image" Target="../media/image11.emf"/><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20.bin"/><Relationship Id="rId10" Type="http://schemas.openxmlformats.org/officeDocument/2006/relationships/image" Target="../media/image14.gif"/><Relationship Id="rId4" Type="http://schemas.openxmlformats.org/officeDocument/2006/relationships/notesSlide" Target="../notesSlides/notesSlide13.xml"/><Relationship Id="rId9" Type="http://schemas.openxmlformats.org/officeDocument/2006/relationships/image" Target="../media/image13.jpeg"/></Relationships>
</file>

<file path=ppt/slides/_rels/slide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6.xml"/><Relationship Id="rId7" Type="http://schemas.openxmlformats.org/officeDocument/2006/relationships/oleObject" Target="../embeddings/oleObject21.bin"/><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02.jpeg"/><Relationship Id="rId5" Type="http://schemas.openxmlformats.org/officeDocument/2006/relationships/hyperlink" Target="http://www.google.co.uk/url?sa=i&amp;rct=j&amp;q=&amp;esrc=s&amp;frm=1&amp;source=images&amp;cd=&amp;cad=rja&amp;uact=8&amp;ved=0ahUKEwjM2rbZi7nKAhVG6RQKHbzSDJYQjRwIBw&amp;url=http://www.123rf.com/clipart-vector/road_map.html&amp;bvm=bv.112064104,d.eWE&amp;psig=AFQjCNEZAUdn2azeNQpr1JvyJh44N7LZyw&amp;ust=1453403381176742" TargetMode="External"/><Relationship Id="rId4" Type="http://schemas.openxmlformats.org/officeDocument/2006/relationships/notesSlide" Target="../notesSlides/notesSlide14.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86.xml"/><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5.xml"/></Relationships>
</file>

<file path=ppt/slides/_rels/slide29.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6.jpeg"/><Relationship Id="rId2" Type="http://schemas.openxmlformats.org/officeDocument/2006/relationships/notesSlide" Target="../notesSlides/notesSlide16.xml"/><Relationship Id="rId1" Type="http://schemas.openxmlformats.org/officeDocument/2006/relationships/slideLayout" Target="../slideLayouts/slideLayout194.xml"/><Relationship Id="rId6" Type="http://schemas.openxmlformats.org/officeDocument/2006/relationships/image" Target="../media/image105.png"/><Relationship Id="rId5" Type="http://schemas.openxmlformats.org/officeDocument/2006/relationships/image" Target="../media/image104.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92.xml"/><Relationship Id="rId5" Type="http://schemas.openxmlformats.org/officeDocument/2006/relationships/chart" Target="../charts/chart3.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93.xml"/><Relationship Id="rId7" Type="http://schemas.openxmlformats.org/officeDocument/2006/relationships/image" Target="../media/image107.png"/><Relationship Id="rId12" Type="http://schemas.openxmlformats.org/officeDocument/2006/relationships/image" Target="../media/image111.jpeg"/><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110.jpeg"/><Relationship Id="rId5" Type="http://schemas.openxmlformats.org/officeDocument/2006/relationships/oleObject" Target="../embeddings/oleObject23.bin"/><Relationship Id="rId10" Type="http://schemas.openxmlformats.org/officeDocument/2006/relationships/image" Target="../media/image109.jpeg"/><Relationship Id="rId4" Type="http://schemas.openxmlformats.org/officeDocument/2006/relationships/notesSlide" Target="../notesSlides/notesSlide17.xml"/><Relationship Id="rId9" Type="http://schemas.openxmlformats.org/officeDocument/2006/relationships/image" Target="../media/image108.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93.xml"/><Relationship Id="rId7" Type="http://schemas.openxmlformats.org/officeDocument/2006/relationships/image" Target="../media/image112.jpeg"/><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2.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20.xml"/><Relationship Id="rId1" Type="http://schemas.openxmlformats.org/officeDocument/2006/relationships/slideLayout" Target="../slideLayouts/slideLayout199.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94.xml"/><Relationship Id="rId5" Type="http://schemas.openxmlformats.org/officeDocument/2006/relationships/image" Target="../media/image116.png"/><Relationship Id="rId4" Type="http://schemas.openxmlformats.org/officeDocument/2006/relationships/image" Target="../media/image115.png"/></Relationships>
</file>

<file path=ppt/slides/_rels/slide36.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hyperlink" Target="http://www.google.co.uk/url?sa=i&amp;rct=j&amp;q=&amp;esrc=s&amp;frm=1&amp;source=images&amp;cd=&amp;cad=rja&amp;uact=8&amp;ved=0ahUKEwjckomB9bjKAhUH0xoKHVWnCsUQjRwIBw&amp;url=http://www.mervynsthebodyshop.ca/&amp;bvm=bv.112064104,d.eWE&amp;psig=AFQjCNG6qz4qxUCHZxdqpHTG1kqfGjuUMg&amp;ust=1453397279910932" TargetMode="External"/><Relationship Id="rId3" Type="http://schemas.openxmlformats.org/officeDocument/2006/relationships/hyperlink" Target="http://www.google.co.uk/url?sa=i&amp;rct=j&amp;q=&amp;esrc=s&amp;frm=1&amp;source=images&amp;cd=&amp;cad=rja&amp;uact=8&amp;ved=0ahUKEwjs-I289LjKAhUHWhoKHdrmCWIQjRwIBw&amp;url=http://nicephoto.xyz/top-10-apple-logo-png-and-vector-useful-for-u.html&amp;bvm=bv.112064104,d.eWE&amp;psig=AFQjCNE8AybaXU12Hb-1QXiA2d2FyusQKg&amp;ust=1453397156103817" TargetMode="External"/><Relationship Id="rId7" Type="http://schemas.openxmlformats.org/officeDocument/2006/relationships/hyperlink" Target="http://www.google.co.uk/url?sa=i&amp;rct=j&amp;q=&amp;esrc=s&amp;frm=1&amp;source=images&amp;cd=&amp;cad=rja&amp;uact=8&amp;ved=0ahUKEwiYp9DS9LjKAhXBVhoKHbFHCSEQjRwIBw&amp;url=http://www.logospike.com/uber-logo-700/&amp;bvm=bv.112064104,d.eWE&amp;psig=AFQjCNFuTfBn9BKHDoI0bPanRo-xpW8aVQ&amp;ust=1453397200593277" TargetMode="External"/><Relationship Id="rId12" Type="http://schemas.openxmlformats.org/officeDocument/2006/relationships/image" Target="../media/image121.png"/><Relationship Id="rId2" Type="http://schemas.openxmlformats.org/officeDocument/2006/relationships/notesSlide" Target="../notesSlides/notesSlide21.xml"/><Relationship Id="rId1" Type="http://schemas.openxmlformats.org/officeDocument/2006/relationships/slideLayout" Target="../slideLayouts/slideLayout194.xml"/><Relationship Id="rId6" Type="http://schemas.openxmlformats.org/officeDocument/2006/relationships/image" Target="../media/image118.png"/><Relationship Id="rId11" Type="http://schemas.openxmlformats.org/officeDocument/2006/relationships/hyperlink" Target="https://www.google.co.uk/url?sa=i&amp;rct=j&amp;q=&amp;esrc=s&amp;frm=1&amp;source=images&amp;cd=&amp;cad=rja&amp;uact=8&amp;ved=0ahUKEwjPguzo9LjKAhWG2xoKHcHSCdUQjRwIBw&amp;url=https://en.wikipedia.org/wiki/Faraday_Future&amp;bvm=bv.112064104,d.eWE&amp;psig=AFQjCNFqXZZEgJ8BlxzQzOBnAJCfOxLmCw&amp;ust=1453397247785665" TargetMode="External"/><Relationship Id="rId5" Type="http://schemas.openxmlformats.org/officeDocument/2006/relationships/hyperlink" Target="http://www.google.co.uk/url?sa=i&amp;rct=j&amp;q=&amp;esrc=s&amp;frm=1&amp;source=images&amp;cd=&amp;cad=rja&amp;uact=8&amp;ved=0ahUKEwj6kLzG9LjKAhXDVhoKHUe2BaYQjRwIBw&amp;url=http://patrickcoombe.com/download-google-logo-png/&amp;bvm=bv.112064104,d.eWE&amp;psig=AFQjCNH9XxWThp9Gr-DQXd6CxMKjKQ2ZLA&amp;ust=1453397177679931" TargetMode="External"/><Relationship Id="rId10" Type="http://schemas.openxmlformats.org/officeDocument/2006/relationships/image" Target="../media/image120.png"/><Relationship Id="rId4" Type="http://schemas.openxmlformats.org/officeDocument/2006/relationships/image" Target="../media/image117.png"/><Relationship Id="rId9" Type="http://schemas.openxmlformats.org/officeDocument/2006/relationships/hyperlink" Target="https://www.google.co.uk/url?sa=i&amp;rct=j&amp;q=&amp;esrc=s&amp;frm=1&amp;source=images&amp;cd=&amp;cad=rja&amp;uact=8&amp;ved=0ahUKEwiAi-rZ9LjKAhULuhoKHcylCdMQjRwIBw&amp;url=https://en.wikipedia.org/wiki/File:Tesla_Motors_logo.svg&amp;bvm=bv.112064104,d.eWE&amp;psig=AFQjCNFFNda9e-FLm2cHvt60CJg5kZaRaQ&amp;ust=1453397217835116" TargetMode="External"/><Relationship Id="rId14" Type="http://schemas.openxmlformats.org/officeDocument/2006/relationships/image" Target="../media/image122.png"/></Relationships>
</file>

<file path=ppt/slides/_rels/slide3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2.xml"/><Relationship Id="rId1" Type="http://schemas.openxmlformats.org/officeDocument/2006/relationships/slideLayout" Target="../slideLayouts/slideLayout2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88.xml"/><Relationship Id="rId7" Type="http://schemas.openxmlformats.org/officeDocument/2006/relationships/image" Target="../media/image11.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3.bin"/><Relationship Id="rId10" Type="http://schemas.openxmlformats.org/officeDocument/2006/relationships/image" Target="../media/image14.gif"/><Relationship Id="rId4" Type="http://schemas.openxmlformats.org/officeDocument/2006/relationships/notesSlide" Target="../notesSlides/notesSlide3.xml"/><Relationship Id="rId9"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88.xml"/><Relationship Id="rId7" Type="http://schemas.openxmlformats.org/officeDocument/2006/relationships/image" Target="../media/image11.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4.bin"/><Relationship Id="rId10" Type="http://schemas.openxmlformats.org/officeDocument/2006/relationships/image" Target="../media/image14.gif"/><Relationship Id="rId4" Type="http://schemas.openxmlformats.org/officeDocument/2006/relationships/notesSlide" Target="../notesSlides/notesSlide4.xml"/><Relationship Id="rId9"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7.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diagramData" Target="../diagrams/data2.xml"/><Relationship Id="rId3" Type="http://schemas.openxmlformats.org/officeDocument/2006/relationships/image" Target="../media/image21.png"/><Relationship Id="rId7" Type="http://schemas.openxmlformats.org/officeDocument/2006/relationships/diagramData" Target="../diagrams/data1.xml"/><Relationship Id="rId12" Type="http://schemas.openxmlformats.org/officeDocument/2006/relationships/image" Target="../media/image25.png"/><Relationship Id="rId17" Type="http://schemas.microsoft.com/office/2007/relationships/diagramDrawing" Target="../diagrams/drawing2.xml"/><Relationship Id="rId2" Type="http://schemas.openxmlformats.org/officeDocument/2006/relationships/image" Target="../media/image20.png"/><Relationship Id="rId16" Type="http://schemas.openxmlformats.org/officeDocument/2006/relationships/diagramColors" Target="../diagrams/colors2.xml"/><Relationship Id="rId1" Type="http://schemas.openxmlformats.org/officeDocument/2006/relationships/slideLayout" Target="../slideLayouts/slideLayout17.xml"/><Relationship Id="rId6" Type="http://schemas.openxmlformats.org/officeDocument/2006/relationships/image" Target="../media/image24.png"/><Relationship Id="rId11" Type="http://schemas.microsoft.com/office/2007/relationships/diagramDrawing" Target="../diagrams/drawing1.xml"/><Relationship Id="rId5" Type="http://schemas.openxmlformats.org/officeDocument/2006/relationships/image" Target="../media/image23.png"/><Relationship Id="rId15" Type="http://schemas.openxmlformats.org/officeDocument/2006/relationships/diagramQuickStyle" Target="../diagrams/quickStyle2.xml"/><Relationship Id="rId10" Type="http://schemas.openxmlformats.org/officeDocument/2006/relationships/diagramColors" Target="../diagrams/colors1.xml"/><Relationship Id="rId4" Type="http://schemas.openxmlformats.org/officeDocument/2006/relationships/image" Target="../media/image22.png"/><Relationship Id="rId9" Type="http://schemas.openxmlformats.org/officeDocument/2006/relationships/diagramQuickStyle" Target="../diagrams/quickStyle1.xml"/><Relationship Id="rId1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GB" dirty="0" smtClean="0"/>
              <a:t>The Future Market Environment of Mobility</a:t>
            </a:r>
            <a:br>
              <a:rPr lang="en-GB" dirty="0" smtClean="0"/>
            </a:br>
            <a:endParaRPr lang="en-US" b="0" dirty="0" smtClean="0">
              <a:solidFill>
                <a:srgbClr val="FF0000"/>
              </a:solidFill>
            </a:endParaRPr>
          </a:p>
        </p:txBody>
      </p:sp>
      <p:sp>
        <p:nvSpPr>
          <p:cNvPr id="3" name="Subtitle 2"/>
          <p:cNvSpPr>
            <a:spLocks noGrp="1"/>
          </p:cNvSpPr>
          <p:nvPr>
            <p:ph type="subTitle" idx="1"/>
          </p:nvPr>
        </p:nvSpPr>
        <p:spPr/>
        <p:txBody>
          <a:bodyPr/>
          <a:lstStyle/>
          <a:p>
            <a:r>
              <a:rPr lang="en-GB" sz="1600" dirty="0" smtClean="0"/>
              <a:t>Key Note Presentation</a:t>
            </a:r>
          </a:p>
          <a:p>
            <a:endParaRPr lang="en-GB" sz="1600" dirty="0"/>
          </a:p>
          <a:p>
            <a:r>
              <a:rPr lang="en-GB" sz="2400" b="1" dirty="0" smtClean="0"/>
              <a:t>Fleet Mobility EXEX Estonia</a:t>
            </a:r>
            <a:endParaRPr lang="en-GB" sz="2400" b="1" dirty="0"/>
          </a:p>
        </p:txBody>
      </p:sp>
      <p:sp>
        <p:nvSpPr>
          <p:cNvPr id="2" name="TextBox 1"/>
          <p:cNvSpPr txBox="1"/>
          <p:nvPr/>
        </p:nvSpPr>
        <p:spPr>
          <a:xfrm>
            <a:off x="-50160" y="5499507"/>
            <a:ext cx="2448272" cy="830997"/>
          </a:xfrm>
          <a:prstGeom prst="rect">
            <a:avLst/>
          </a:prstGeom>
        </p:spPr>
        <p:txBody>
          <a:bodyPr/>
          <a:lstStyle>
            <a:lvl1pPr indent="0" algn="ctr" defTabSz="457200">
              <a:spcBef>
                <a:spcPct val="20000"/>
              </a:spcBef>
              <a:buFont typeface="Arial"/>
              <a:buNone/>
              <a:defRPr sz="1600">
                <a:solidFill>
                  <a:schemeClr val="bg1"/>
                </a:solidFill>
                <a:effectLst>
                  <a:outerShdw blurRad="50800" dist="38100" dir="2700000" algn="tl" rotWithShape="0">
                    <a:prstClr val="black">
                      <a:alpha val="40000"/>
                    </a:prstClr>
                  </a:outerShdw>
                </a:effectLst>
                <a:latin typeface="Arial" pitchFamily="34" charset="0"/>
                <a:cs typeface="Arial" pitchFamily="34" charset="0"/>
              </a:defRPr>
            </a:lvl1pPr>
            <a:lvl2pPr indent="0" algn="ctr" defTabSz="457200">
              <a:spcBef>
                <a:spcPct val="20000"/>
              </a:spcBef>
              <a:buFont typeface="Arial"/>
              <a:buNone/>
              <a:defRPr sz="2800">
                <a:solidFill>
                  <a:schemeClr val="tx1">
                    <a:tint val="75000"/>
                  </a:schemeClr>
                </a:solidFill>
              </a:defRPr>
            </a:lvl2pPr>
            <a:lvl3pPr indent="0" algn="ctr" defTabSz="457200">
              <a:spcBef>
                <a:spcPct val="20000"/>
              </a:spcBef>
              <a:buFont typeface="Arial"/>
              <a:buNone/>
              <a:defRPr sz="2400">
                <a:solidFill>
                  <a:schemeClr val="tx1">
                    <a:tint val="75000"/>
                  </a:schemeClr>
                </a:solidFill>
              </a:defRPr>
            </a:lvl3pPr>
            <a:lvl4pPr indent="0" algn="ctr" defTabSz="457200">
              <a:spcBef>
                <a:spcPct val="20000"/>
              </a:spcBef>
              <a:buFont typeface="Arial"/>
              <a:buNone/>
              <a:defRPr sz="2000">
                <a:solidFill>
                  <a:schemeClr val="tx1">
                    <a:tint val="75000"/>
                  </a:schemeClr>
                </a:solidFill>
              </a:defRPr>
            </a:lvl4pPr>
            <a:lvl5pPr indent="0" algn="ctr" defTabSz="457200">
              <a:spcBef>
                <a:spcPct val="20000"/>
              </a:spcBef>
              <a:buFont typeface="Arial"/>
              <a:buNone/>
              <a:defRPr sz="2000">
                <a:solidFill>
                  <a:schemeClr val="tx1">
                    <a:tint val="75000"/>
                  </a:schemeClr>
                </a:solidFill>
              </a:defRPr>
            </a:lvl5pPr>
            <a:lvl6pPr indent="0" algn="ctr" defTabSz="457200">
              <a:spcBef>
                <a:spcPct val="20000"/>
              </a:spcBef>
              <a:buFont typeface="Arial"/>
              <a:buNone/>
              <a:defRPr sz="2000">
                <a:solidFill>
                  <a:schemeClr val="tx1">
                    <a:tint val="75000"/>
                  </a:schemeClr>
                </a:solidFill>
              </a:defRPr>
            </a:lvl6pPr>
            <a:lvl7pPr indent="0" algn="ctr" defTabSz="457200">
              <a:spcBef>
                <a:spcPct val="20000"/>
              </a:spcBef>
              <a:buFont typeface="Arial"/>
              <a:buNone/>
              <a:defRPr sz="2000">
                <a:solidFill>
                  <a:schemeClr val="tx1">
                    <a:tint val="75000"/>
                  </a:schemeClr>
                </a:solidFill>
              </a:defRPr>
            </a:lvl7pPr>
            <a:lvl8pPr indent="0" algn="ctr" defTabSz="457200">
              <a:spcBef>
                <a:spcPct val="20000"/>
              </a:spcBef>
              <a:buFont typeface="Arial"/>
              <a:buNone/>
              <a:defRPr sz="2000">
                <a:solidFill>
                  <a:schemeClr val="tx1">
                    <a:tint val="75000"/>
                  </a:schemeClr>
                </a:solidFill>
              </a:defRPr>
            </a:lvl8pPr>
            <a:lvl9pPr indent="0" algn="ctr" defTabSz="457200">
              <a:spcBef>
                <a:spcPct val="20000"/>
              </a:spcBef>
              <a:buFont typeface="Arial"/>
              <a:buNone/>
              <a:defRPr sz="2000">
                <a:solidFill>
                  <a:schemeClr val="tx1">
                    <a:tint val="75000"/>
                  </a:schemeClr>
                </a:solidFill>
              </a:defRPr>
            </a:lvl9pPr>
          </a:lstStyle>
          <a:p>
            <a:r>
              <a:rPr lang="en-GB" dirty="0"/>
              <a:t>10th January 2016</a:t>
            </a:r>
          </a:p>
        </p:txBody>
      </p:sp>
    </p:spTree>
    <p:extLst>
      <p:ext uri="{BB962C8B-B14F-4D97-AF65-F5344CB8AC3E}">
        <p14:creationId xmlns:p14="http://schemas.microsoft.com/office/powerpoint/2010/main" val="39784691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5061282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5"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6324600" y="1231899"/>
            <a:ext cx="2438400" cy="4978402"/>
          </a:xfrm>
          <a:prstGeom prst="rect">
            <a:avLst/>
          </a:prstGeom>
          <a:ln>
            <a:solidFill>
              <a:schemeClr val="bg1"/>
            </a:solidFill>
          </a:ln>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grpSp>
        <p:nvGrpSpPr>
          <p:cNvPr id="4" name="Group 44"/>
          <p:cNvGrpSpPr/>
          <p:nvPr/>
        </p:nvGrpSpPr>
        <p:grpSpPr>
          <a:xfrm>
            <a:off x="402165" y="3035831"/>
            <a:ext cx="7738535" cy="1370537"/>
            <a:chOff x="402165" y="1442223"/>
            <a:chExt cx="7738535" cy="1370537"/>
          </a:xfrm>
        </p:grpSpPr>
        <p:sp>
          <p:nvSpPr>
            <p:cNvPr id="46" name="Rectangle 45"/>
            <p:cNvSpPr/>
            <p:nvPr/>
          </p:nvSpPr>
          <p:spPr>
            <a:xfrm rot="10800000">
              <a:off x="402166" y="1442223"/>
              <a:ext cx="7738534" cy="1370536"/>
            </a:xfrm>
            <a:prstGeom prst="rect">
              <a:avLst/>
            </a:prstGeom>
            <a:solidFill>
              <a:schemeClr val="bg1"/>
            </a:solidFill>
            <a:ln>
              <a:solidFill>
                <a:schemeClr val="bg1"/>
              </a:solidFill>
            </a:ln>
            <a:effectLst>
              <a:outerShdw blurRad="50800" dist="38100" dir="18900000" algn="b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sp>
          <p:nvSpPr>
            <p:cNvPr id="47" name="Rectangle 46"/>
            <p:cNvSpPr/>
            <p:nvPr/>
          </p:nvSpPr>
          <p:spPr>
            <a:xfrm>
              <a:off x="402165" y="1442224"/>
              <a:ext cx="7738534" cy="1370536"/>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grpSp>
      <p:grpSp>
        <p:nvGrpSpPr>
          <p:cNvPr id="5" name="Group 41"/>
          <p:cNvGrpSpPr/>
          <p:nvPr/>
        </p:nvGrpSpPr>
        <p:grpSpPr>
          <a:xfrm>
            <a:off x="402165" y="4629439"/>
            <a:ext cx="7738535" cy="1370537"/>
            <a:chOff x="402165" y="1442223"/>
            <a:chExt cx="7738535" cy="1370537"/>
          </a:xfrm>
        </p:grpSpPr>
        <p:sp>
          <p:nvSpPr>
            <p:cNvPr id="43" name="Rectangle 42"/>
            <p:cNvSpPr/>
            <p:nvPr/>
          </p:nvSpPr>
          <p:spPr>
            <a:xfrm rot="10800000">
              <a:off x="402166" y="1442223"/>
              <a:ext cx="7738534" cy="1370536"/>
            </a:xfrm>
            <a:prstGeom prst="rect">
              <a:avLst/>
            </a:prstGeom>
            <a:solidFill>
              <a:schemeClr val="bg1"/>
            </a:solidFill>
            <a:ln>
              <a:solidFill>
                <a:schemeClr val="bg1"/>
              </a:solidFill>
            </a:ln>
            <a:effectLst>
              <a:outerShdw blurRad="50800" dist="38100" dir="18900000" algn="b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sp>
          <p:nvSpPr>
            <p:cNvPr id="44" name="Rectangle 43"/>
            <p:cNvSpPr/>
            <p:nvPr/>
          </p:nvSpPr>
          <p:spPr>
            <a:xfrm>
              <a:off x="402165" y="1442224"/>
              <a:ext cx="7738534" cy="1370536"/>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grpSp>
      <p:sp>
        <p:nvSpPr>
          <p:cNvPr id="9" name="Title 1"/>
          <p:cNvSpPr txBox="1">
            <a:spLocks/>
          </p:cNvSpPr>
          <p:nvPr/>
        </p:nvSpPr>
        <p:spPr bwMode="auto">
          <a:xfrm>
            <a:off x="304800" y="183177"/>
            <a:ext cx="8382000" cy="73866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chemeClr val="tx1"/>
                </a:solidFill>
                <a:latin typeface="Arial" pitchFamily="34" charset="0"/>
                <a:cs typeface="Arial" pitchFamily="34" charset="0"/>
              </a:defRPr>
            </a:lvl2pPr>
            <a:lvl3pPr algn="l" rtl="0" eaLnBrk="0" fontAlgn="base" hangingPunct="0">
              <a:spcBef>
                <a:spcPct val="0"/>
              </a:spcBef>
              <a:spcAft>
                <a:spcPct val="0"/>
              </a:spcAft>
              <a:defRPr sz="2400" b="1">
                <a:solidFill>
                  <a:schemeClr val="tx1"/>
                </a:solidFill>
                <a:latin typeface="Arial" pitchFamily="34" charset="0"/>
                <a:cs typeface="Arial" pitchFamily="34" charset="0"/>
              </a:defRPr>
            </a:lvl3pPr>
            <a:lvl4pPr algn="l" rtl="0" eaLnBrk="0" fontAlgn="base" hangingPunct="0">
              <a:spcBef>
                <a:spcPct val="0"/>
              </a:spcBef>
              <a:spcAft>
                <a:spcPct val="0"/>
              </a:spcAft>
              <a:defRPr sz="2400" b="1">
                <a:solidFill>
                  <a:schemeClr val="tx1"/>
                </a:solidFill>
                <a:latin typeface="Arial" pitchFamily="34" charset="0"/>
                <a:cs typeface="Arial" pitchFamily="34" charset="0"/>
              </a:defRPr>
            </a:lvl4pPr>
            <a:lvl5pPr algn="l" rtl="0" eaLnBrk="0" fontAlgn="base" hangingPunct="0">
              <a:spcBef>
                <a:spcPct val="0"/>
              </a:spcBef>
              <a:spcAft>
                <a:spcPct val="0"/>
              </a:spcAft>
              <a:defRPr sz="2400" b="1">
                <a:solidFill>
                  <a:schemeClr val="tx1"/>
                </a:solidFill>
                <a:latin typeface="Arial" pitchFamily="34" charset="0"/>
                <a:cs typeface="Arial" pitchFamily="34" charset="0"/>
              </a:defRPr>
            </a:lvl5pPr>
            <a:lvl6pPr marL="457200" algn="l" rtl="0" fontAlgn="base">
              <a:spcBef>
                <a:spcPct val="0"/>
              </a:spcBef>
              <a:spcAft>
                <a:spcPct val="0"/>
              </a:spcAft>
              <a:defRPr sz="2400" b="1">
                <a:solidFill>
                  <a:schemeClr val="tx1"/>
                </a:solidFill>
                <a:latin typeface="Arial" pitchFamily="34" charset="0"/>
                <a:cs typeface="Arial" pitchFamily="34" charset="0"/>
              </a:defRPr>
            </a:lvl6pPr>
            <a:lvl7pPr marL="914400" algn="l" rtl="0" fontAlgn="base">
              <a:spcBef>
                <a:spcPct val="0"/>
              </a:spcBef>
              <a:spcAft>
                <a:spcPct val="0"/>
              </a:spcAft>
              <a:defRPr sz="2400" b="1">
                <a:solidFill>
                  <a:schemeClr val="tx1"/>
                </a:solidFill>
                <a:latin typeface="Arial" pitchFamily="34" charset="0"/>
                <a:cs typeface="Arial" pitchFamily="34" charset="0"/>
              </a:defRPr>
            </a:lvl7pPr>
            <a:lvl8pPr marL="1371600" algn="l" rtl="0" fontAlgn="base">
              <a:spcBef>
                <a:spcPct val="0"/>
              </a:spcBef>
              <a:spcAft>
                <a:spcPct val="0"/>
              </a:spcAft>
              <a:defRPr sz="2400" b="1">
                <a:solidFill>
                  <a:schemeClr val="tx1"/>
                </a:solidFill>
                <a:latin typeface="Arial" pitchFamily="34" charset="0"/>
                <a:cs typeface="Arial" pitchFamily="34" charset="0"/>
              </a:defRPr>
            </a:lvl8pPr>
            <a:lvl9pPr marL="1828800" algn="l" rtl="0" fontAlgn="base">
              <a:spcBef>
                <a:spcPct val="0"/>
              </a:spcBef>
              <a:spcAft>
                <a:spcPct val="0"/>
              </a:spcAft>
              <a:defRPr sz="2400" b="1">
                <a:solidFill>
                  <a:schemeClr val="tx1"/>
                </a:solidFill>
                <a:latin typeface="Arial" pitchFamily="34" charset="0"/>
                <a:cs typeface="Arial" pitchFamily="34" charset="0"/>
              </a:defRPr>
            </a:lvl9pPr>
          </a:lstStyle>
          <a:p>
            <a:r>
              <a:rPr lang="en-IN" altLang="en-US" sz="2000" dirty="0"/>
              <a:t>Evolution of OEMs Mobility Services</a:t>
            </a:r>
            <a:br>
              <a:rPr lang="en-IN" altLang="en-US" sz="2000" dirty="0"/>
            </a:br>
            <a:r>
              <a:rPr lang="en-IN" altLang="en-US" sz="1400" b="0" dirty="0"/>
              <a:t>Car companies are evolving from the business of manufacturing &amp; selling just cars, to providing related services, and multi-modal mobility solutions to target new customers, and future proof their business</a:t>
            </a:r>
            <a:endParaRPr lang="en-US" altLang="en-US" sz="100" b="0" dirty="0" smtClean="0"/>
          </a:p>
        </p:txBody>
      </p:sp>
      <p:sp>
        <p:nvSpPr>
          <p:cNvPr id="3" name="TextBox 2"/>
          <p:cNvSpPr txBox="1"/>
          <p:nvPr/>
        </p:nvSpPr>
        <p:spPr>
          <a:xfrm rot="16200000">
            <a:off x="6255009" y="3555126"/>
            <a:ext cx="4398640" cy="276999"/>
          </a:xfrm>
          <a:prstGeom prst="rect">
            <a:avLst/>
          </a:prstGeom>
          <a:noFill/>
        </p:spPr>
        <p:txBody>
          <a:bodyPr wrap="none" lIns="0" tIns="0" rIns="0" bIns="0" rtlCol="0" anchor="ctr" anchorCtr="0">
            <a:spAutoFit/>
          </a:bodyPr>
          <a:lstStyle/>
          <a:p>
            <a:r>
              <a:rPr lang="en-IN" b="1" dirty="0">
                <a:solidFill>
                  <a:srgbClr val="FFFFFF"/>
                </a:solidFill>
              </a:rPr>
              <a:t>Evolution &amp; Expansion of OEM Services</a:t>
            </a:r>
          </a:p>
        </p:txBody>
      </p:sp>
      <p:grpSp>
        <p:nvGrpSpPr>
          <p:cNvPr id="6" name="Group 6"/>
          <p:cNvGrpSpPr/>
          <p:nvPr/>
        </p:nvGrpSpPr>
        <p:grpSpPr>
          <a:xfrm>
            <a:off x="402165" y="1442223"/>
            <a:ext cx="7738535" cy="1370537"/>
            <a:chOff x="402165" y="1442223"/>
            <a:chExt cx="7738535" cy="1370537"/>
          </a:xfrm>
        </p:grpSpPr>
        <p:sp>
          <p:nvSpPr>
            <p:cNvPr id="39" name="Rectangle 38"/>
            <p:cNvSpPr/>
            <p:nvPr/>
          </p:nvSpPr>
          <p:spPr>
            <a:xfrm rot="10800000">
              <a:off x="402166" y="1442223"/>
              <a:ext cx="7738534" cy="1370536"/>
            </a:xfrm>
            <a:prstGeom prst="rect">
              <a:avLst/>
            </a:prstGeom>
            <a:solidFill>
              <a:schemeClr val="bg1"/>
            </a:solidFill>
            <a:ln>
              <a:solidFill>
                <a:schemeClr val="bg1"/>
              </a:solidFill>
            </a:ln>
            <a:effectLst>
              <a:outerShdw blurRad="50800" dist="38100" dir="18900000" algn="b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sp>
          <p:nvSpPr>
            <p:cNvPr id="27" name="Rectangle 26"/>
            <p:cNvSpPr/>
            <p:nvPr/>
          </p:nvSpPr>
          <p:spPr>
            <a:xfrm>
              <a:off x="402165" y="1442224"/>
              <a:ext cx="7738534" cy="1370536"/>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lIns="180000" rtlCol="0" anchor="t" anchorCtr="0"/>
            <a:lstStyle/>
            <a:p>
              <a:endParaRPr lang="en-GB" sz="2800" b="1" kern="0" dirty="0">
                <a:solidFill>
                  <a:srgbClr val="FFFFFF"/>
                </a:solidFill>
              </a:endParaRPr>
            </a:p>
          </p:txBody>
        </p:sp>
      </p:grpSp>
      <p:sp>
        <p:nvSpPr>
          <p:cNvPr id="30" name="TextBox 29"/>
          <p:cNvSpPr txBox="1"/>
          <p:nvPr/>
        </p:nvSpPr>
        <p:spPr>
          <a:xfrm>
            <a:off x="457200" y="1494305"/>
            <a:ext cx="1821011" cy="276999"/>
          </a:xfrm>
          <a:prstGeom prst="rect">
            <a:avLst/>
          </a:prstGeom>
          <a:noFill/>
        </p:spPr>
        <p:txBody>
          <a:bodyPr wrap="none" lIns="0" tIns="0" rIns="0" bIns="0" rtlCol="0" anchor="ctr" anchorCtr="0">
            <a:spAutoFit/>
          </a:bodyPr>
          <a:lstStyle/>
          <a:p>
            <a:r>
              <a:rPr lang="en-IN" b="1" dirty="0">
                <a:solidFill>
                  <a:srgbClr val="06325C"/>
                </a:solidFill>
              </a:rPr>
              <a:t>Car Independent</a:t>
            </a:r>
          </a:p>
        </p:txBody>
      </p:sp>
      <p:sp>
        <p:nvSpPr>
          <p:cNvPr id="34" name="TextBox 33"/>
          <p:cNvSpPr txBox="1"/>
          <p:nvPr/>
        </p:nvSpPr>
        <p:spPr>
          <a:xfrm>
            <a:off x="457200" y="4681521"/>
            <a:ext cx="1641475" cy="276999"/>
          </a:xfrm>
          <a:prstGeom prst="rect">
            <a:avLst/>
          </a:prstGeom>
          <a:noFill/>
        </p:spPr>
        <p:txBody>
          <a:bodyPr wrap="none" lIns="0" tIns="0" rIns="0" bIns="0" rtlCol="0" anchor="ctr" anchorCtr="0">
            <a:spAutoFit/>
          </a:bodyPr>
          <a:lstStyle/>
          <a:p>
            <a:r>
              <a:rPr lang="en-IN" b="1" dirty="0">
                <a:solidFill>
                  <a:srgbClr val="06325C"/>
                </a:solidFill>
              </a:rPr>
              <a:t>Car Ownership</a:t>
            </a:r>
          </a:p>
        </p:txBody>
      </p:sp>
      <p:sp>
        <p:nvSpPr>
          <p:cNvPr id="37" name="TextBox 36"/>
          <p:cNvSpPr txBox="1"/>
          <p:nvPr/>
        </p:nvSpPr>
        <p:spPr>
          <a:xfrm>
            <a:off x="457200" y="3087913"/>
            <a:ext cx="1397819" cy="276999"/>
          </a:xfrm>
          <a:prstGeom prst="rect">
            <a:avLst/>
          </a:prstGeom>
          <a:noFill/>
        </p:spPr>
        <p:txBody>
          <a:bodyPr wrap="none" lIns="0" tIns="0" rIns="0" bIns="0" rtlCol="0" anchor="ctr" anchorCtr="0">
            <a:spAutoFit/>
          </a:bodyPr>
          <a:lstStyle/>
          <a:p>
            <a:r>
              <a:rPr lang="en-IN" b="1" dirty="0">
                <a:solidFill>
                  <a:srgbClr val="06325C"/>
                </a:solidFill>
              </a:rPr>
              <a:t>Car Services</a:t>
            </a:r>
          </a:p>
        </p:txBody>
      </p:sp>
      <p:pic>
        <p:nvPicPr>
          <p:cNvPr id="1027" name="Picture 3" descr="C:\Users\MartynB\Pictures\CityTrends\Qixxit.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4500" y="1816051"/>
            <a:ext cx="2218769" cy="96461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MartynB\Pictures\imagesZDEUVU6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1104" r="24193" b="20829"/>
          <a:stretch/>
        </p:blipFill>
        <p:spPr bwMode="auto">
          <a:xfrm>
            <a:off x="444500" y="3415349"/>
            <a:ext cx="1574389" cy="94488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199" y="4988100"/>
            <a:ext cx="1410519" cy="952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5"/>
          <p:cNvGrpSpPr/>
          <p:nvPr/>
        </p:nvGrpSpPr>
        <p:grpSpPr>
          <a:xfrm>
            <a:off x="2815669" y="1624413"/>
            <a:ext cx="5147231" cy="1006159"/>
            <a:chOff x="-7025162" y="1221696"/>
            <a:chExt cx="4161399" cy="1006159"/>
          </a:xfrm>
          <a:solidFill>
            <a:schemeClr val="bg1">
              <a:lumMod val="95000"/>
            </a:schemeClr>
          </a:solidFill>
        </p:grpSpPr>
        <p:sp>
          <p:nvSpPr>
            <p:cNvPr id="10" name="Freeform 9"/>
            <p:cNvSpPr/>
            <p:nvPr/>
          </p:nvSpPr>
          <p:spPr>
            <a:xfrm>
              <a:off x="-7025162" y="1221696"/>
              <a:ext cx="1325098"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946" tIns="70946" rIns="70946" bIns="70946" numCol="1" spcCol="1270" anchor="ctr" anchorCtr="0">
              <a:noAutofit/>
            </a:bodyPr>
            <a:lstStyle/>
            <a:p>
              <a:pPr algn="ctr" defTabSz="444500">
                <a:spcBef>
                  <a:spcPct val="0"/>
                </a:spcBef>
                <a:spcAft>
                  <a:spcPct val="35000"/>
                </a:spcAft>
              </a:pPr>
              <a:r>
                <a:rPr lang="en-GB" sz="1400" dirty="0">
                  <a:solidFill>
                    <a:srgbClr val="000000">
                      <a:hueOff val="0"/>
                      <a:satOff val="0"/>
                      <a:lumOff val="0"/>
                      <a:alphaOff val="0"/>
                    </a:srgbClr>
                  </a:solidFill>
                </a:rPr>
                <a:t>Integrated Mobility: Journey Planning, Booking &amp; Payment</a:t>
              </a:r>
            </a:p>
          </p:txBody>
        </p:sp>
        <p:sp>
          <p:nvSpPr>
            <p:cNvPr id="11" name="Freeform 10"/>
            <p:cNvSpPr/>
            <p:nvPr/>
          </p:nvSpPr>
          <p:spPr>
            <a:xfrm>
              <a:off x="-5607012" y="1221696"/>
              <a:ext cx="1325098"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946" tIns="70946" rIns="70946" bIns="70946" numCol="1" spcCol="1270" anchor="ctr" anchorCtr="0">
              <a:noAutofit/>
            </a:bodyPr>
            <a:lstStyle/>
            <a:p>
              <a:pPr algn="ctr" defTabSz="444500">
                <a:spcBef>
                  <a:spcPct val="0"/>
                </a:spcBef>
                <a:spcAft>
                  <a:spcPct val="35000"/>
                </a:spcAft>
              </a:pPr>
              <a:r>
                <a:rPr lang="en-GB" sz="1400" dirty="0">
                  <a:solidFill>
                    <a:srgbClr val="000000">
                      <a:hueOff val="0"/>
                      <a:satOff val="0"/>
                      <a:lumOff val="0"/>
                      <a:alphaOff val="0"/>
                    </a:srgbClr>
                  </a:solidFill>
                </a:rPr>
                <a:t>City Planners &amp; Lifestyle</a:t>
              </a:r>
            </a:p>
          </p:txBody>
        </p:sp>
        <p:sp>
          <p:nvSpPr>
            <p:cNvPr id="12" name="Freeform 11"/>
            <p:cNvSpPr/>
            <p:nvPr/>
          </p:nvSpPr>
          <p:spPr>
            <a:xfrm>
              <a:off x="-4188861" y="1221696"/>
              <a:ext cx="1325098"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946" tIns="70946" rIns="70946" bIns="70946" numCol="1" spcCol="1270" anchor="ctr" anchorCtr="0">
              <a:noAutofit/>
            </a:bodyPr>
            <a:lstStyle/>
            <a:p>
              <a:pPr algn="ctr" defTabSz="444500">
                <a:spcBef>
                  <a:spcPct val="0"/>
                </a:spcBef>
                <a:spcAft>
                  <a:spcPct val="35000"/>
                </a:spcAft>
              </a:pPr>
              <a:r>
                <a:rPr lang="en-GB" sz="1400" dirty="0">
                  <a:solidFill>
                    <a:srgbClr val="000000">
                      <a:hueOff val="0"/>
                      <a:satOff val="0"/>
                      <a:lumOff val="0"/>
                      <a:alphaOff val="0"/>
                    </a:srgbClr>
                  </a:solidFill>
                </a:rPr>
                <a:t>Energy creation &amp; storage</a:t>
              </a:r>
            </a:p>
          </p:txBody>
        </p:sp>
      </p:grpSp>
      <p:grpSp>
        <p:nvGrpSpPr>
          <p:cNvPr id="13" name="Group 47"/>
          <p:cNvGrpSpPr/>
          <p:nvPr/>
        </p:nvGrpSpPr>
        <p:grpSpPr>
          <a:xfrm>
            <a:off x="2815669" y="4811628"/>
            <a:ext cx="5147231" cy="1006159"/>
            <a:chOff x="-7025162" y="1221696"/>
            <a:chExt cx="4161399" cy="1006159"/>
          </a:xfrm>
          <a:solidFill>
            <a:schemeClr val="bg1">
              <a:lumMod val="95000"/>
            </a:schemeClr>
          </a:solidFill>
        </p:grpSpPr>
        <p:sp>
          <p:nvSpPr>
            <p:cNvPr id="49" name="Freeform 48"/>
            <p:cNvSpPr/>
            <p:nvPr/>
          </p:nvSpPr>
          <p:spPr>
            <a:xfrm>
              <a:off x="-7025162" y="1221696"/>
              <a:ext cx="1325098"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946" tIns="70946" rIns="70946" bIns="70946" numCol="1" spcCol="1270" anchor="ctr" anchorCtr="0">
              <a:noAutofit/>
            </a:bodyPr>
            <a:lstStyle/>
            <a:p>
              <a:pPr algn="ctr" defTabSz="444500">
                <a:spcBef>
                  <a:spcPct val="0"/>
                </a:spcBef>
                <a:spcAft>
                  <a:spcPct val="35000"/>
                </a:spcAft>
              </a:pPr>
              <a:r>
                <a:rPr lang="en-GB" sz="1400" dirty="0">
                  <a:solidFill>
                    <a:srgbClr val="000000">
                      <a:hueOff val="0"/>
                      <a:satOff val="0"/>
                      <a:lumOff val="0"/>
                      <a:alphaOff val="0"/>
                    </a:srgbClr>
                  </a:solidFill>
                </a:rPr>
                <a:t>Finance</a:t>
              </a:r>
            </a:p>
          </p:txBody>
        </p:sp>
        <p:sp>
          <p:nvSpPr>
            <p:cNvPr id="50" name="Freeform 49"/>
            <p:cNvSpPr/>
            <p:nvPr/>
          </p:nvSpPr>
          <p:spPr>
            <a:xfrm>
              <a:off x="-5607012" y="1221696"/>
              <a:ext cx="1325098"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946" tIns="70946" rIns="70946" bIns="70946" numCol="1" spcCol="1270" anchor="ctr" anchorCtr="0">
              <a:noAutofit/>
            </a:bodyPr>
            <a:lstStyle/>
            <a:p>
              <a:pPr algn="ctr" defTabSz="444500">
                <a:spcBef>
                  <a:spcPct val="0"/>
                </a:spcBef>
                <a:spcAft>
                  <a:spcPct val="35000"/>
                </a:spcAft>
              </a:pPr>
              <a:r>
                <a:rPr lang="en-GB" sz="1400" dirty="0">
                  <a:solidFill>
                    <a:srgbClr val="000000">
                      <a:hueOff val="0"/>
                      <a:satOff val="0"/>
                      <a:lumOff val="0"/>
                      <a:alphaOff val="0"/>
                    </a:srgbClr>
                  </a:solidFill>
                </a:rPr>
                <a:t>Maintenance</a:t>
              </a:r>
            </a:p>
          </p:txBody>
        </p:sp>
        <p:sp>
          <p:nvSpPr>
            <p:cNvPr id="51" name="Freeform 50"/>
            <p:cNvSpPr/>
            <p:nvPr/>
          </p:nvSpPr>
          <p:spPr>
            <a:xfrm>
              <a:off x="-4188861" y="1221696"/>
              <a:ext cx="1325098"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grp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946" tIns="70946" rIns="70946" bIns="70946" numCol="1" spcCol="1270" anchor="ctr" anchorCtr="0">
              <a:noAutofit/>
            </a:bodyPr>
            <a:lstStyle/>
            <a:p>
              <a:pPr algn="ctr" defTabSz="444500">
                <a:spcAft>
                  <a:spcPct val="35000"/>
                </a:spcAft>
              </a:pPr>
              <a:r>
                <a:rPr lang="en-GB" sz="1400" dirty="0">
                  <a:solidFill>
                    <a:srgbClr val="000000">
                      <a:hueOff val="0"/>
                      <a:satOff val="0"/>
                      <a:lumOff val="0"/>
                      <a:alphaOff val="0"/>
                    </a:srgbClr>
                  </a:solidFill>
                </a:rPr>
                <a:t>Connected Services</a:t>
              </a:r>
            </a:p>
          </p:txBody>
        </p:sp>
      </p:grpSp>
      <p:sp>
        <p:nvSpPr>
          <p:cNvPr id="53" name="Freeform 52"/>
          <p:cNvSpPr/>
          <p:nvPr/>
        </p:nvSpPr>
        <p:spPr>
          <a:xfrm>
            <a:off x="2815669" y="3218020"/>
            <a:ext cx="973351"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solidFill>
            <a:schemeClr val="bg1">
              <a:lumMod val="95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70946" rIns="36000" bIns="70946" numCol="1" spcCol="1270" anchor="ctr" anchorCtr="0">
            <a:noAutofit/>
          </a:bodyPr>
          <a:lstStyle/>
          <a:p>
            <a:pPr algn="ctr" defTabSz="444500">
              <a:spcAft>
                <a:spcPct val="35000"/>
              </a:spcAft>
            </a:pPr>
            <a:r>
              <a:rPr lang="en-GB" sz="1400" dirty="0">
                <a:solidFill>
                  <a:srgbClr val="000000">
                    <a:hueOff val="0"/>
                    <a:satOff val="0"/>
                    <a:lumOff val="0"/>
                    <a:alphaOff val="0"/>
                  </a:srgbClr>
                </a:solidFill>
              </a:rPr>
              <a:t>Carsharing</a:t>
            </a:r>
          </a:p>
        </p:txBody>
      </p:sp>
      <p:sp>
        <p:nvSpPr>
          <p:cNvPr id="54" name="Freeform 53"/>
          <p:cNvSpPr/>
          <p:nvPr/>
        </p:nvSpPr>
        <p:spPr>
          <a:xfrm>
            <a:off x="3859139" y="3218020"/>
            <a:ext cx="973351"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solidFill>
            <a:schemeClr val="bg1">
              <a:lumMod val="95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70946" rIns="36000" bIns="70946" numCol="1" spcCol="1270" anchor="ctr" anchorCtr="0">
            <a:noAutofit/>
          </a:bodyPr>
          <a:lstStyle/>
          <a:p>
            <a:pPr algn="ctr" defTabSz="444500">
              <a:spcAft>
                <a:spcPct val="35000"/>
              </a:spcAft>
            </a:pPr>
            <a:r>
              <a:rPr lang="en-GB" sz="1400" dirty="0">
                <a:solidFill>
                  <a:srgbClr val="000000">
                    <a:hueOff val="0"/>
                    <a:satOff val="0"/>
                    <a:lumOff val="0"/>
                    <a:alphaOff val="0"/>
                  </a:srgbClr>
                </a:solidFill>
              </a:rPr>
              <a:t>Parking &amp; Charging</a:t>
            </a:r>
          </a:p>
        </p:txBody>
      </p:sp>
      <p:sp>
        <p:nvSpPr>
          <p:cNvPr id="55" name="Freeform 54"/>
          <p:cNvSpPr/>
          <p:nvPr/>
        </p:nvSpPr>
        <p:spPr>
          <a:xfrm>
            <a:off x="4902609" y="3218020"/>
            <a:ext cx="973351"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solidFill>
            <a:schemeClr val="bg1">
              <a:lumMod val="95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70946" rIns="36000" bIns="70946" numCol="1" spcCol="1270" anchor="ctr" anchorCtr="0">
            <a:noAutofit/>
          </a:bodyPr>
          <a:lstStyle/>
          <a:p>
            <a:pPr algn="ctr" defTabSz="444500">
              <a:spcAft>
                <a:spcPct val="35000"/>
              </a:spcAft>
            </a:pPr>
            <a:r>
              <a:rPr lang="en-GB" sz="1400" dirty="0">
                <a:solidFill>
                  <a:srgbClr val="000000">
                    <a:hueOff val="0"/>
                    <a:satOff val="0"/>
                    <a:lumOff val="0"/>
                    <a:alphaOff val="0"/>
                  </a:srgbClr>
                </a:solidFill>
              </a:rPr>
              <a:t>Ride-sharing</a:t>
            </a:r>
          </a:p>
        </p:txBody>
      </p:sp>
      <p:sp>
        <p:nvSpPr>
          <p:cNvPr id="56" name="Freeform 55"/>
          <p:cNvSpPr/>
          <p:nvPr/>
        </p:nvSpPr>
        <p:spPr>
          <a:xfrm>
            <a:off x="5946079" y="3218020"/>
            <a:ext cx="973351"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solidFill>
            <a:schemeClr val="bg1">
              <a:lumMod val="95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70946" rIns="36000" bIns="70946" numCol="1" spcCol="1270" anchor="ctr" anchorCtr="0">
            <a:noAutofit/>
          </a:bodyPr>
          <a:lstStyle/>
          <a:p>
            <a:pPr algn="ctr" defTabSz="444500">
              <a:spcAft>
                <a:spcPct val="35000"/>
              </a:spcAft>
            </a:pPr>
            <a:r>
              <a:rPr lang="en-GB" sz="1400" dirty="0">
                <a:solidFill>
                  <a:srgbClr val="000000">
                    <a:hueOff val="0"/>
                    <a:satOff val="0"/>
                    <a:lumOff val="0"/>
                    <a:alphaOff val="0"/>
                  </a:srgbClr>
                </a:solidFill>
              </a:rPr>
              <a:t>Taxi &amp; Limousine</a:t>
            </a:r>
          </a:p>
        </p:txBody>
      </p:sp>
      <p:sp>
        <p:nvSpPr>
          <p:cNvPr id="57" name="Freeform 56"/>
          <p:cNvSpPr/>
          <p:nvPr/>
        </p:nvSpPr>
        <p:spPr>
          <a:xfrm>
            <a:off x="6989549" y="3218020"/>
            <a:ext cx="973351" cy="1006159"/>
          </a:xfrm>
          <a:custGeom>
            <a:avLst/>
            <a:gdLst>
              <a:gd name="connsiteX0" fmla="*/ 0 w 1257300"/>
              <a:gd name="connsiteY0" fmla="*/ 112146 h 1068058"/>
              <a:gd name="connsiteX1" fmla="*/ 112146 w 1257300"/>
              <a:gd name="connsiteY1" fmla="*/ 0 h 1068058"/>
              <a:gd name="connsiteX2" fmla="*/ 1145154 w 1257300"/>
              <a:gd name="connsiteY2" fmla="*/ 0 h 1068058"/>
              <a:gd name="connsiteX3" fmla="*/ 1257300 w 1257300"/>
              <a:gd name="connsiteY3" fmla="*/ 112146 h 1068058"/>
              <a:gd name="connsiteX4" fmla="*/ 1257300 w 1257300"/>
              <a:gd name="connsiteY4" fmla="*/ 955912 h 1068058"/>
              <a:gd name="connsiteX5" fmla="*/ 1145154 w 1257300"/>
              <a:gd name="connsiteY5" fmla="*/ 1068058 h 1068058"/>
              <a:gd name="connsiteX6" fmla="*/ 112146 w 1257300"/>
              <a:gd name="connsiteY6" fmla="*/ 1068058 h 1068058"/>
              <a:gd name="connsiteX7" fmla="*/ 0 w 1257300"/>
              <a:gd name="connsiteY7" fmla="*/ 955912 h 1068058"/>
              <a:gd name="connsiteX8" fmla="*/ 0 w 1257300"/>
              <a:gd name="connsiteY8" fmla="*/ 112146 h 106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7300" h="1068058">
                <a:moveTo>
                  <a:pt x="0" y="112146"/>
                </a:moveTo>
                <a:cubicBezTo>
                  <a:pt x="0" y="50209"/>
                  <a:pt x="50209" y="0"/>
                  <a:pt x="112146" y="0"/>
                </a:cubicBezTo>
                <a:lnTo>
                  <a:pt x="1145154" y="0"/>
                </a:lnTo>
                <a:cubicBezTo>
                  <a:pt x="1207091" y="0"/>
                  <a:pt x="1257300" y="50209"/>
                  <a:pt x="1257300" y="112146"/>
                </a:cubicBezTo>
                <a:lnTo>
                  <a:pt x="1257300" y="955912"/>
                </a:lnTo>
                <a:cubicBezTo>
                  <a:pt x="1257300" y="1017849"/>
                  <a:pt x="1207091" y="1068058"/>
                  <a:pt x="1145154" y="1068058"/>
                </a:cubicBezTo>
                <a:lnTo>
                  <a:pt x="112146" y="1068058"/>
                </a:lnTo>
                <a:cubicBezTo>
                  <a:pt x="50209" y="1068058"/>
                  <a:pt x="0" y="1017849"/>
                  <a:pt x="0" y="955912"/>
                </a:cubicBezTo>
                <a:lnTo>
                  <a:pt x="0" y="112146"/>
                </a:lnTo>
                <a:close/>
              </a:path>
            </a:pathLst>
          </a:custGeom>
          <a:solidFill>
            <a:schemeClr val="bg1">
              <a:lumMod val="95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000" tIns="70946" rIns="36000" bIns="70946" numCol="1" spcCol="1270" anchor="ctr" anchorCtr="0">
            <a:noAutofit/>
          </a:bodyPr>
          <a:lstStyle/>
          <a:p>
            <a:pPr algn="ctr" defTabSz="444500">
              <a:spcAft>
                <a:spcPct val="35000"/>
              </a:spcAft>
            </a:pPr>
            <a:r>
              <a:rPr lang="en-GB" sz="1400" dirty="0">
                <a:solidFill>
                  <a:srgbClr val="000000">
                    <a:hueOff val="0"/>
                    <a:satOff val="0"/>
                    <a:lumOff val="0"/>
                    <a:alphaOff val="0"/>
                  </a:srgbClr>
                </a:solidFill>
              </a:rPr>
              <a:t>Automated Driving</a:t>
            </a:r>
          </a:p>
        </p:txBody>
      </p:sp>
      <p:sp>
        <p:nvSpPr>
          <p:cNvPr id="2" name="Down Arrow 1"/>
          <p:cNvSpPr/>
          <p:nvPr/>
        </p:nvSpPr>
        <p:spPr>
          <a:xfrm rot="10800000">
            <a:off x="8711184" y="1231898"/>
            <a:ext cx="331216" cy="4978401"/>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Tree>
    <p:extLst>
      <p:ext uri="{BB962C8B-B14F-4D97-AF65-F5344CB8AC3E}">
        <p14:creationId xmlns:p14="http://schemas.microsoft.com/office/powerpoint/2010/main" val="23877766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432" y="1134624"/>
            <a:ext cx="8727168" cy="5231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Title 1"/>
          <p:cNvSpPr>
            <a:spLocks noGrp="1"/>
          </p:cNvSpPr>
          <p:nvPr>
            <p:ph type="title"/>
          </p:nvPr>
        </p:nvSpPr>
        <p:spPr>
          <a:xfrm>
            <a:off x="340056" y="130280"/>
            <a:ext cx="8053316" cy="792162"/>
          </a:xfrm>
        </p:spPr>
        <p:txBody>
          <a:bodyPr/>
          <a:lstStyle/>
          <a:p>
            <a:r>
              <a:rPr lang="en-GB" sz="2000" dirty="0" smtClean="0"/>
              <a:t>Potential for explosive growth</a:t>
            </a:r>
            <a:br>
              <a:rPr lang="en-GB" sz="2000" dirty="0" smtClean="0"/>
            </a:br>
            <a:r>
              <a:rPr lang="en-GB" sz="1600" b="0" dirty="0"/>
              <a:t>Ultimately connected car programs need to be profit generators and customer loyalty improvement  </a:t>
            </a:r>
            <a:r>
              <a:rPr lang="en-GB" sz="1600" b="0" dirty="0" smtClean="0"/>
              <a:t>programs which have large potential for growth</a:t>
            </a:r>
            <a:endParaRPr lang="en-GB" sz="1600" b="0" dirty="0"/>
          </a:p>
        </p:txBody>
      </p:sp>
    </p:spTree>
    <p:extLst>
      <p:ext uri="{BB962C8B-B14F-4D97-AF65-F5344CB8AC3E}">
        <p14:creationId xmlns:p14="http://schemas.microsoft.com/office/powerpoint/2010/main" val="1791973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70677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4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rgbClr val="002060"/>
                </a:solidFill>
                <a:ea typeface="Cambria Math" pitchFamily="18" charset="0"/>
              </a:rPr>
              <a:t>Top Transformational Shifts Expected to Shape the Future of </a:t>
            </a:r>
            <a:r>
              <a:rPr lang="en-IN" sz="2000" dirty="0" smtClean="0">
                <a:solidFill>
                  <a:srgbClr val="002060"/>
                </a:solidFill>
                <a:ea typeface="Cambria Math" pitchFamily="18" charset="0"/>
              </a:rPr>
              <a:t>Mobility</a:t>
            </a:r>
          </a:p>
          <a:p>
            <a:r>
              <a:rPr lang="en-IN" sz="2000" dirty="0" smtClean="0">
                <a:solidFill>
                  <a:srgbClr val="002060"/>
                </a:solidFill>
                <a:ea typeface="Cambria Math" pitchFamily="18" charset="0"/>
              </a:rPr>
              <a:t>- Mobility Integration</a:t>
            </a:r>
            <a:endParaRPr lang="en-IN" sz="2000" dirty="0">
              <a:solidFill>
                <a:srgbClr val="002060"/>
              </a:solidFill>
              <a:ea typeface="Cambria Math" pitchFamily="18" charset="0"/>
            </a:endParaRPr>
          </a:p>
        </p:txBody>
      </p:sp>
      <p:pic>
        <p:nvPicPr>
          <p:cNvPr id="54" name="Picture 3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8894" y="3793897"/>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221" name="Picture 2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1355"/>
          <a:stretch/>
        </p:blipFill>
        <p:spPr bwMode="auto">
          <a:xfrm>
            <a:off x="251520" y="1249562"/>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49"/>
          <p:cNvSpPr/>
          <p:nvPr/>
        </p:nvSpPr>
        <p:spPr>
          <a:xfrm>
            <a:off x="3258421" y="1249562"/>
            <a:ext cx="152116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US" sz="1400" b="1" kern="0" dirty="0">
                <a:solidFill>
                  <a:srgbClr val="FFFFFF"/>
                </a:solidFill>
              </a:rPr>
              <a:t>Connected </a:t>
            </a:r>
            <a:r>
              <a:rPr lang="en-US" sz="1400" b="1" kern="0" dirty="0" smtClean="0">
                <a:solidFill>
                  <a:srgbClr val="FFFFFF"/>
                </a:solidFill>
              </a:rPr>
              <a:t>and Automated Mobility </a:t>
            </a:r>
            <a:endParaRPr lang="en-US" sz="1400" b="1" kern="0" dirty="0">
              <a:solidFill>
                <a:srgbClr val="FFFFFF"/>
              </a:solidFill>
            </a:endParaRPr>
          </a:p>
        </p:txBody>
      </p:sp>
      <p:sp>
        <p:nvSpPr>
          <p:cNvPr id="60" name="Rectangle 59"/>
          <p:cNvSpPr/>
          <p:nvPr/>
        </p:nvSpPr>
        <p:spPr>
          <a:xfrm>
            <a:off x="3255641" y="3795724"/>
            <a:ext cx="152394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Convergence in </a:t>
            </a:r>
            <a:r>
              <a:rPr lang="en-IN" sz="1400" b="1" kern="0" dirty="0" smtClean="0">
                <a:solidFill>
                  <a:srgbClr val="FFFFFF"/>
                </a:solidFill>
              </a:rPr>
              <a:t>Corporate Mobility</a:t>
            </a:r>
            <a:endParaRPr lang="en-IN" sz="1400" b="1" kern="0" dirty="0">
              <a:solidFill>
                <a:srgbClr val="FFFFFF"/>
              </a:solidFill>
            </a:endParaRPr>
          </a:p>
        </p:txBody>
      </p:sp>
      <p:grpSp>
        <p:nvGrpSpPr>
          <p:cNvPr id="6" name="Group 5"/>
          <p:cNvGrpSpPr/>
          <p:nvPr/>
        </p:nvGrpSpPr>
        <p:grpSpPr>
          <a:xfrm>
            <a:off x="5394912" y="1397532"/>
            <a:ext cx="1687108" cy="2165616"/>
            <a:chOff x="2962459" y="1354206"/>
            <a:chExt cx="1232348" cy="1459174"/>
          </a:xfrm>
        </p:grpSpPr>
        <p:pic>
          <p:nvPicPr>
            <p:cNvPr id="180245" name="Picture 21" descr="http://cdn.bgr.com/2012/11/mobile-icon.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2446" r="22446"/>
            <a:stretch/>
          </p:blipFill>
          <p:spPr bwMode="auto">
            <a:xfrm>
              <a:off x="2962459" y="1354206"/>
              <a:ext cx="1232348" cy="145917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3155341" y="1499340"/>
              <a:ext cx="846584" cy="1246610"/>
              <a:chOff x="5118447" y="4060031"/>
              <a:chExt cx="846584" cy="1246610"/>
            </a:xfrm>
          </p:grpSpPr>
          <p:pic>
            <p:nvPicPr>
              <p:cNvPr id="180243" name="Picture 19" descr="http://img.click.in/classifieds/images/148/3_9_2011_10_34_9036_air_booking_tour_250x250.gif"/>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13" t="1504" r="1913" b="1504"/>
              <a:stretch/>
            </p:blipFill>
            <p:spPr bwMode="auto">
              <a:xfrm>
                <a:off x="5118447" y="4060031"/>
                <a:ext cx="846584" cy="1075052"/>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flipV="1">
                <a:off x="5487739" y="5198641"/>
                <a:ext cx="108000" cy="108000"/>
              </a:xfrm>
              <a:prstGeom prst="ellipse">
                <a:avLst/>
              </a:prstGeom>
              <a:solidFill>
                <a:schemeClr val="bg1"/>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grpSp>
      </p:grpSp>
      <p:sp>
        <p:nvSpPr>
          <p:cNvPr id="39" name="Snip and Round Single Corner Rectangle 38"/>
          <p:cNvSpPr/>
          <p:nvPr/>
        </p:nvSpPr>
        <p:spPr>
          <a:xfrm>
            <a:off x="4894540" y="3795725"/>
            <a:ext cx="2687852" cy="2459731"/>
          </a:xfrm>
          <a:prstGeom prst="snipRoundRect">
            <a:avLst>
              <a:gd name="adj1" fmla="val 0"/>
              <a:gd name="adj2" fmla="val 0"/>
            </a:avLst>
          </a:prstGeom>
          <a:blipFill dpi="0" rotWithShape="1">
            <a:blip r:embed="rId11"/>
            <a:srcRect/>
            <a:stretch>
              <a:fillRect/>
            </a:stretch>
          </a:blipFill>
          <a:ln w="25400" cap="flat" cmpd="sng" algn="ctr">
            <a:noFill/>
            <a:prstDash val="solid"/>
          </a:ln>
          <a:effectLst>
            <a:outerShdw blurRad="149987" dist="250190" dir="8460000" algn="ctr">
              <a:srgbClr val="000000">
                <a:alpha val="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defRPr/>
            </a:pPr>
            <a:endParaRPr lang="en-US" sz="1200" kern="0" dirty="0">
              <a:solidFill>
                <a:srgbClr val="000000"/>
              </a:solidFill>
              <a:latin typeface="Calibri"/>
              <a:cs typeface="Arial" pitchFamily="34" charset="0"/>
            </a:endParaRPr>
          </a:p>
        </p:txBody>
      </p:sp>
      <p:sp>
        <p:nvSpPr>
          <p:cNvPr id="63" name="Rectangle 62"/>
          <p:cNvSpPr/>
          <p:nvPr/>
        </p:nvSpPr>
        <p:spPr>
          <a:xfrm>
            <a:off x="7565767" y="3795724"/>
            <a:ext cx="1319064" cy="2459732"/>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Automated Driving</a:t>
            </a:r>
          </a:p>
        </p:txBody>
      </p:sp>
      <p:sp>
        <p:nvSpPr>
          <p:cNvPr id="41" name="Rectangle 40"/>
          <p:cNvSpPr/>
          <p:nvPr/>
        </p:nvSpPr>
        <p:spPr>
          <a:xfrm>
            <a:off x="7565767" y="1249562"/>
            <a:ext cx="1319064"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Mobility Integration</a:t>
            </a:r>
          </a:p>
        </p:txBody>
      </p:sp>
      <p:sp>
        <p:nvSpPr>
          <p:cNvPr id="5" name="Rectangle 4"/>
          <p:cNvSpPr/>
          <p:nvPr/>
        </p:nvSpPr>
        <p:spPr>
          <a:xfrm>
            <a:off x="221628" y="1249562"/>
            <a:ext cx="4557960" cy="2461559"/>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
        <p:nvSpPr>
          <p:cNvPr id="17" name="Rectangle 16"/>
          <p:cNvSpPr/>
          <p:nvPr/>
        </p:nvSpPr>
        <p:spPr>
          <a:xfrm>
            <a:off x="4779588" y="3711121"/>
            <a:ext cx="4135812" cy="2612357"/>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
        <p:nvSpPr>
          <p:cNvPr id="18" name="Rectangle 17"/>
          <p:cNvSpPr/>
          <p:nvPr/>
        </p:nvSpPr>
        <p:spPr>
          <a:xfrm>
            <a:off x="221628" y="3778440"/>
            <a:ext cx="4672912" cy="2545038"/>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Tree>
    <p:extLst>
      <p:ext uri="{BB962C8B-B14F-4D97-AF65-F5344CB8AC3E}">
        <p14:creationId xmlns:p14="http://schemas.microsoft.com/office/powerpoint/2010/main" val="9275075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0" name="Straight Connector 89"/>
          <p:cNvCxnSpPr>
            <a:endCxn id="154" idx="6"/>
          </p:cNvCxnSpPr>
          <p:nvPr/>
        </p:nvCxnSpPr>
        <p:spPr>
          <a:xfrm flipH="1">
            <a:off x="4047756" y="3566771"/>
            <a:ext cx="3297001" cy="393756"/>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a:endCxn id="103" idx="6"/>
          </p:cNvCxnSpPr>
          <p:nvPr/>
        </p:nvCxnSpPr>
        <p:spPr>
          <a:xfrm flipH="1" flipV="1">
            <a:off x="1579739" y="2173862"/>
            <a:ext cx="5765017" cy="1392910"/>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a:endCxn id="148" idx="6"/>
          </p:cNvCxnSpPr>
          <p:nvPr/>
        </p:nvCxnSpPr>
        <p:spPr>
          <a:xfrm flipH="1" flipV="1">
            <a:off x="1775485" y="3505892"/>
            <a:ext cx="5569272" cy="60880"/>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a:endCxn id="126" idx="6"/>
          </p:cNvCxnSpPr>
          <p:nvPr/>
        </p:nvCxnSpPr>
        <p:spPr>
          <a:xfrm flipH="1">
            <a:off x="1556826" y="3566771"/>
            <a:ext cx="5787930" cy="1844524"/>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a:endCxn id="144" idx="6"/>
          </p:cNvCxnSpPr>
          <p:nvPr/>
        </p:nvCxnSpPr>
        <p:spPr>
          <a:xfrm flipH="1">
            <a:off x="2813748" y="3566771"/>
            <a:ext cx="4531009" cy="1108182"/>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a:endCxn id="162" idx="5"/>
          </p:cNvCxnSpPr>
          <p:nvPr/>
        </p:nvCxnSpPr>
        <p:spPr>
          <a:xfrm flipH="1" flipV="1">
            <a:off x="2966090" y="3077773"/>
            <a:ext cx="4378667" cy="488998"/>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a:endCxn id="158" idx="5"/>
          </p:cNvCxnSpPr>
          <p:nvPr/>
        </p:nvCxnSpPr>
        <p:spPr>
          <a:xfrm flipH="1" flipV="1">
            <a:off x="4636873" y="2525517"/>
            <a:ext cx="2707884" cy="1041254"/>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a:endCxn id="104" idx="7"/>
          </p:cNvCxnSpPr>
          <p:nvPr/>
        </p:nvCxnSpPr>
        <p:spPr>
          <a:xfrm flipH="1">
            <a:off x="3940307" y="3566771"/>
            <a:ext cx="3404449" cy="1558217"/>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a:endCxn id="130" idx="6"/>
          </p:cNvCxnSpPr>
          <p:nvPr/>
        </p:nvCxnSpPr>
        <p:spPr>
          <a:xfrm flipH="1">
            <a:off x="5404460" y="3566771"/>
            <a:ext cx="1940296" cy="1367973"/>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a:endCxn id="166" idx="6"/>
          </p:cNvCxnSpPr>
          <p:nvPr/>
        </p:nvCxnSpPr>
        <p:spPr>
          <a:xfrm flipH="1">
            <a:off x="6573521" y="3566771"/>
            <a:ext cx="771236" cy="448378"/>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a:endCxn id="105" idx="5"/>
          </p:cNvCxnSpPr>
          <p:nvPr/>
        </p:nvCxnSpPr>
        <p:spPr>
          <a:xfrm flipH="1" flipV="1">
            <a:off x="6234685" y="2558190"/>
            <a:ext cx="1110072" cy="1008582"/>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a:endCxn id="120" idx="0"/>
          </p:cNvCxnSpPr>
          <p:nvPr/>
        </p:nvCxnSpPr>
        <p:spPr>
          <a:xfrm flipH="1">
            <a:off x="6047233" y="3566771"/>
            <a:ext cx="1297524" cy="1363904"/>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a:endCxn id="140" idx="4"/>
          </p:cNvCxnSpPr>
          <p:nvPr/>
        </p:nvCxnSpPr>
        <p:spPr>
          <a:xfrm flipH="1" flipV="1">
            <a:off x="7177976" y="2486544"/>
            <a:ext cx="153334" cy="1080228"/>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sp>
        <p:nvSpPr>
          <p:cNvPr id="103" name="Oval 102"/>
          <p:cNvSpPr/>
          <p:nvPr/>
        </p:nvSpPr>
        <p:spPr>
          <a:xfrm>
            <a:off x="402539" y="1585262"/>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sp>
        <p:nvSpPr>
          <p:cNvPr id="104" name="Oval 103"/>
          <p:cNvSpPr/>
          <p:nvPr/>
        </p:nvSpPr>
        <p:spPr>
          <a:xfrm>
            <a:off x="2935504" y="4952591"/>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sp>
        <p:nvSpPr>
          <p:cNvPr id="105" name="Oval 104"/>
          <p:cNvSpPr/>
          <p:nvPr/>
        </p:nvSpPr>
        <p:spPr>
          <a:xfrm>
            <a:off x="5229882" y="1553387"/>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sp>
        <p:nvSpPr>
          <p:cNvPr id="170" name="Freeform 169"/>
          <p:cNvSpPr/>
          <p:nvPr/>
        </p:nvSpPr>
        <p:spPr>
          <a:xfrm>
            <a:off x="5071582" y="2097247"/>
            <a:ext cx="1493800" cy="413629"/>
          </a:xfrm>
          <a:custGeom>
            <a:avLst/>
            <a:gdLst>
              <a:gd name="connsiteX0" fmla="*/ 0 w 1274120"/>
              <a:gd name="connsiteY0" fmla="*/ 0 h 458593"/>
              <a:gd name="connsiteX1" fmla="*/ 1274120 w 1274120"/>
              <a:gd name="connsiteY1" fmla="*/ 0 h 458593"/>
              <a:gd name="connsiteX2" fmla="*/ 1274120 w 1274120"/>
              <a:gd name="connsiteY2" fmla="*/ 458593 h 458593"/>
              <a:gd name="connsiteX3" fmla="*/ 0 w 1274120"/>
              <a:gd name="connsiteY3" fmla="*/ 458593 h 458593"/>
              <a:gd name="connsiteX4" fmla="*/ 0 w 1274120"/>
              <a:gd name="connsiteY4" fmla="*/ 0 h 458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458593">
                <a:moveTo>
                  <a:pt x="0" y="0"/>
                </a:moveTo>
                <a:lnTo>
                  <a:pt x="1274120" y="0"/>
                </a:lnTo>
                <a:lnTo>
                  <a:pt x="1274120" y="458593"/>
                </a:lnTo>
                <a:lnTo>
                  <a:pt x="0" y="458593"/>
                </a:lnTo>
                <a:lnTo>
                  <a:pt x="0" y="0"/>
                </a:lnTo>
                <a:close/>
              </a:path>
            </a:pathLst>
          </a:custGeom>
          <a:noFill/>
          <a:ln>
            <a:noFill/>
          </a:ln>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Demand </a:t>
            </a:r>
            <a:br>
              <a:rPr lang="en-US" sz="1100" dirty="0" smtClean="0">
                <a:solidFill>
                  <a:srgbClr val="002060"/>
                </a:solidFill>
                <a:ea typeface="Cambria Math" pitchFamily="18" charset="0"/>
                <a:cs typeface="Arial"/>
              </a:rPr>
            </a:br>
            <a:r>
              <a:rPr lang="en-US" sz="1100" dirty="0" smtClean="0">
                <a:solidFill>
                  <a:srgbClr val="002060"/>
                </a:solidFill>
                <a:ea typeface="Cambria Math" pitchFamily="18" charset="0"/>
                <a:cs typeface="Arial"/>
              </a:rPr>
              <a:t>Responsive </a:t>
            </a:r>
            <a:br>
              <a:rPr lang="en-US" sz="1100" dirty="0" smtClean="0">
                <a:solidFill>
                  <a:srgbClr val="002060"/>
                </a:solidFill>
                <a:ea typeface="Cambria Math" pitchFamily="18" charset="0"/>
                <a:cs typeface="Arial"/>
              </a:rPr>
            </a:br>
            <a:r>
              <a:rPr lang="en-US" sz="1100" dirty="0" smtClean="0">
                <a:solidFill>
                  <a:srgbClr val="002060"/>
                </a:solidFill>
                <a:ea typeface="Cambria Math" pitchFamily="18" charset="0"/>
                <a:cs typeface="Arial"/>
              </a:rPr>
              <a:t>Transport </a:t>
            </a:r>
            <a:br>
              <a:rPr lang="en-US" sz="1100" dirty="0" smtClean="0">
                <a:solidFill>
                  <a:srgbClr val="002060"/>
                </a:solidFill>
                <a:ea typeface="Cambria Math" pitchFamily="18" charset="0"/>
                <a:cs typeface="Arial"/>
              </a:rPr>
            </a:br>
            <a:r>
              <a:rPr lang="en-US" sz="1100" dirty="0" smtClean="0">
                <a:solidFill>
                  <a:srgbClr val="002060"/>
                </a:solidFill>
                <a:ea typeface="Cambria Math" pitchFamily="18" charset="0"/>
                <a:cs typeface="Arial"/>
              </a:rPr>
              <a:t>(Taxi, BRT)</a:t>
            </a:r>
            <a:endParaRPr lang="en-US" sz="1100" dirty="0">
              <a:solidFill>
                <a:srgbClr val="002060"/>
              </a:solidFill>
              <a:ea typeface="Cambria Math" pitchFamily="18" charset="0"/>
              <a:cs typeface="Arial"/>
            </a:endParaRPr>
          </a:p>
        </p:txBody>
      </p:sp>
      <p:pic>
        <p:nvPicPr>
          <p:cNvPr id="171" name="Picture 1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7585" y="1586465"/>
            <a:ext cx="441795" cy="383783"/>
          </a:xfrm>
          <a:prstGeom prst="rect">
            <a:avLst/>
          </a:prstGeom>
        </p:spPr>
      </p:pic>
      <p:sp>
        <p:nvSpPr>
          <p:cNvPr id="166" name="Oval 165"/>
          <p:cNvSpPr/>
          <p:nvPr/>
        </p:nvSpPr>
        <p:spPr>
          <a:xfrm>
            <a:off x="5396321" y="3426549"/>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67" name="Group 4"/>
          <p:cNvGrpSpPr/>
          <p:nvPr/>
        </p:nvGrpSpPr>
        <p:grpSpPr>
          <a:xfrm>
            <a:off x="5410323" y="3502858"/>
            <a:ext cx="1149196" cy="844386"/>
            <a:chOff x="7596366" y="3333584"/>
            <a:chExt cx="1274120" cy="936176"/>
          </a:xfrm>
        </p:grpSpPr>
        <p:sp>
          <p:nvSpPr>
            <p:cNvPr id="168" name="Freeform 167"/>
            <p:cNvSpPr/>
            <p:nvPr/>
          </p:nvSpPr>
          <p:spPr>
            <a:xfrm>
              <a:off x="7596366" y="3963567"/>
              <a:ext cx="1274120" cy="306193"/>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Connected Living </a:t>
              </a:r>
              <a:br>
                <a:rPr lang="en-US" sz="1100" dirty="0" smtClean="0">
                  <a:solidFill>
                    <a:srgbClr val="002060"/>
                  </a:solidFill>
                  <a:ea typeface="Cambria Math" pitchFamily="18" charset="0"/>
                  <a:cs typeface="Arial"/>
                </a:rPr>
              </a:br>
              <a:r>
                <a:rPr lang="en-US" sz="1100" dirty="0" smtClean="0">
                  <a:solidFill>
                    <a:srgbClr val="002060"/>
                  </a:solidFill>
                  <a:ea typeface="Cambria Math" pitchFamily="18" charset="0"/>
                  <a:cs typeface="Arial"/>
                </a:rPr>
                <a:t>(Including Car)</a:t>
              </a:r>
              <a:endParaRPr lang="en-US" sz="1100" dirty="0">
                <a:solidFill>
                  <a:srgbClr val="002060"/>
                </a:solidFill>
                <a:ea typeface="Cambria Math" pitchFamily="18" charset="0"/>
                <a:cs typeface="Arial"/>
              </a:endParaRPr>
            </a:p>
          </p:txBody>
        </p:sp>
        <p:pic>
          <p:nvPicPr>
            <p:cNvPr id="169" name="Picture 1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5781" y="3333584"/>
              <a:ext cx="375292" cy="506645"/>
            </a:xfrm>
            <a:prstGeom prst="rect">
              <a:avLst/>
            </a:prstGeom>
          </p:spPr>
        </p:pic>
      </p:grpSp>
      <p:sp>
        <p:nvSpPr>
          <p:cNvPr id="162" name="Oval 161"/>
          <p:cNvSpPr/>
          <p:nvPr/>
        </p:nvSpPr>
        <p:spPr>
          <a:xfrm>
            <a:off x="1961287" y="2072970"/>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63" name="Group 7"/>
          <p:cNvGrpSpPr/>
          <p:nvPr/>
        </p:nvGrpSpPr>
        <p:grpSpPr>
          <a:xfrm>
            <a:off x="1975289" y="2095572"/>
            <a:ext cx="1149197" cy="951615"/>
            <a:chOff x="2277190" y="3310116"/>
            <a:chExt cx="1274120" cy="1055061"/>
          </a:xfrm>
        </p:grpSpPr>
        <p:sp>
          <p:nvSpPr>
            <p:cNvPr id="164" name="Freeform 163"/>
            <p:cNvSpPr/>
            <p:nvPr/>
          </p:nvSpPr>
          <p:spPr>
            <a:xfrm>
              <a:off x="2277190" y="4058985"/>
              <a:ext cx="1274120" cy="306192"/>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Intercity Public Transport</a:t>
              </a:r>
              <a:endParaRPr lang="en-US" sz="1100" dirty="0">
                <a:solidFill>
                  <a:srgbClr val="002060"/>
                </a:solidFill>
                <a:ea typeface="Cambria Math" pitchFamily="18" charset="0"/>
                <a:cs typeface="Arial"/>
              </a:endParaRPr>
            </a:p>
          </p:txBody>
        </p:sp>
        <p:pic>
          <p:nvPicPr>
            <p:cNvPr id="165" name="Picture 1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98226" y="3310116"/>
              <a:ext cx="432048" cy="641590"/>
            </a:xfrm>
            <a:prstGeom prst="rect">
              <a:avLst/>
            </a:prstGeom>
          </p:spPr>
        </p:pic>
      </p:grpSp>
      <p:sp>
        <p:nvSpPr>
          <p:cNvPr id="158" name="Oval 157"/>
          <p:cNvSpPr/>
          <p:nvPr/>
        </p:nvSpPr>
        <p:spPr>
          <a:xfrm>
            <a:off x="3632070" y="1520714"/>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59" name="Group 15"/>
          <p:cNvGrpSpPr/>
          <p:nvPr/>
        </p:nvGrpSpPr>
        <p:grpSpPr>
          <a:xfrm>
            <a:off x="3646072" y="1740124"/>
            <a:ext cx="1149196" cy="734712"/>
            <a:chOff x="2277190" y="1695018"/>
            <a:chExt cx="1274120" cy="814581"/>
          </a:xfrm>
        </p:grpSpPr>
        <p:sp>
          <p:nvSpPr>
            <p:cNvPr id="160" name="Freeform 159"/>
            <p:cNvSpPr/>
            <p:nvPr/>
          </p:nvSpPr>
          <p:spPr>
            <a:xfrm>
              <a:off x="2277190" y="2203406"/>
              <a:ext cx="1274120" cy="306193"/>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Car Rental &amp; Leasing</a:t>
              </a:r>
              <a:endParaRPr lang="en-US" sz="1100" dirty="0">
                <a:solidFill>
                  <a:srgbClr val="002060"/>
                </a:solidFill>
                <a:ea typeface="Cambria Math" pitchFamily="18" charset="0"/>
                <a:cs typeface="Arial"/>
              </a:endParaRPr>
            </a:p>
          </p:txBody>
        </p:sp>
        <p:pic>
          <p:nvPicPr>
            <p:cNvPr id="161" name="Picture 1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7982" y="1695018"/>
              <a:ext cx="612537" cy="459918"/>
            </a:xfrm>
            <a:prstGeom prst="rect">
              <a:avLst/>
            </a:prstGeom>
          </p:spPr>
        </p:pic>
      </p:grpSp>
      <p:sp>
        <p:nvSpPr>
          <p:cNvPr id="154" name="Oval 153"/>
          <p:cNvSpPr/>
          <p:nvPr/>
        </p:nvSpPr>
        <p:spPr>
          <a:xfrm>
            <a:off x="2870556" y="3371927"/>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55" name="Group 154"/>
          <p:cNvGrpSpPr/>
          <p:nvPr/>
        </p:nvGrpSpPr>
        <p:grpSpPr>
          <a:xfrm>
            <a:off x="2884558" y="3534362"/>
            <a:ext cx="1149197" cy="805197"/>
            <a:chOff x="4046273" y="1569053"/>
            <a:chExt cx="1274120" cy="892727"/>
          </a:xfrm>
        </p:grpSpPr>
        <p:sp>
          <p:nvSpPr>
            <p:cNvPr id="156" name="Freeform 155"/>
            <p:cNvSpPr/>
            <p:nvPr/>
          </p:nvSpPr>
          <p:spPr>
            <a:xfrm>
              <a:off x="4046273" y="2155588"/>
              <a:ext cx="1274120" cy="306192"/>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Car Rental</a:t>
              </a:r>
              <a:endParaRPr lang="en-US" sz="1100" dirty="0">
                <a:solidFill>
                  <a:srgbClr val="002060"/>
                </a:solidFill>
                <a:ea typeface="Cambria Math" pitchFamily="18" charset="0"/>
                <a:cs typeface="Arial"/>
              </a:endParaRPr>
            </a:p>
          </p:txBody>
        </p:sp>
        <p:pic>
          <p:nvPicPr>
            <p:cNvPr id="157" name="Picture 15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8321" y="1569053"/>
              <a:ext cx="432048" cy="577373"/>
            </a:xfrm>
            <a:prstGeom prst="rect">
              <a:avLst/>
            </a:prstGeom>
          </p:spPr>
        </p:pic>
      </p:grpSp>
      <p:sp>
        <p:nvSpPr>
          <p:cNvPr id="152" name="Freeform 151"/>
          <p:cNvSpPr/>
          <p:nvPr/>
        </p:nvSpPr>
        <p:spPr>
          <a:xfrm>
            <a:off x="416541" y="2217479"/>
            <a:ext cx="1149196" cy="276171"/>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Car Sharing and Pooling</a:t>
            </a:r>
            <a:endParaRPr lang="en-US" sz="1100" dirty="0">
              <a:solidFill>
                <a:srgbClr val="002060"/>
              </a:solidFill>
              <a:ea typeface="Cambria Math" pitchFamily="18" charset="0"/>
              <a:cs typeface="Arial"/>
            </a:endParaRPr>
          </a:p>
        </p:txBody>
      </p:sp>
      <p:pic>
        <p:nvPicPr>
          <p:cNvPr id="153" name="Picture 1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2522" y="1807289"/>
            <a:ext cx="637234" cy="336979"/>
          </a:xfrm>
          <a:prstGeom prst="rect">
            <a:avLst/>
          </a:prstGeom>
        </p:spPr>
      </p:pic>
      <p:sp>
        <p:nvSpPr>
          <p:cNvPr id="148" name="Oval 147"/>
          <p:cNvSpPr/>
          <p:nvPr/>
        </p:nvSpPr>
        <p:spPr>
          <a:xfrm>
            <a:off x="598285" y="2917292"/>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sp>
        <p:nvSpPr>
          <p:cNvPr id="150" name="Freeform 149"/>
          <p:cNvSpPr/>
          <p:nvPr/>
        </p:nvSpPr>
        <p:spPr>
          <a:xfrm>
            <a:off x="612287" y="3615404"/>
            <a:ext cx="1149197" cy="276171"/>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err="1" smtClean="0">
                <a:solidFill>
                  <a:srgbClr val="002060"/>
                </a:solidFill>
                <a:ea typeface="Cambria Math" pitchFamily="18" charset="0"/>
                <a:cs typeface="Arial"/>
              </a:rPr>
              <a:t>Intracity</a:t>
            </a:r>
            <a:r>
              <a:rPr lang="en-US" sz="1100" dirty="0" smtClean="0">
                <a:solidFill>
                  <a:srgbClr val="002060"/>
                </a:solidFill>
                <a:ea typeface="Cambria Math" pitchFamily="18" charset="0"/>
                <a:cs typeface="Arial"/>
              </a:rPr>
              <a:t> Public Transport</a:t>
            </a:r>
            <a:endParaRPr lang="en-US" sz="1100" dirty="0">
              <a:solidFill>
                <a:srgbClr val="002060"/>
              </a:solidFill>
              <a:ea typeface="Cambria Math" pitchFamily="18" charset="0"/>
              <a:cs typeface="Arial"/>
            </a:endParaRPr>
          </a:p>
        </p:txBody>
      </p:sp>
      <p:pic>
        <p:nvPicPr>
          <p:cNvPr id="151" name="Picture 150" descr="icon_bus.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9352" y="2982240"/>
            <a:ext cx="475068" cy="475067"/>
          </a:xfrm>
          <a:prstGeom prst="rect">
            <a:avLst/>
          </a:prstGeom>
        </p:spPr>
      </p:pic>
      <p:sp>
        <p:nvSpPr>
          <p:cNvPr id="144" name="Oval 143"/>
          <p:cNvSpPr/>
          <p:nvPr/>
        </p:nvSpPr>
        <p:spPr>
          <a:xfrm>
            <a:off x="1636548" y="4086353"/>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45" name="Group 29"/>
          <p:cNvGrpSpPr/>
          <p:nvPr/>
        </p:nvGrpSpPr>
        <p:grpSpPr>
          <a:xfrm>
            <a:off x="1650550" y="4233422"/>
            <a:ext cx="1149197" cy="885249"/>
            <a:chOff x="2277190" y="5136393"/>
            <a:chExt cx="1274120" cy="981481"/>
          </a:xfrm>
        </p:grpSpPr>
        <p:sp>
          <p:nvSpPr>
            <p:cNvPr id="146" name="Freeform 145"/>
            <p:cNvSpPr/>
            <p:nvPr/>
          </p:nvSpPr>
          <p:spPr>
            <a:xfrm>
              <a:off x="2277190" y="5811682"/>
              <a:ext cx="1274120" cy="306192"/>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PHYD </a:t>
              </a:r>
              <a:br>
                <a:rPr lang="en-US" sz="1100" dirty="0" smtClean="0">
                  <a:solidFill>
                    <a:srgbClr val="002060"/>
                  </a:solidFill>
                  <a:ea typeface="Cambria Math" pitchFamily="18" charset="0"/>
                  <a:cs typeface="Arial"/>
                </a:rPr>
              </a:br>
              <a:r>
                <a:rPr lang="en-US" sz="1100" dirty="0" smtClean="0">
                  <a:solidFill>
                    <a:srgbClr val="002060"/>
                  </a:solidFill>
                  <a:ea typeface="Cambria Math" pitchFamily="18" charset="0"/>
                  <a:cs typeface="Arial"/>
                </a:rPr>
                <a:t>Insurance</a:t>
              </a:r>
              <a:endParaRPr lang="en-US" sz="1100" dirty="0">
                <a:solidFill>
                  <a:srgbClr val="002060"/>
                </a:solidFill>
                <a:ea typeface="Cambria Math" pitchFamily="18" charset="0"/>
                <a:cs typeface="Arial"/>
              </a:endParaRPr>
            </a:p>
          </p:txBody>
        </p:sp>
        <p:pic>
          <p:nvPicPr>
            <p:cNvPr id="147" name="Picture 1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98227" y="5136393"/>
              <a:ext cx="432047" cy="619894"/>
            </a:xfrm>
            <a:prstGeom prst="rect">
              <a:avLst/>
            </a:prstGeom>
          </p:spPr>
        </p:pic>
      </p:grpSp>
      <p:sp>
        <p:nvSpPr>
          <p:cNvPr id="140" name="Oval 139"/>
          <p:cNvSpPr/>
          <p:nvPr/>
        </p:nvSpPr>
        <p:spPr>
          <a:xfrm>
            <a:off x="6589376" y="1309344"/>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41" name="Group 21"/>
          <p:cNvGrpSpPr/>
          <p:nvPr/>
        </p:nvGrpSpPr>
        <p:grpSpPr>
          <a:xfrm>
            <a:off x="6603378" y="1439241"/>
            <a:ext cx="1149196" cy="705027"/>
            <a:chOff x="7584439" y="1680112"/>
            <a:chExt cx="1274120" cy="781668"/>
          </a:xfrm>
        </p:grpSpPr>
        <p:sp>
          <p:nvSpPr>
            <p:cNvPr id="142" name="Freeform 141"/>
            <p:cNvSpPr/>
            <p:nvPr/>
          </p:nvSpPr>
          <p:spPr>
            <a:xfrm>
              <a:off x="7584439" y="2155588"/>
              <a:ext cx="1274120" cy="306192"/>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Dynamic </a:t>
              </a:r>
              <a:br>
                <a:rPr lang="en-US" sz="1100" dirty="0" smtClean="0">
                  <a:solidFill>
                    <a:srgbClr val="002060"/>
                  </a:solidFill>
                  <a:ea typeface="Cambria Math" pitchFamily="18" charset="0"/>
                  <a:cs typeface="Arial"/>
                </a:rPr>
              </a:br>
              <a:r>
                <a:rPr lang="en-US" sz="1100" dirty="0" smtClean="0">
                  <a:solidFill>
                    <a:srgbClr val="002060"/>
                  </a:solidFill>
                  <a:ea typeface="Cambria Math" pitchFamily="18" charset="0"/>
                  <a:cs typeface="Arial"/>
                </a:rPr>
                <a:t>Parking</a:t>
              </a:r>
              <a:endParaRPr lang="en-US" sz="1100" dirty="0">
                <a:solidFill>
                  <a:srgbClr val="002060"/>
                </a:solidFill>
                <a:ea typeface="Cambria Math" pitchFamily="18" charset="0"/>
                <a:cs typeface="Arial"/>
              </a:endParaRPr>
            </a:p>
          </p:txBody>
        </p:sp>
        <p:pic>
          <p:nvPicPr>
            <p:cNvPr id="143" name="Picture 14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05476" y="1680112"/>
              <a:ext cx="432047" cy="407876"/>
            </a:xfrm>
            <a:prstGeom prst="rect">
              <a:avLst/>
            </a:prstGeom>
          </p:spPr>
        </p:pic>
      </p:grpSp>
      <p:sp>
        <p:nvSpPr>
          <p:cNvPr id="136" name="Oval 135"/>
          <p:cNvSpPr/>
          <p:nvPr/>
        </p:nvSpPr>
        <p:spPr>
          <a:xfrm>
            <a:off x="6734533" y="4879253"/>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37" name="Group 23"/>
          <p:cNvGrpSpPr/>
          <p:nvPr/>
        </p:nvGrpSpPr>
        <p:grpSpPr>
          <a:xfrm>
            <a:off x="6748535" y="4944202"/>
            <a:ext cx="1149196" cy="890051"/>
            <a:chOff x="7584439" y="5178500"/>
            <a:chExt cx="1274120" cy="986804"/>
          </a:xfrm>
        </p:grpSpPr>
        <p:sp>
          <p:nvSpPr>
            <p:cNvPr id="138" name="Freeform 137"/>
            <p:cNvSpPr/>
            <p:nvPr/>
          </p:nvSpPr>
          <p:spPr>
            <a:xfrm>
              <a:off x="7584439" y="5859112"/>
              <a:ext cx="1274120" cy="306192"/>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Concierge Services</a:t>
              </a:r>
            </a:p>
          </p:txBody>
        </p:sp>
        <p:pic>
          <p:nvPicPr>
            <p:cNvPr id="139" name="Picture 13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05475" y="5178500"/>
              <a:ext cx="432048" cy="616914"/>
            </a:xfrm>
            <a:prstGeom prst="rect">
              <a:avLst/>
            </a:prstGeom>
          </p:spPr>
        </p:pic>
      </p:grpSp>
      <p:sp>
        <p:nvSpPr>
          <p:cNvPr id="134" name="Freeform 133"/>
          <p:cNvSpPr/>
          <p:nvPr/>
        </p:nvSpPr>
        <p:spPr>
          <a:xfrm>
            <a:off x="2949506" y="5667017"/>
            <a:ext cx="1149196" cy="276171"/>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Energy Management</a:t>
            </a:r>
            <a:endParaRPr lang="en-US" sz="1100" dirty="0">
              <a:solidFill>
                <a:srgbClr val="002060"/>
              </a:solidFill>
              <a:ea typeface="Cambria Math" pitchFamily="18" charset="0"/>
              <a:cs typeface="Arial"/>
            </a:endParaRPr>
          </a:p>
        </p:txBody>
      </p:sp>
      <p:pic>
        <p:nvPicPr>
          <p:cNvPr id="135" name="Picture 1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93312" y="5080771"/>
            <a:ext cx="461584" cy="513447"/>
          </a:xfrm>
          <a:prstGeom prst="rect">
            <a:avLst/>
          </a:prstGeom>
        </p:spPr>
      </p:pic>
      <p:sp>
        <p:nvSpPr>
          <p:cNvPr id="130" name="Oval 129"/>
          <p:cNvSpPr/>
          <p:nvPr/>
        </p:nvSpPr>
        <p:spPr>
          <a:xfrm>
            <a:off x="4227260" y="4346144"/>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31" name="Group 3"/>
          <p:cNvGrpSpPr/>
          <p:nvPr/>
        </p:nvGrpSpPr>
        <p:grpSpPr>
          <a:xfrm>
            <a:off x="4241523" y="4571149"/>
            <a:ext cx="1149196" cy="729377"/>
            <a:chOff x="5771144" y="3556512"/>
            <a:chExt cx="1274120" cy="808665"/>
          </a:xfrm>
        </p:grpSpPr>
        <p:sp>
          <p:nvSpPr>
            <p:cNvPr id="132" name="Freeform 131"/>
            <p:cNvSpPr/>
            <p:nvPr/>
          </p:nvSpPr>
          <p:spPr>
            <a:xfrm>
              <a:off x="5771144" y="4058985"/>
              <a:ext cx="1274120" cy="306192"/>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Micro-mobility Solutions</a:t>
              </a:r>
              <a:endParaRPr lang="en-US" sz="1100" dirty="0">
                <a:solidFill>
                  <a:srgbClr val="002060"/>
                </a:solidFill>
                <a:ea typeface="Cambria Math" pitchFamily="18" charset="0"/>
                <a:cs typeface="Arial"/>
              </a:endParaRPr>
            </a:p>
          </p:txBody>
        </p:sp>
        <p:pic>
          <p:nvPicPr>
            <p:cNvPr id="133" name="Picture 13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35426" y="3556512"/>
              <a:ext cx="745556" cy="371523"/>
            </a:xfrm>
            <a:prstGeom prst="rect">
              <a:avLst/>
            </a:prstGeom>
          </p:spPr>
        </p:pic>
      </p:grpSp>
      <p:sp>
        <p:nvSpPr>
          <p:cNvPr id="126" name="Oval 125"/>
          <p:cNvSpPr/>
          <p:nvPr/>
        </p:nvSpPr>
        <p:spPr>
          <a:xfrm>
            <a:off x="379626" y="4822695"/>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grpSp>
        <p:nvGrpSpPr>
          <p:cNvPr id="127" name="Group 11"/>
          <p:cNvGrpSpPr/>
          <p:nvPr/>
        </p:nvGrpSpPr>
        <p:grpSpPr>
          <a:xfrm>
            <a:off x="393628" y="4900458"/>
            <a:ext cx="1149196" cy="994076"/>
            <a:chOff x="444554" y="5076566"/>
            <a:chExt cx="1274120" cy="1102139"/>
          </a:xfrm>
        </p:grpSpPr>
        <p:sp>
          <p:nvSpPr>
            <p:cNvPr id="128" name="Freeform 127"/>
            <p:cNvSpPr/>
            <p:nvPr/>
          </p:nvSpPr>
          <p:spPr>
            <a:xfrm>
              <a:off x="444554" y="5872514"/>
              <a:ext cx="1274120" cy="306191"/>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Trains/Flights Integration</a:t>
              </a:r>
              <a:endParaRPr lang="en-US" sz="1100" dirty="0">
                <a:solidFill>
                  <a:srgbClr val="002060"/>
                </a:solidFill>
                <a:ea typeface="Cambria Math" pitchFamily="18" charset="0"/>
                <a:cs typeface="Arial"/>
              </a:endParaRPr>
            </a:p>
          </p:txBody>
        </p:sp>
        <p:pic>
          <p:nvPicPr>
            <p:cNvPr id="129" name="Picture 1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47732" y="5076566"/>
              <a:ext cx="667764" cy="708308"/>
            </a:xfrm>
            <a:prstGeom prst="rect">
              <a:avLst/>
            </a:prstGeom>
          </p:spPr>
        </p:pic>
      </p:grpSp>
      <p:sp>
        <p:nvSpPr>
          <p:cNvPr id="120" name="Oval 119"/>
          <p:cNvSpPr/>
          <p:nvPr/>
        </p:nvSpPr>
        <p:spPr>
          <a:xfrm>
            <a:off x="5458633" y="4930675"/>
            <a:ext cx="1177200" cy="1177200"/>
          </a:xfrm>
          <a:prstGeom prst="ellipse">
            <a:avLst/>
          </a:prstGeom>
          <a:solidFill>
            <a:schemeClr val="bg1"/>
          </a:solidFill>
          <a:ln w="635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002060"/>
              </a:solidFill>
              <a:ea typeface="Cambria Math" pitchFamily="18" charset="0"/>
            </a:endParaRPr>
          </a:p>
        </p:txBody>
      </p:sp>
      <p:sp>
        <p:nvSpPr>
          <p:cNvPr id="121" name="Freeform 120"/>
          <p:cNvSpPr/>
          <p:nvPr/>
        </p:nvSpPr>
        <p:spPr>
          <a:xfrm>
            <a:off x="5525844" y="5601261"/>
            <a:ext cx="1042778" cy="276171"/>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100" dirty="0" smtClean="0">
                <a:solidFill>
                  <a:srgbClr val="002060"/>
                </a:solidFill>
                <a:ea typeface="Cambria Math" pitchFamily="18" charset="0"/>
                <a:cs typeface="Arial"/>
              </a:rPr>
              <a:t>Apps, Journey Planning, Big Data</a:t>
            </a:r>
            <a:endParaRPr lang="en-US" sz="1100" dirty="0">
              <a:solidFill>
                <a:srgbClr val="002060"/>
              </a:solidFill>
              <a:ea typeface="Cambria Math" pitchFamily="18" charset="0"/>
              <a:cs typeface="Arial"/>
            </a:endParaRPr>
          </a:p>
        </p:txBody>
      </p:sp>
      <p:pic>
        <p:nvPicPr>
          <p:cNvPr id="122" name="Picture 12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828601" y="5027116"/>
            <a:ext cx="437265" cy="440737"/>
          </a:xfrm>
          <a:prstGeom prst="rect">
            <a:avLst/>
          </a:prstGeom>
        </p:spPr>
      </p:pic>
      <p:cxnSp>
        <p:nvCxnSpPr>
          <p:cNvPr id="124" name="Straight Connector 123"/>
          <p:cNvCxnSpPr>
            <a:endCxn id="136" idx="0"/>
          </p:cNvCxnSpPr>
          <p:nvPr/>
        </p:nvCxnSpPr>
        <p:spPr>
          <a:xfrm flipH="1">
            <a:off x="7323133" y="3566771"/>
            <a:ext cx="8178" cy="1312482"/>
          </a:xfrm>
          <a:prstGeom prst="line">
            <a:avLst/>
          </a:prstGeom>
          <a:ln w="12700" cmpd="sng">
            <a:solidFill>
              <a:schemeClr val="accent2"/>
            </a:solidFill>
            <a:headEnd type="oval" w="med" len="med"/>
            <a:tailEnd type="triangle" w="lg" len="med"/>
          </a:ln>
          <a:effectLst/>
        </p:spPr>
        <p:style>
          <a:lnRef idx="2">
            <a:schemeClr val="accent1"/>
          </a:lnRef>
          <a:fillRef idx="0">
            <a:schemeClr val="accent1"/>
          </a:fillRef>
          <a:effectRef idx="1">
            <a:schemeClr val="accent1"/>
          </a:effectRef>
          <a:fontRef idx="minor">
            <a:schemeClr val="tx1"/>
          </a:fontRef>
        </p:style>
      </p:cxnSp>
      <p:pic>
        <p:nvPicPr>
          <p:cNvPr id="172" name="Picture 4" descr="http://uits.arizona.edu/sites/default/files/mobile%20devices.jpg"/>
          <p:cNvPicPr>
            <a:picLocks noChangeAspect="1" noChangeArrowheads="1"/>
          </p:cNvPicPr>
          <p:nvPr/>
        </p:nvPicPr>
        <p:blipFill rotWithShape="1">
          <a:blip r:embed="rId16" cstate="print"/>
          <a:srcRect t="2351"/>
          <a:stretch/>
        </p:blipFill>
        <p:spPr bwMode="auto">
          <a:xfrm>
            <a:off x="7344836" y="2894840"/>
            <a:ext cx="1475502" cy="1444719"/>
          </a:xfrm>
          <a:prstGeom prst="rect">
            <a:avLst/>
          </a:prstGeom>
          <a:noFill/>
        </p:spPr>
      </p:pic>
      <p:sp>
        <p:nvSpPr>
          <p:cNvPr id="176" name="Title 1"/>
          <p:cNvSpPr txBox="1">
            <a:spLocks/>
          </p:cNvSpPr>
          <p:nvPr/>
        </p:nvSpPr>
        <p:spPr bwMode="auto">
          <a:xfrm>
            <a:off x="192405" y="152936"/>
            <a:ext cx="87184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smtClean="0">
                <a:solidFill>
                  <a:srgbClr val="06325C"/>
                </a:solidFill>
                <a:ea typeface="Cambria Math" pitchFamily="18" charset="0"/>
              </a:rPr>
              <a:t>Tech Enabled</a:t>
            </a:r>
            <a:r>
              <a:rPr lang="en-IN" sz="2000" dirty="0">
                <a:solidFill>
                  <a:srgbClr val="06325C"/>
                </a:solidFill>
                <a:ea typeface="Cambria Math" pitchFamily="18" charset="0"/>
              </a:rPr>
              <a:t>, </a:t>
            </a:r>
            <a:r>
              <a:rPr lang="en-IN" sz="2000" dirty="0" smtClean="0">
                <a:solidFill>
                  <a:srgbClr val="06325C"/>
                </a:solidFill>
                <a:ea typeface="Cambria Math" pitchFamily="18" charset="0"/>
              </a:rPr>
              <a:t>Door-to-Door</a:t>
            </a:r>
            <a:r>
              <a:rPr lang="en-IN" sz="2000" dirty="0">
                <a:solidFill>
                  <a:srgbClr val="06325C"/>
                </a:solidFill>
                <a:ea typeface="Cambria Math" pitchFamily="18" charset="0"/>
              </a:rPr>
              <a:t>, </a:t>
            </a:r>
            <a:r>
              <a:rPr lang="en-IN" sz="2000" dirty="0" smtClean="0">
                <a:solidFill>
                  <a:srgbClr val="06325C"/>
                </a:solidFill>
                <a:ea typeface="Cambria Math" pitchFamily="18" charset="0"/>
              </a:rPr>
              <a:t>Multi-Modal Travel Bringing Convenience</a:t>
            </a:r>
            <a:r>
              <a:rPr lang="en-IN" sz="2000" dirty="0">
                <a:solidFill>
                  <a:srgbClr val="06325C"/>
                </a:solidFill>
                <a:ea typeface="Cambria Math" pitchFamily="18" charset="0"/>
              </a:rPr>
              <a:t>, </a:t>
            </a:r>
            <a:r>
              <a:rPr lang="en-IN" sz="2000" dirty="0" smtClean="0">
                <a:solidFill>
                  <a:srgbClr val="06325C"/>
                </a:solidFill>
                <a:ea typeface="Cambria Math" pitchFamily="18" charset="0"/>
              </a:rPr>
              <a:t>Time </a:t>
            </a:r>
            <a:r>
              <a:rPr lang="en-IN" sz="2000" dirty="0">
                <a:solidFill>
                  <a:srgbClr val="06325C"/>
                </a:solidFill>
                <a:ea typeface="Cambria Math" pitchFamily="18" charset="0"/>
              </a:rPr>
              <a:t>&amp; </a:t>
            </a:r>
            <a:r>
              <a:rPr lang="en-IN" sz="2000" dirty="0" smtClean="0">
                <a:solidFill>
                  <a:srgbClr val="06325C"/>
                </a:solidFill>
                <a:ea typeface="Cambria Math" pitchFamily="18" charset="0"/>
              </a:rPr>
              <a:t>Cost Savings</a:t>
            </a:r>
            <a:endParaRPr lang="en-IN" sz="2000" dirty="0">
              <a:solidFill>
                <a:srgbClr val="06325C"/>
              </a:solidFill>
              <a:ea typeface="Cambria Math" pitchFamily="18" charset="0"/>
            </a:endParaRPr>
          </a:p>
        </p:txBody>
      </p:sp>
      <p:sp>
        <p:nvSpPr>
          <p:cNvPr id="70"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a:t>
            </a:r>
            <a:r>
              <a:rPr lang="en-US" sz="900" dirty="0" smtClean="0">
                <a:solidFill>
                  <a:srgbClr val="517496"/>
                </a:solidFill>
              </a:rPr>
              <a:t>Sullivan</a:t>
            </a:r>
            <a:endParaRPr lang="en-US" sz="900" dirty="0">
              <a:solidFill>
                <a:srgbClr val="517496"/>
              </a:solidFill>
            </a:endParaRPr>
          </a:p>
        </p:txBody>
      </p:sp>
    </p:spTree>
    <p:extLst>
      <p:ext uri="{BB962C8B-B14F-4D97-AF65-F5344CB8AC3E}">
        <p14:creationId xmlns:p14="http://schemas.microsoft.com/office/powerpoint/2010/main" val="15003361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txBox="1">
            <a:spLocks/>
          </p:cNvSpPr>
          <p:nvPr/>
        </p:nvSpPr>
        <p:spPr>
          <a:xfrm>
            <a:off x="179512" y="116557"/>
            <a:ext cx="8841948" cy="792163"/>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0" cap="none" spc="0" normalizeH="0" baseline="0" noProof="0" dirty="0" smtClean="0">
                <a:ln>
                  <a:noFill/>
                </a:ln>
                <a:solidFill>
                  <a:srgbClr val="17426B"/>
                </a:solidFill>
                <a:effectLst/>
                <a:uLnTx/>
                <a:uFillTx/>
                <a:latin typeface="Arial" pitchFamily="34" charset="0"/>
                <a:ea typeface="+mj-ea"/>
                <a:cs typeface="Arial" pitchFamily="34" charset="0"/>
              </a:rPr>
              <a:t>Mobility</a:t>
            </a:r>
            <a:r>
              <a:rPr kumimoji="0" lang="en-GB" sz="2000" b="1" i="0" u="none" strike="noStrike" kern="0" cap="none" spc="0" normalizeH="0" noProof="0" dirty="0" smtClean="0">
                <a:ln>
                  <a:noFill/>
                </a:ln>
                <a:solidFill>
                  <a:srgbClr val="17426B"/>
                </a:solidFill>
                <a:effectLst/>
                <a:uLnTx/>
                <a:uFillTx/>
                <a:latin typeface="Arial" pitchFamily="34" charset="0"/>
                <a:ea typeface="+mj-ea"/>
                <a:cs typeface="Arial" pitchFamily="34" charset="0"/>
              </a:rPr>
              <a:t> Landscape – Many Actors, New Partnerships, New Models</a:t>
            </a:r>
            <a:r>
              <a:rPr kumimoji="0" lang="en-GB" sz="2000" b="1" i="0" u="none" strike="noStrike" kern="0" cap="none" spc="0" normalizeH="0" baseline="0" noProof="0" dirty="0" smtClean="0">
                <a:ln>
                  <a:noFill/>
                </a:ln>
                <a:solidFill>
                  <a:srgbClr val="17426B"/>
                </a:solidFill>
                <a:effectLst/>
                <a:uLnTx/>
                <a:uFillTx/>
                <a:latin typeface="Arial" pitchFamily="34" charset="0"/>
                <a:ea typeface="+mj-ea"/>
                <a:cs typeface="Arial" pitchFamily="34" charset="0"/>
              </a:rPr>
              <a:t/>
            </a:r>
            <a:br>
              <a:rPr kumimoji="0" lang="en-GB" sz="2000" b="1" i="0" u="none" strike="noStrike" kern="0" cap="none" spc="0" normalizeH="0" baseline="0" noProof="0" dirty="0" smtClean="0">
                <a:ln>
                  <a:noFill/>
                </a:ln>
                <a:solidFill>
                  <a:srgbClr val="17426B"/>
                </a:solidFill>
                <a:effectLst/>
                <a:uLnTx/>
                <a:uFillTx/>
                <a:latin typeface="Arial" pitchFamily="34" charset="0"/>
                <a:ea typeface="+mj-ea"/>
                <a:cs typeface="Arial" pitchFamily="34" charset="0"/>
              </a:rPr>
            </a:br>
            <a:r>
              <a:rPr lang="en-GB" sz="1500" kern="0" noProof="0" dirty="0" smtClean="0">
                <a:solidFill>
                  <a:srgbClr val="17426B"/>
                </a:solidFill>
                <a:latin typeface="Arial" pitchFamily="34" charset="0"/>
                <a:ea typeface="+mj-ea"/>
                <a:cs typeface="Arial" pitchFamily="34" charset="0"/>
              </a:rPr>
              <a:t>Across Consumer and Business </a:t>
            </a:r>
            <a:r>
              <a:rPr lang="en-GB" sz="1500" kern="0" dirty="0" smtClean="0">
                <a:solidFill>
                  <a:srgbClr val="17426B"/>
                </a:solidFill>
                <a:latin typeface="Arial" pitchFamily="34" charset="0"/>
                <a:ea typeface="+mj-ea"/>
                <a:cs typeface="Arial" pitchFamily="34" charset="0"/>
              </a:rPr>
              <a:t>environments customers </a:t>
            </a:r>
            <a:r>
              <a:rPr kumimoji="0" lang="en-GB" sz="1500" b="0" i="0" u="none" strike="noStrike" kern="0" cap="none" spc="0" normalizeH="0" noProof="0" dirty="0" smtClean="0">
                <a:ln>
                  <a:noFill/>
                </a:ln>
                <a:solidFill>
                  <a:srgbClr val="17426B"/>
                </a:solidFill>
                <a:effectLst/>
                <a:uLnTx/>
                <a:uFillTx/>
                <a:latin typeface="Arial" pitchFamily="34" charset="0"/>
                <a:ea typeface="+mj-ea"/>
                <a:cs typeface="Arial" pitchFamily="34" charset="0"/>
              </a:rPr>
              <a:t>are demanding intuitive services; many actors investing significantly to deliver the ‘killer’ proposition</a:t>
            </a:r>
            <a:r>
              <a:rPr lang="en-GB" sz="1500" kern="0" dirty="0" smtClean="0">
                <a:solidFill>
                  <a:srgbClr val="17426B"/>
                </a:solidFill>
                <a:latin typeface="Arial" pitchFamily="34" charset="0"/>
                <a:ea typeface="+mj-ea"/>
                <a:cs typeface="Arial" pitchFamily="34" charset="0"/>
              </a:rPr>
              <a:t> &amp; seamless user experience</a:t>
            </a:r>
            <a:endParaRPr kumimoji="0" lang="en-GB" sz="1500" b="1" i="1" u="none" strike="noStrike" kern="0" cap="none" spc="0" normalizeH="0" baseline="0" noProof="0" dirty="0">
              <a:ln>
                <a:noFill/>
              </a:ln>
              <a:solidFill>
                <a:srgbClr val="17426B"/>
              </a:solidFill>
              <a:effectLst/>
              <a:uLnTx/>
              <a:uFillTx/>
              <a:latin typeface="Arial" pitchFamily="34" charset="0"/>
              <a:ea typeface="+mj-ea"/>
              <a:cs typeface="Arial" pitchFamily="34" charset="0"/>
            </a:endParaRP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702" y="1264993"/>
            <a:ext cx="8694434" cy="5040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51958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
          <p:cNvSpPr>
            <a:spLocks noGrp="1" noChangeArrowheads="1"/>
          </p:cNvSpPr>
          <p:nvPr>
            <p:ph type="title"/>
          </p:nvPr>
        </p:nvSpPr>
        <p:spPr>
          <a:xfrm>
            <a:off x="261260" y="152400"/>
            <a:ext cx="8991600" cy="762000"/>
          </a:xfrm>
          <a:ln>
            <a:noFill/>
          </a:ln>
        </p:spPr>
        <p:txBody>
          <a:bodyPr/>
          <a:lstStyle/>
          <a:p>
            <a:r>
              <a:rPr lang="en-US" sz="2000" dirty="0" smtClean="0">
                <a:solidFill>
                  <a:schemeClr val="tx2"/>
                </a:solidFill>
              </a:rPr>
              <a:t>Intelligent Mobility—An Emerging Concept that Revolutionizes Mobility</a:t>
            </a:r>
            <a:r>
              <a:rPr lang="en-US" dirty="0" smtClean="0">
                <a:solidFill>
                  <a:schemeClr val="tx2"/>
                </a:solidFill>
              </a:rPr>
              <a:t/>
            </a:r>
            <a:br>
              <a:rPr lang="en-US" dirty="0" smtClean="0">
                <a:solidFill>
                  <a:schemeClr val="tx2"/>
                </a:solidFill>
              </a:rPr>
            </a:br>
            <a:r>
              <a:rPr lang="en-US" sz="1400" b="0" dirty="0" smtClean="0">
                <a:solidFill>
                  <a:schemeClr val="tx2"/>
                </a:solidFill>
                <a:latin typeface="+mn-lt"/>
              </a:rPr>
              <a:t>Intelligent </a:t>
            </a:r>
            <a:r>
              <a:rPr lang="en-US" sz="1400" b="0" dirty="0">
                <a:solidFill>
                  <a:schemeClr val="tx2"/>
                </a:solidFill>
                <a:latin typeface="+mn-lt"/>
              </a:rPr>
              <a:t>mobility aims to create vehicles that promote a eco-driving experience, insulated from crash fatalities and tuned to combat </a:t>
            </a:r>
            <a:r>
              <a:rPr lang="en-US" sz="1400" b="0" dirty="0" smtClean="0">
                <a:solidFill>
                  <a:schemeClr val="tx2"/>
                </a:solidFill>
                <a:latin typeface="+mn-lt"/>
              </a:rPr>
              <a:t>congestion.</a:t>
            </a:r>
          </a:p>
        </p:txBody>
      </p:sp>
      <p:pic>
        <p:nvPicPr>
          <p:cNvPr id="29" name="Picture 28" descr="mercedes-autonomous-driving.jpg"/>
          <p:cNvPicPr>
            <a:picLocks noChangeAspect="1"/>
          </p:cNvPicPr>
          <p:nvPr/>
        </p:nvPicPr>
        <p:blipFill>
          <a:blip r:embed="rId3" cstate="print">
            <a:alphaModFix amt="60000"/>
          </a:blip>
          <a:stretch>
            <a:fillRect/>
          </a:stretch>
        </p:blipFill>
        <p:spPr>
          <a:xfrm>
            <a:off x="1800754" y="4240322"/>
            <a:ext cx="1564285" cy="1497720"/>
          </a:xfrm>
          <a:prstGeom prst="ellipse">
            <a:avLst/>
          </a:prstGeom>
          <a:ln w="63500" cap="rnd">
            <a:solidFill>
              <a:schemeClr val="bg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TextBox 34"/>
          <p:cNvSpPr txBox="1"/>
          <p:nvPr/>
        </p:nvSpPr>
        <p:spPr>
          <a:xfrm>
            <a:off x="1530958" y="5748222"/>
            <a:ext cx="1899530" cy="523220"/>
          </a:xfrm>
          <a:prstGeom prst="rect">
            <a:avLst/>
          </a:prstGeom>
          <a:noFill/>
        </p:spPr>
        <p:txBody>
          <a:bodyPr wrap="square" rtlCol="0">
            <a:spAutoFit/>
          </a:bodyPr>
          <a:lstStyle/>
          <a:p>
            <a:pPr algn="ctr" fontAlgn="base">
              <a:spcBef>
                <a:spcPct val="0"/>
              </a:spcBef>
              <a:spcAft>
                <a:spcPct val="0"/>
              </a:spcAft>
            </a:pPr>
            <a:r>
              <a:rPr lang="en-GB" sz="1400" b="1" dirty="0" smtClean="0">
                <a:solidFill>
                  <a:srgbClr val="404027"/>
                </a:solidFill>
              </a:rPr>
              <a:t>Connected &amp; Automated Mobility</a:t>
            </a:r>
            <a:endParaRPr lang="en-GB" sz="1400" b="1" dirty="0">
              <a:solidFill>
                <a:srgbClr val="404027"/>
              </a:solidFill>
            </a:endParaRPr>
          </a:p>
        </p:txBody>
      </p:sp>
      <p:sp>
        <p:nvSpPr>
          <p:cNvPr id="36" name="TextBox 35"/>
          <p:cNvSpPr txBox="1"/>
          <p:nvPr/>
        </p:nvSpPr>
        <p:spPr>
          <a:xfrm>
            <a:off x="4862058" y="5735245"/>
            <a:ext cx="1386342" cy="523220"/>
          </a:xfrm>
          <a:prstGeom prst="rect">
            <a:avLst/>
          </a:prstGeom>
          <a:noFill/>
        </p:spPr>
        <p:txBody>
          <a:bodyPr wrap="square" rtlCol="0">
            <a:spAutoFit/>
          </a:bodyPr>
          <a:lstStyle/>
          <a:p>
            <a:pPr algn="ctr" fontAlgn="base">
              <a:spcBef>
                <a:spcPct val="0"/>
              </a:spcBef>
              <a:spcAft>
                <a:spcPct val="0"/>
              </a:spcAft>
            </a:pPr>
            <a:r>
              <a:rPr lang="en-GB" sz="1400" b="1" dirty="0" smtClean="0"/>
              <a:t>New Mobility Models</a:t>
            </a:r>
            <a:endParaRPr lang="en-GB" sz="1400" b="1" dirty="0"/>
          </a:p>
        </p:txBody>
      </p:sp>
      <p:sp>
        <p:nvSpPr>
          <p:cNvPr id="38" name="TextBox 37"/>
          <p:cNvSpPr txBox="1"/>
          <p:nvPr/>
        </p:nvSpPr>
        <p:spPr>
          <a:xfrm>
            <a:off x="3266766" y="5750454"/>
            <a:ext cx="1545160" cy="523220"/>
          </a:xfrm>
          <a:prstGeom prst="rect">
            <a:avLst/>
          </a:prstGeom>
          <a:noFill/>
        </p:spPr>
        <p:txBody>
          <a:bodyPr wrap="square" rtlCol="0">
            <a:spAutoFit/>
          </a:bodyPr>
          <a:lstStyle/>
          <a:p>
            <a:pPr algn="ctr" fontAlgn="base">
              <a:spcBef>
                <a:spcPct val="0"/>
              </a:spcBef>
              <a:spcAft>
                <a:spcPct val="0"/>
              </a:spcAft>
            </a:pPr>
            <a:r>
              <a:rPr lang="en-GB" sz="1400" b="1" dirty="0" smtClean="0">
                <a:solidFill>
                  <a:srgbClr val="404027"/>
                </a:solidFill>
              </a:rPr>
              <a:t>Smart &amp; Eco-driving</a:t>
            </a:r>
            <a:endParaRPr lang="en-GB" sz="1400" b="1" dirty="0">
              <a:solidFill>
                <a:srgbClr val="404027"/>
              </a:solidFill>
            </a:endParaRPr>
          </a:p>
        </p:txBody>
      </p:sp>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6766" y="2036396"/>
            <a:ext cx="1306133" cy="1327227"/>
          </a:xfrm>
          <a:prstGeom prst="ellipse">
            <a:avLst/>
          </a:prstGeom>
          <a:ln w="38100">
            <a:solidFill>
              <a:srgbClr val="517496"/>
            </a:solidFill>
          </a:ln>
          <a:effectLst/>
          <a:scene3d>
            <a:camera prst="orthographicFront">
              <a:rot lat="0" lon="0" rev="0"/>
            </a:camera>
            <a:lightRig rig="contrasting" dir="t">
              <a:rot lat="0" lon="0" rev="1500000"/>
            </a:lightRig>
          </a:scene3d>
          <a:sp3d prstMaterial="metal">
            <a:bevelT w="88900" h="88900"/>
          </a:sp3d>
        </p:spPr>
      </p:pic>
      <p:sp>
        <p:nvSpPr>
          <p:cNvPr id="43" name="Oval 42"/>
          <p:cNvSpPr/>
          <p:nvPr/>
        </p:nvSpPr>
        <p:spPr>
          <a:xfrm>
            <a:off x="4875670" y="2051232"/>
            <a:ext cx="1315397" cy="1312390"/>
          </a:xfrm>
          <a:prstGeom prst="ellipse">
            <a:avLst/>
          </a:prstGeom>
          <a:solidFill>
            <a:srgbClr val="FFFFFF"/>
          </a:solidFill>
          <a:ln w="38100">
            <a:solidFill>
              <a:srgbClr val="517496"/>
            </a:solidFill>
          </a:ln>
          <a:effectLst/>
          <a:scene3d>
            <a:camera prst="orthographicFront">
              <a:rot lat="0" lon="0" rev="0"/>
            </a:camera>
            <a:lightRig rig="contrasting" dir="t">
              <a:rot lat="0" lon="0" rev="1500000"/>
            </a:lightRig>
          </a:scene3d>
          <a:sp3d prstMaterial="metal">
            <a:bevelT w="88900" h="88900"/>
          </a:sp3d>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sz="1200" dirty="0">
              <a:solidFill>
                <a:srgbClr val="002060"/>
              </a:solidFill>
              <a:ea typeface="Cambria Math" pitchFamily="18" charset="0"/>
            </a:endParaRPr>
          </a:p>
        </p:txBody>
      </p:sp>
      <p:sp>
        <p:nvSpPr>
          <p:cNvPr id="44" name="Freeform 6"/>
          <p:cNvSpPr/>
          <p:nvPr/>
        </p:nvSpPr>
        <p:spPr>
          <a:xfrm>
            <a:off x="5031252" y="2475593"/>
            <a:ext cx="1004233" cy="189595"/>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000" dirty="0" smtClean="0">
                <a:solidFill>
                  <a:srgbClr val="002060"/>
                </a:solidFill>
                <a:ea typeface="Cambria Math" pitchFamily="18" charset="0"/>
                <a:cs typeface="Arial"/>
              </a:rPr>
              <a:t>Car Sharing</a:t>
            </a:r>
            <a:endParaRPr lang="en-US" sz="1000" dirty="0">
              <a:solidFill>
                <a:srgbClr val="002060"/>
              </a:solidFill>
              <a:ea typeface="Cambria Math" pitchFamily="18" charset="0"/>
              <a:cs typeface="Arial"/>
            </a:endParaRPr>
          </a:p>
        </p:txBody>
      </p:sp>
      <p:pic>
        <p:nvPicPr>
          <p:cNvPr id="45" name="Picture 3" descr="C:\Users\MartynB\Documents\MartynAdmin\Templates\Icons\Vehicle_Sharin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73165" y="2145524"/>
            <a:ext cx="520407" cy="28919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C:\Users\MartynB\Documents\MartynAdmin\Templates\Icons\Ride_Sharin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99314" y="2716221"/>
            <a:ext cx="468108" cy="297387"/>
          </a:xfrm>
          <a:prstGeom prst="rect">
            <a:avLst/>
          </a:prstGeom>
          <a:noFill/>
          <a:extLst>
            <a:ext uri="{909E8E84-426E-40DD-AFC4-6F175D3DCCD1}">
              <a14:hiddenFill xmlns:a14="http://schemas.microsoft.com/office/drawing/2010/main">
                <a:solidFill>
                  <a:srgbClr val="FFFFFF"/>
                </a:solidFill>
              </a14:hiddenFill>
            </a:ext>
          </a:extLst>
        </p:spPr>
      </p:pic>
      <p:sp>
        <p:nvSpPr>
          <p:cNvPr id="47" name="Freeform 6"/>
          <p:cNvSpPr/>
          <p:nvPr/>
        </p:nvSpPr>
        <p:spPr>
          <a:xfrm>
            <a:off x="5031252" y="3041330"/>
            <a:ext cx="1004233" cy="188625"/>
          </a:xfrm>
          <a:custGeom>
            <a:avLst/>
            <a:gdLst>
              <a:gd name="connsiteX0" fmla="*/ 0 w 1274120"/>
              <a:gd name="connsiteY0" fmla="*/ 0 h 306192"/>
              <a:gd name="connsiteX1" fmla="*/ 1274120 w 1274120"/>
              <a:gd name="connsiteY1" fmla="*/ 0 h 306192"/>
              <a:gd name="connsiteX2" fmla="*/ 1274120 w 1274120"/>
              <a:gd name="connsiteY2" fmla="*/ 306192 h 306192"/>
              <a:gd name="connsiteX3" fmla="*/ 0 w 1274120"/>
              <a:gd name="connsiteY3" fmla="*/ 306192 h 306192"/>
              <a:gd name="connsiteX4" fmla="*/ 0 w 1274120"/>
              <a:gd name="connsiteY4" fmla="*/ 0 h 306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120" h="306192">
                <a:moveTo>
                  <a:pt x="0" y="0"/>
                </a:moveTo>
                <a:lnTo>
                  <a:pt x="1274120" y="0"/>
                </a:lnTo>
                <a:lnTo>
                  <a:pt x="1274120" y="306192"/>
                </a:lnTo>
                <a:lnTo>
                  <a:pt x="0" y="306192"/>
                </a:lnTo>
                <a:lnTo>
                  <a:pt x="0" y="0"/>
                </a:lnTo>
                <a:close/>
              </a:path>
            </a:pathLst>
          </a:custGeom>
          <a:noFill/>
          <a:ln>
            <a:noFill/>
          </a:ln>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444500">
              <a:lnSpc>
                <a:spcPct val="90000"/>
              </a:lnSpc>
              <a:spcBef>
                <a:spcPct val="0"/>
              </a:spcBef>
              <a:spcAft>
                <a:spcPct val="5000"/>
              </a:spcAft>
            </a:pPr>
            <a:r>
              <a:rPr lang="en-US" sz="1000" dirty="0" smtClean="0">
                <a:solidFill>
                  <a:srgbClr val="002060"/>
                </a:solidFill>
                <a:ea typeface="Cambria Math" pitchFamily="18" charset="0"/>
                <a:cs typeface="Arial"/>
              </a:rPr>
              <a:t>Ride Sharing</a:t>
            </a:r>
            <a:endParaRPr lang="en-US" sz="1000" dirty="0">
              <a:solidFill>
                <a:srgbClr val="002060"/>
              </a:solidFill>
              <a:ea typeface="Cambria Math" pitchFamily="18" charset="0"/>
              <a:cs typeface="Arial"/>
            </a:endParaRPr>
          </a:p>
        </p:txBody>
      </p:sp>
      <p:sp>
        <p:nvSpPr>
          <p:cNvPr id="48" name="TextBox 47"/>
          <p:cNvSpPr txBox="1"/>
          <p:nvPr/>
        </p:nvSpPr>
        <p:spPr>
          <a:xfrm>
            <a:off x="1219200" y="3409255"/>
            <a:ext cx="1899530" cy="307777"/>
          </a:xfrm>
          <a:prstGeom prst="rect">
            <a:avLst/>
          </a:prstGeom>
          <a:noFill/>
        </p:spPr>
        <p:txBody>
          <a:bodyPr wrap="square" rtlCol="0">
            <a:spAutoFit/>
          </a:bodyPr>
          <a:lstStyle/>
          <a:p>
            <a:pPr algn="ctr" fontAlgn="base">
              <a:spcBef>
                <a:spcPct val="0"/>
              </a:spcBef>
              <a:spcAft>
                <a:spcPct val="0"/>
              </a:spcAft>
            </a:pPr>
            <a:r>
              <a:rPr lang="en-GB" sz="1400" b="1" dirty="0" smtClean="0">
                <a:solidFill>
                  <a:srgbClr val="404027"/>
                </a:solidFill>
              </a:rPr>
              <a:t>Safety</a:t>
            </a:r>
            <a:endParaRPr lang="en-GB" sz="1400" b="1" dirty="0">
              <a:solidFill>
                <a:srgbClr val="404027"/>
              </a:solidFill>
            </a:endParaRPr>
          </a:p>
        </p:txBody>
      </p:sp>
      <p:sp>
        <p:nvSpPr>
          <p:cNvPr id="49" name="TextBox 48"/>
          <p:cNvSpPr txBox="1"/>
          <p:nvPr/>
        </p:nvSpPr>
        <p:spPr>
          <a:xfrm>
            <a:off x="4995054" y="3396278"/>
            <a:ext cx="1491515" cy="307777"/>
          </a:xfrm>
          <a:prstGeom prst="rect">
            <a:avLst/>
          </a:prstGeom>
          <a:noFill/>
        </p:spPr>
        <p:txBody>
          <a:bodyPr wrap="square" rtlCol="0">
            <a:spAutoFit/>
          </a:bodyPr>
          <a:lstStyle/>
          <a:p>
            <a:pPr algn="ctr" fontAlgn="base">
              <a:spcBef>
                <a:spcPct val="0"/>
              </a:spcBef>
              <a:spcAft>
                <a:spcPct val="0"/>
              </a:spcAft>
            </a:pPr>
            <a:r>
              <a:rPr lang="en-GB" sz="1400" b="1" dirty="0" smtClean="0">
                <a:solidFill>
                  <a:srgbClr val="404027"/>
                </a:solidFill>
              </a:rPr>
              <a:t>Transportation</a:t>
            </a:r>
            <a:endParaRPr lang="en-GB" sz="1400" b="1" dirty="0">
              <a:solidFill>
                <a:srgbClr val="404027"/>
              </a:solidFill>
            </a:endParaRPr>
          </a:p>
        </p:txBody>
      </p:sp>
      <p:sp>
        <p:nvSpPr>
          <p:cNvPr id="50" name="TextBox 49"/>
          <p:cNvSpPr txBox="1"/>
          <p:nvPr/>
        </p:nvSpPr>
        <p:spPr>
          <a:xfrm>
            <a:off x="3266766" y="3396278"/>
            <a:ext cx="1545160" cy="307777"/>
          </a:xfrm>
          <a:prstGeom prst="rect">
            <a:avLst/>
          </a:prstGeom>
          <a:noFill/>
        </p:spPr>
        <p:txBody>
          <a:bodyPr wrap="square" rtlCol="0">
            <a:spAutoFit/>
          </a:bodyPr>
          <a:lstStyle/>
          <a:p>
            <a:pPr algn="ctr" fontAlgn="base">
              <a:spcBef>
                <a:spcPct val="0"/>
              </a:spcBef>
              <a:spcAft>
                <a:spcPct val="0"/>
              </a:spcAft>
            </a:pPr>
            <a:r>
              <a:rPr lang="en-GB" sz="1400" b="1" dirty="0" smtClean="0">
                <a:solidFill>
                  <a:srgbClr val="404027"/>
                </a:solidFill>
              </a:rPr>
              <a:t>Environment</a:t>
            </a:r>
            <a:endParaRPr lang="en-GB" sz="1400" b="1" dirty="0">
              <a:solidFill>
                <a:srgbClr val="404027"/>
              </a:solidFill>
            </a:endParaRPr>
          </a:p>
        </p:txBody>
      </p:sp>
      <p:sp>
        <p:nvSpPr>
          <p:cNvPr id="51" name="Rectangle 50"/>
          <p:cNvSpPr/>
          <p:nvPr/>
        </p:nvSpPr>
        <p:spPr>
          <a:xfrm>
            <a:off x="304800" y="2036396"/>
            <a:ext cx="381000" cy="137285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smtClean="0">
                <a:solidFill>
                  <a:schemeClr val="tx1"/>
                </a:solidFill>
              </a:rPr>
              <a:t>Current  2015</a:t>
            </a:r>
            <a:endParaRPr lang="en-GB" sz="1400" b="1" dirty="0">
              <a:solidFill>
                <a:schemeClr val="tx1"/>
              </a:solidFill>
            </a:endParaRPr>
          </a:p>
        </p:txBody>
      </p:sp>
      <p:sp>
        <p:nvSpPr>
          <p:cNvPr id="52" name="Rectangle 51"/>
          <p:cNvSpPr/>
          <p:nvPr/>
        </p:nvSpPr>
        <p:spPr>
          <a:xfrm>
            <a:off x="293914" y="4366442"/>
            <a:ext cx="381000" cy="15079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Future 2035</a:t>
            </a:r>
            <a:endParaRPr lang="en-GB" sz="1400" b="1" dirty="0">
              <a:solidFill>
                <a:schemeClr val="tx1"/>
              </a:solidFill>
            </a:endParaRPr>
          </a:p>
        </p:txBody>
      </p:sp>
      <p:sp>
        <p:nvSpPr>
          <p:cNvPr id="53" name="Rectangle 52"/>
          <p:cNvSpPr/>
          <p:nvPr/>
        </p:nvSpPr>
        <p:spPr>
          <a:xfrm>
            <a:off x="6781800" y="2336963"/>
            <a:ext cx="1926771" cy="79140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Siloistic Approach</a:t>
            </a:r>
            <a:endParaRPr lang="en-GB" sz="1400" b="1" dirty="0">
              <a:solidFill>
                <a:schemeClr val="tx1"/>
              </a:solidFill>
            </a:endParaRPr>
          </a:p>
        </p:txBody>
      </p:sp>
      <p:sp>
        <p:nvSpPr>
          <p:cNvPr id="54" name="Rectangle 53"/>
          <p:cNvSpPr/>
          <p:nvPr/>
        </p:nvSpPr>
        <p:spPr>
          <a:xfrm>
            <a:off x="6858000" y="4588528"/>
            <a:ext cx="1926771" cy="80130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Integrated Approach</a:t>
            </a:r>
            <a:endParaRPr lang="en-GB" sz="1400" b="1" dirty="0">
              <a:solidFill>
                <a:schemeClr val="tx1"/>
              </a:solidFill>
            </a:endParaRPr>
          </a:p>
        </p:txBody>
      </p:sp>
      <p:pic>
        <p:nvPicPr>
          <p:cNvPr id="55" name="Picture 2" descr="C:\Users\KamaleshM\My Documents\SametimeFileTransfers\ThinkstockPhotos-146917964.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46128" y="2036396"/>
            <a:ext cx="1330537" cy="1327226"/>
          </a:xfrm>
          <a:prstGeom prst="ellipse">
            <a:avLst/>
          </a:prstGeom>
          <a:ln w="38100">
            <a:solidFill>
              <a:srgbClr val="517496"/>
            </a:solidFill>
          </a:ln>
          <a:effectLst/>
          <a:scene3d>
            <a:camera prst="orthographicFront">
              <a:rot lat="0" lon="0" rev="0"/>
            </a:camera>
            <a:lightRig rig="contrasting" dir="t">
              <a:rot lat="0" lon="0" rev="1500000"/>
            </a:lightRig>
          </a:scene3d>
          <a:sp3d prstMaterial="metal">
            <a:bevelT w="88900" h="88900"/>
          </a:sp3d>
          <a:extLst>
            <a:ext uri="{909E8E84-426E-40DD-AFC4-6F175D3DCCD1}">
              <a14:hiddenFill xmlns:a14="http://schemas.microsoft.com/office/drawing/2010/main">
                <a:solidFill>
                  <a:srgbClr val="FFFFFF"/>
                </a:solidFill>
              </a14:hiddenFill>
            </a:ext>
          </a:extLst>
        </p:spPr>
      </p:pic>
      <p:pic>
        <p:nvPicPr>
          <p:cNvPr id="56" name="Picture 3" descr="C:\Users\KamaleshM\Desktop\Projects\2015\ME Research\Intelligent Mobility\Pics\downloadwer.jpg"/>
          <p:cNvPicPr>
            <a:picLocks noChangeAspect="1" noChangeArrowheads="1"/>
          </p:cNvPicPr>
          <p:nvPr/>
        </p:nvPicPr>
        <p:blipFill>
          <a:blip r:embed="rId8">
            <a:alphaModFix amt="60000"/>
            <a:extLst>
              <a:ext uri="{28A0092B-C50C-407E-A947-70E740481C1C}">
                <a14:useLocalDpi xmlns:a14="http://schemas.microsoft.com/office/drawing/2010/main" val="0"/>
              </a:ext>
            </a:extLst>
          </a:blip>
          <a:srcRect/>
          <a:stretch>
            <a:fillRect/>
          </a:stretch>
        </p:blipFill>
        <p:spPr bwMode="auto">
          <a:xfrm>
            <a:off x="3193609" y="4283499"/>
            <a:ext cx="1530791" cy="1464723"/>
          </a:xfrm>
          <a:prstGeom prst="ellipse">
            <a:avLst/>
          </a:prstGeom>
          <a:ln w="63500" cap="rnd">
            <a:solidFill>
              <a:schemeClr val="bg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57" name="Picture 2" descr="C:\Users\KamaleshM\Desktop\Projects\2015\ME Research\Intelligent Mobility\Pics\Picture2fw.jpg"/>
          <p:cNvPicPr>
            <a:picLocks noChangeAspect="1" noChangeArrowheads="1"/>
          </p:cNvPicPr>
          <p:nvPr/>
        </p:nvPicPr>
        <p:blipFill>
          <a:blip r:embed="rId9" cstate="print">
            <a:alphaModFix amt="60000"/>
            <a:extLst>
              <a:ext uri="{28A0092B-C50C-407E-A947-70E740481C1C}">
                <a14:useLocalDpi xmlns:a14="http://schemas.microsoft.com/office/drawing/2010/main" val="0"/>
              </a:ext>
            </a:extLst>
          </a:blip>
          <a:srcRect/>
          <a:stretch>
            <a:fillRect/>
          </a:stretch>
        </p:blipFill>
        <p:spPr bwMode="auto">
          <a:xfrm>
            <a:off x="4566053" y="4221088"/>
            <a:ext cx="1663719" cy="1497446"/>
          </a:xfrm>
          <a:prstGeom prst="ellipse">
            <a:avLst/>
          </a:prstGeom>
          <a:ln w="63500" cap="rnd">
            <a:solidFill>
              <a:schemeClr val="bg2"/>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2" name="Text Box 80"/>
          <p:cNvSpPr txBox="1">
            <a:spLocks noChangeArrowheads="1"/>
          </p:cNvSpPr>
          <p:nvPr/>
        </p:nvSpPr>
        <p:spPr bwMode="auto">
          <a:xfrm>
            <a:off x="5257800" y="6075500"/>
            <a:ext cx="3657600" cy="230832"/>
          </a:xfrm>
          <a:prstGeom prst="rect">
            <a:avLst/>
          </a:prstGeom>
          <a:noFill/>
          <a:ln w="9525">
            <a:noFill/>
            <a:miter lim="800000"/>
            <a:headEnd/>
            <a:tailEnd/>
          </a:ln>
        </p:spPr>
        <p:txBody>
          <a:bodyPr wrap="square" lIns="0" rIns="0">
            <a:spAutoFit/>
          </a:bodyPr>
          <a:lstStyle/>
          <a:p>
            <a:pPr algn="r" eaLnBrk="1" hangingPunct="1">
              <a:lnSpc>
                <a:spcPct val="100000"/>
              </a:lnSpc>
              <a:spcBef>
                <a:spcPct val="0"/>
              </a:spcBef>
              <a:spcAft>
                <a:spcPct val="0"/>
              </a:spcAft>
              <a:buSzTx/>
            </a:pPr>
            <a:r>
              <a:rPr lang="en-US" sz="900" dirty="0">
                <a:solidFill>
                  <a:schemeClr val="accent2"/>
                </a:solidFill>
                <a:latin typeface="+mj-lt"/>
              </a:rPr>
              <a:t>Source: Frost &amp; </a:t>
            </a:r>
            <a:r>
              <a:rPr lang="en-US" sz="900" dirty="0" smtClean="0">
                <a:solidFill>
                  <a:schemeClr val="accent2"/>
                </a:solidFill>
                <a:latin typeface="+mj-lt"/>
              </a:rPr>
              <a:t>Sullivan </a:t>
            </a:r>
            <a:endParaRPr lang="en-US" sz="900" dirty="0">
              <a:solidFill>
                <a:schemeClr val="accent2"/>
              </a:solidFill>
              <a:latin typeface="+mj-lt"/>
            </a:endParaRPr>
          </a:p>
        </p:txBody>
      </p:sp>
      <p:sp>
        <p:nvSpPr>
          <p:cNvPr id="3" name="Down Arrow 2"/>
          <p:cNvSpPr/>
          <p:nvPr/>
        </p:nvSpPr>
        <p:spPr>
          <a:xfrm>
            <a:off x="1969832" y="3717032"/>
            <a:ext cx="429003" cy="373017"/>
          </a:xfrm>
          <a:prstGeom prst="downArrow">
            <a:avLst/>
          </a:prstGeom>
          <a:solidFill>
            <a:schemeClr val="tx2"/>
          </a:solidFill>
          <a:ln>
            <a:noFill/>
          </a:ln>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p>
        </p:txBody>
      </p:sp>
      <p:sp>
        <p:nvSpPr>
          <p:cNvPr id="28" name="Down Arrow 27"/>
          <p:cNvSpPr/>
          <p:nvPr/>
        </p:nvSpPr>
        <p:spPr>
          <a:xfrm>
            <a:off x="3744502" y="3717032"/>
            <a:ext cx="429003" cy="373017"/>
          </a:xfrm>
          <a:prstGeom prst="downArrow">
            <a:avLst/>
          </a:prstGeom>
          <a:solidFill>
            <a:schemeClr val="tx2"/>
          </a:solidFill>
          <a:ln>
            <a:noFill/>
          </a:ln>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p>
        </p:txBody>
      </p:sp>
      <p:sp>
        <p:nvSpPr>
          <p:cNvPr id="30" name="Down Arrow 29"/>
          <p:cNvSpPr/>
          <p:nvPr/>
        </p:nvSpPr>
        <p:spPr>
          <a:xfrm>
            <a:off x="5367907" y="3717032"/>
            <a:ext cx="429003" cy="373017"/>
          </a:xfrm>
          <a:prstGeom prst="downArrow">
            <a:avLst/>
          </a:prstGeom>
          <a:solidFill>
            <a:schemeClr val="tx2"/>
          </a:solidFill>
          <a:ln>
            <a:noFill/>
          </a:ln>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p>
        </p:txBody>
      </p:sp>
    </p:spTree>
    <p:extLst>
      <p:ext uri="{BB962C8B-B14F-4D97-AF65-F5344CB8AC3E}">
        <p14:creationId xmlns:p14="http://schemas.microsoft.com/office/powerpoint/2010/main" val="38407275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274935" y="1412776"/>
            <a:ext cx="1206113" cy="4560416"/>
          </a:xfrm>
          <a:prstGeom prst="roundRect">
            <a:avLst/>
          </a:prstGeom>
          <a:noFill/>
          <a:ln w="38100"/>
          <a:effectLst>
            <a:outerShdw blurRad="50800" dist="38100" dir="2700000" algn="tl" rotWithShape="0">
              <a:prstClr val="black">
                <a:alpha val="40000"/>
              </a:prstClr>
            </a:outerShdw>
          </a:effectLst>
          <a:scene3d>
            <a:camera prst="orthographicFront"/>
            <a:lightRig rig="threePt" dir="t"/>
          </a:scene3d>
          <a:sp3d>
            <a:bevelT w="139700" prst="cross"/>
          </a:sp3d>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endParaRPr lang="en-US" dirty="0">
              <a:solidFill>
                <a:srgbClr val="000000"/>
              </a:solidFill>
            </a:endParaRPr>
          </a:p>
        </p:txBody>
      </p:sp>
      <p:grpSp>
        <p:nvGrpSpPr>
          <p:cNvPr id="7" name="Group 9"/>
          <p:cNvGrpSpPr>
            <a:grpSpLocks/>
          </p:cNvGrpSpPr>
          <p:nvPr/>
        </p:nvGrpSpPr>
        <p:grpSpPr bwMode="auto">
          <a:xfrm>
            <a:off x="4461679" y="3362866"/>
            <a:ext cx="225425" cy="608013"/>
            <a:chOff x="621" y="816"/>
            <a:chExt cx="142" cy="383"/>
          </a:xfrm>
          <a:solidFill>
            <a:srgbClr val="17426B"/>
          </a:solidFill>
        </p:grpSpPr>
        <p:sp>
          <p:nvSpPr>
            <p:cNvPr id="8" name="Freeform 10"/>
            <p:cNvSpPr>
              <a:spLocks noChangeArrowheads="1"/>
            </p:cNvSpPr>
            <p:nvPr/>
          </p:nvSpPr>
          <p:spPr bwMode="auto">
            <a:xfrm>
              <a:off x="659" y="816"/>
              <a:ext cx="62" cy="62"/>
            </a:xfrm>
            <a:custGeom>
              <a:avLst/>
              <a:gdLst>
                <a:gd name="T0" fmla="*/ 0 w 563"/>
                <a:gd name="T1" fmla="*/ 0 h 564"/>
                <a:gd name="T2" fmla="*/ 0 w 563"/>
                <a:gd name="T3" fmla="*/ 0 h 564"/>
                <a:gd name="T4" fmla="*/ 0 w 563"/>
                <a:gd name="T5" fmla="*/ 0 h 564"/>
                <a:gd name="T6" fmla="*/ 0 w 563"/>
                <a:gd name="T7" fmla="*/ 0 h 564"/>
                <a:gd name="T8" fmla="*/ 0 w 563"/>
                <a:gd name="T9" fmla="*/ 0 h 564"/>
                <a:gd name="T10" fmla="*/ 0 w 563"/>
                <a:gd name="T11" fmla="*/ 0 h 564"/>
                <a:gd name="T12" fmla="*/ 0 w 563"/>
                <a:gd name="T13" fmla="*/ 0 h 564"/>
                <a:gd name="T14" fmla="*/ 0 w 563"/>
                <a:gd name="T15" fmla="*/ 0 h 564"/>
                <a:gd name="T16" fmla="*/ 0 w 563"/>
                <a:gd name="T17" fmla="*/ 0 h 564"/>
                <a:gd name="T18" fmla="*/ 0 w 563"/>
                <a:gd name="T19" fmla="*/ 0 h 564"/>
                <a:gd name="T20" fmla="*/ 0 w 563"/>
                <a:gd name="T21" fmla="*/ 0 h 564"/>
                <a:gd name="T22" fmla="*/ 0 w 563"/>
                <a:gd name="T23" fmla="*/ 0 h 564"/>
                <a:gd name="T24" fmla="*/ 0 w 563"/>
                <a:gd name="T25" fmla="*/ 0 h 564"/>
                <a:gd name="T26" fmla="*/ 0 w 563"/>
                <a:gd name="T27" fmla="*/ 0 h 564"/>
                <a:gd name="T28" fmla="*/ 0 w 563"/>
                <a:gd name="T29" fmla="*/ 0 h 564"/>
                <a:gd name="T30" fmla="*/ 0 w 563"/>
                <a:gd name="T31" fmla="*/ 0 h 564"/>
                <a:gd name="T32" fmla="*/ 0 w 563"/>
                <a:gd name="T33" fmla="*/ 0 h 564"/>
                <a:gd name="T34" fmla="*/ 0 w 563"/>
                <a:gd name="T35" fmla="*/ 0 h 564"/>
                <a:gd name="T36" fmla="*/ 0 w 563"/>
                <a:gd name="T37" fmla="*/ 0 h 564"/>
                <a:gd name="T38" fmla="*/ 0 w 563"/>
                <a:gd name="T39" fmla="*/ 0 h 564"/>
                <a:gd name="T40" fmla="*/ 0 w 563"/>
                <a:gd name="T41" fmla="*/ 0 h 564"/>
                <a:gd name="T42" fmla="*/ 0 w 563"/>
                <a:gd name="T43" fmla="*/ 0 h 564"/>
                <a:gd name="T44" fmla="*/ 0 w 563"/>
                <a:gd name="T45" fmla="*/ 0 h 564"/>
                <a:gd name="T46" fmla="*/ 0 w 563"/>
                <a:gd name="T47" fmla="*/ 0 h 564"/>
                <a:gd name="T48" fmla="*/ 0 w 563"/>
                <a:gd name="T49" fmla="*/ 0 h 564"/>
                <a:gd name="T50" fmla="*/ 0 w 563"/>
                <a:gd name="T51" fmla="*/ 0 h 564"/>
                <a:gd name="T52" fmla="*/ 0 w 563"/>
                <a:gd name="T53" fmla="*/ 0 h 564"/>
                <a:gd name="T54" fmla="*/ 0 w 563"/>
                <a:gd name="T55" fmla="*/ 0 h 564"/>
                <a:gd name="T56" fmla="*/ 0 w 563"/>
                <a:gd name="T57" fmla="*/ 0 h 564"/>
                <a:gd name="T58" fmla="*/ 0 w 563"/>
                <a:gd name="T59" fmla="*/ 0 h 564"/>
                <a:gd name="T60" fmla="*/ 0 w 563"/>
                <a:gd name="T61" fmla="*/ 0 h 564"/>
                <a:gd name="T62" fmla="*/ 0 w 563"/>
                <a:gd name="T63" fmla="*/ 0 h 564"/>
                <a:gd name="T64" fmla="*/ 0 w 563"/>
                <a:gd name="T65" fmla="*/ 0 h 564"/>
                <a:gd name="T66" fmla="*/ 0 w 563"/>
                <a:gd name="T67" fmla="*/ 0 h 564"/>
                <a:gd name="T68" fmla="*/ 0 w 563"/>
                <a:gd name="T69" fmla="*/ 0 h 564"/>
                <a:gd name="T70" fmla="*/ 0 w 563"/>
                <a:gd name="T71" fmla="*/ 0 h 564"/>
                <a:gd name="T72" fmla="*/ 0 w 563"/>
                <a:gd name="T73" fmla="*/ 0 h 564"/>
                <a:gd name="T74" fmla="*/ 0 w 563"/>
                <a:gd name="T75" fmla="*/ 0 h 564"/>
                <a:gd name="T76" fmla="*/ 0 w 563"/>
                <a:gd name="T77" fmla="*/ 0 h 564"/>
                <a:gd name="T78" fmla="*/ 0 w 563"/>
                <a:gd name="T79" fmla="*/ 0 h 564"/>
                <a:gd name="T80" fmla="*/ 0 w 563"/>
                <a:gd name="T81" fmla="*/ 0 h 564"/>
                <a:gd name="T82" fmla="*/ 0 w 563"/>
                <a:gd name="T83" fmla="*/ 0 h 564"/>
                <a:gd name="T84" fmla="*/ 0 w 563"/>
                <a:gd name="T85" fmla="*/ 0 h 564"/>
                <a:gd name="T86" fmla="*/ 0 w 563"/>
                <a:gd name="T87" fmla="*/ 0 h 564"/>
                <a:gd name="T88" fmla="*/ 0 w 563"/>
                <a:gd name="T89" fmla="*/ 0 h 5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3"/>
                <a:gd name="T136" fmla="*/ 0 h 564"/>
                <a:gd name="T137" fmla="*/ 563 w 563"/>
                <a:gd name="T138" fmla="*/ 564 h 56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3" h="564">
                  <a:moveTo>
                    <a:pt x="281" y="0"/>
                  </a:moveTo>
                  <a:lnTo>
                    <a:pt x="323" y="3"/>
                  </a:lnTo>
                  <a:lnTo>
                    <a:pt x="363" y="12"/>
                  </a:lnTo>
                  <a:lnTo>
                    <a:pt x="401" y="26"/>
                  </a:lnTo>
                  <a:lnTo>
                    <a:pt x="435" y="45"/>
                  </a:lnTo>
                  <a:lnTo>
                    <a:pt x="467" y="69"/>
                  </a:lnTo>
                  <a:lnTo>
                    <a:pt x="494" y="97"/>
                  </a:lnTo>
                  <a:lnTo>
                    <a:pt x="518" y="129"/>
                  </a:lnTo>
                  <a:lnTo>
                    <a:pt x="537" y="163"/>
                  </a:lnTo>
                  <a:lnTo>
                    <a:pt x="552" y="200"/>
                  </a:lnTo>
                  <a:lnTo>
                    <a:pt x="561" y="240"/>
                  </a:lnTo>
                  <a:lnTo>
                    <a:pt x="563" y="282"/>
                  </a:lnTo>
                  <a:lnTo>
                    <a:pt x="561" y="324"/>
                  </a:lnTo>
                  <a:lnTo>
                    <a:pt x="552" y="363"/>
                  </a:lnTo>
                  <a:lnTo>
                    <a:pt x="537" y="401"/>
                  </a:lnTo>
                  <a:lnTo>
                    <a:pt x="518" y="436"/>
                  </a:lnTo>
                  <a:lnTo>
                    <a:pt x="494" y="467"/>
                  </a:lnTo>
                  <a:lnTo>
                    <a:pt x="467" y="494"/>
                  </a:lnTo>
                  <a:lnTo>
                    <a:pt x="435" y="518"/>
                  </a:lnTo>
                  <a:lnTo>
                    <a:pt x="401" y="537"/>
                  </a:lnTo>
                  <a:lnTo>
                    <a:pt x="363" y="552"/>
                  </a:lnTo>
                  <a:lnTo>
                    <a:pt x="323" y="561"/>
                  </a:lnTo>
                  <a:lnTo>
                    <a:pt x="281" y="564"/>
                  </a:lnTo>
                  <a:lnTo>
                    <a:pt x="240" y="561"/>
                  </a:lnTo>
                  <a:lnTo>
                    <a:pt x="200" y="552"/>
                  </a:lnTo>
                  <a:lnTo>
                    <a:pt x="163" y="537"/>
                  </a:lnTo>
                  <a:lnTo>
                    <a:pt x="129" y="518"/>
                  </a:lnTo>
                  <a:lnTo>
                    <a:pt x="97" y="494"/>
                  </a:lnTo>
                  <a:lnTo>
                    <a:pt x="69" y="467"/>
                  </a:lnTo>
                  <a:lnTo>
                    <a:pt x="45" y="436"/>
                  </a:lnTo>
                  <a:lnTo>
                    <a:pt x="26" y="401"/>
                  </a:lnTo>
                  <a:lnTo>
                    <a:pt x="11" y="363"/>
                  </a:lnTo>
                  <a:lnTo>
                    <a:pt x="3" y="324"/>
                  </a:lnTo>
                  <a:lnTo>
                    <a:pt x="0" y="282"/>
                  </a:lnTo>
                  <a:lnTo>
                    <a:pt x="3" y="240"/>
                  </a:lnTo>
                  <a:lnTo>
                    <a:pt x="11" y="200"/>
                  </a:lnTo>
                  <a:lnTo>
                    <a:pt x="26" y="163"/>
                  </a:lnTo>
                  <a:lnTo>
                    <a:pt x="45" y="129"/>
                  </a:lnTo>
                  <a:lnTo>
                    <a:pt x="69" y="97"/>
                  </a:lnTo>
                  <a:lnTo>
                    <a:pt x="97" y="69"/>
                  </a:lnTo>
                  <a:lnTo>
                    <a:pt x="129" y="45"/>
                  </a:lnTo>
                  <a:lnTo>
                    <a:pt x="163" y="26"/>
                  </a:lnTo>
                  <a:lnTo>
                    <a:pt x="200" y="12"/>
                  </a:lnTo>
                  <a:lnTo>
                    <a:pt x="240" y="3"/>
                  </a:lnTo>
                  <a:lnTo>
                    <a:pt x="281"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9" name="Freeform 11"/>
            <p:cNvSpPr>
              <a:spLocks noChangeArrowheads="1"/>
            </p:cNvSpPr>
            <p:nvPr/>
          </p:nvSpPr>
          <p:spPr bwMode="auto">
            <a:xfrm>
              <a:off x="621" y="885"/>
              <a:ext cx="142" cy="314"/>
            </a:xfrm>
            <a:custGeom>
              <a:avLst/>
              <a:gdLst>
                <a:gd name="T0" fmla="*/ 0 w 1287"/>
                <a:gd name="T1" fmla="*/ 0 h 2834"/>
                <a:gd name="T2" fmla="*/ 0 w 1287"/>
                <a:gd name="T3" fmla="*/ 0 h 2834"/>
                <a:gd name="T4" fmla="*/ 0 w 1287"/>
                <a:gd name="T5" fmla="*/ 0 h 2834"/>
                <a:gd name="T6" fmla="*/ 0 w 1287"/>
                <a:gd name="T7" fmla="*/ 0 h 2834"/>
                <a:gd name="T8" fmla="*/ 0 w 1287"/>
                <a:gd name="T9" fmla="*/ 0 h 2834"/>
                <a:gd name="T10" fmla="*/ 0 w 1287"/>
                <a:gd name="T11" fmla="*/ 0 h 2834"/>
                <a:gd name="T12" fmla="*/ 0 w 1287"/>
                <a:gd name="T13" fmla="*/ 0 h 2834"/>
                <a:gd name="T14" fmla="*/ 0 w 1287"/>
                <a:gd name="T15" fmla="*/ 0 h 2834"/>
                <a:gd name="T16" fmla="*/ 0 w 1287"/>
                <a:gd name="T17" fmla="*/ 0 h 2834"/>
                <a:gd name="T18" fmla="*/ 0 w 1287"/>
                <a:gd name="T19" fmla="*/ 0 h 2834"/>
                <a:gd name="T20" fmla="*/ 0 w 1287"/>
                <a:gd name="T21" fmla="*/ 0 h 2834"/>
                <a:gd name="T22" fmla="*/ 0 w 1287"/>
                <a:gd name="T23" fmla="*/ 0 h 2834"/>
                <a:gd name="T24" fmla="*/ 0 w 1287"/>
                <a:gd name="T25" fmla="*/ 0 h 2834"/>
                <a:gd name="T26" fmla="*/ 0 w 1287"/>
                <a:gd name="T27" fmla="*/ 0 h 2834"/>
                <a:gd name="T28" fmla="*/ 0 w 1287"/>
                <a:gd name="T29" fmla="*/ 0 h 2834"/>
                <a:gd name="T30" fmla="*/ 0 w 1287"/>
                <a:gd name="T31" fmla="*/ 0 h 2834"/>
                <a:gd name="T32" fmla="*/ 0 w 1287"/>
                <a:gd name="T33" fmla="*/ 0 h 2834"/>
                <a:gd name="T34" fmla="*/ 0 w 1287"/>
                <a:gd name="T35" fmla="*/ 0 h 2834"/>
                <a:gd name="T36" fmla="*/ 0 w 1287"/>
                <a:gd name="T37" fmla="*/ 0 h 2834"/>
                <a:gd name="T38" fmla="*/ 0 w 1287"/>
                <a:gd name="T39" fmla="*/ 0 h 2834"/>
                <a:gd name="T40" fmla="*/ 0 w 1287"/>
                <a:gd name="T41" fmla="*/ 0 h 2834"/>
                <a:gd name="T42" fmla="*/ 0 w 1287"/>
                <a:gd name="T43" fmla="*/ 0 h 2834"/>
                <a:gd name="T44" fmla="*/ 0 w 1287"/>
                <a:gd name="T45" fmla="*/ 0 h 2834"/>
                <a:gd name="T46" fmla="*/ 0 w 1287"/>
                <a:gd name="T47" fmla="*/ 0 h 2834"/>
                <a:gd name="T48" fmla="*/ 0 w 1287"/>
                <a:gd name="T49" fmla="*/ 0 h 2834"/>
                <a:gd name="T50" fmla="*/ 0 w 1287"/>
                <a:gd name="T51" fmla="*/ 0 h 2834"/>
                <a:gd name="T52" fmla="*/ 0 w 1287"/>
                <a:gd name="T53" fmla="*/ 0 h 2834"/>
                <a:gd name="T54" fmla="*/ 0 w 1287"/>
                <a:gd name="T55" fmla="*/ 0 h 2834"/>
                <a:gd name="T56" fmla="*/ 0 w 1287"/>
                <a:gd name="T57" fmla="*/ 0 h 2834"/>
                <a:gd name="T58" fmla="*/ 0 w 1287"/>
                <a:gd name="T59" fmla="*/ 0 h 2834"/>
                <a:gd name="T60" fmla="*/ 0 w 1287"/>
                <a:gd name="T61" fmla="*/ 0 h 2834"/>
                <a:gd name="T62" fmla="*/ 0 w 1287"/>
                <a:gd name="T63" fmla="*/ 0 h 2834"/>
                <a:gd name="T64" fmla="*/ 0 w 1287"/>
                <a:gd name="T65" fmla="*/ 0 h 2834"/>
                <a:gd name="T66" fmla="*/ 0 w 1287"/>
                <a:gd name="T67" fmla="*/ 0 h 2834"/>
                <a:gd name="T68" fmla="*/ 0 w 1287"/>
                <a:gd name="T69" fmla="*/ 0 h 2834"/>
                <a:gd name="T70" fmla="*/ 0 w 1287"/>
                <a:gd name="T71" fmla="*/ 0 h 2834"/>
                <a:gd name="T72" fmla="*/ 0 w 1287"/>
                <a:gd name="T73" fmla="*/ 0 h 2834"/>
                <a:gd name="T74" fmla="*/ 0 w 1287"/>
                <a:gd name="T75" fmla="*/ 0 h 2834"/>
                <a:gd name="T76" fmla="*/ 0 w 1287"/>
                <a:gd name="T77" fmla="*/ 0 h 2834"/>
                <a:gd name="T78" fmla="*/ 0 w 1287"/>
                <a:gd name="T79" fmla="*/ 0 h 2834"/>
                <a:gd name="T80" fmla="*/ 0 w 1287"/>
                <a:gd name="T81" fmla="*/ 0 h 2834"/>
                <a:gd name="T82" fmla="*/ 0 w 1287"/>
                <a:gd name="T83" fmla="*/ 0 h 2834"/>
                <a:gd name="T84" fmla="*/ 0 w 1287"/>
                <a:gd name="T85" fmla="*/ 0 h 2834"/>
                <a:gd name="T86" fmla="*/ 0 w 1287"/>
                <a:gd name="T87" fmla="*/ 0 h 2834"/>
                <a:gd name="T88" fmla="*/ 0 w 1287"/>
                <a:gd name="T89" fmla="*/ 0 h 2834"/>
                <a:gd name="T90" fmla="*/ 0 w 1287"/>
                <a:gd name="T91" fmla="*/ 0 h 2834"/>
                <a:gd name="T92" fmla="*/ 0 w 1287"/>
                <a:gd name="T93" fmla="*/ 0 h 2834"/>
                <a:gd name="T94" fmla="*/ 0 w 1287"/>
                <a:gd name="T95" fmla="*/ 0 h 2834"/>
                <a:gd name="T96" fmla="*/ 0 w 1287"/>
                <a:gd name="T97" fmla="*/ 0 h 2834"/>
                <a:gd name="T98" fmla="*/ 0 w 1287"/>
                <a:gd name="T99" fmla="*/ 0 h 2834"/>
                <a:gd name="T100" fmla="*/ 0 w 1287"/>
                <a:gd name="T101" fmla="*/ 0 h 2834"/>
                <a:gd name="T102" fmla="*/ 0 w 1287"/>
                <a:gd name="T103" fmla="*/ 0 h 2834"/>
                <a:gd name="T104" fmla="*/ 0 w 1287"/>
                <a:gd name="T105" fmla="*/ 0 h 2834"/>
                <a:gd name="T106" fmla="*/ 0 w 1287"/>
                <a:gd name="T107" fmla="*/ 0 h 28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87"/>
                <a:gd name="T163" fmla="*/ 0 h 2834"/>
                <a:gd name="T164" fmla="*/ 1287 w 1287"/>
                <a:gd name="T165" fmla="*/ 2834 h 28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87" h="2834">
                  <a:moveTo>
                    <a:pt x="325" y="0"/>
                  </a:moveTo>
                  <a:lnTo>
                    <a:pt x="958" y="1"/>
                  </a:lnTo>
                  <a:lnTo>
                    <a:pt x="999" y="3"/>
                  </a:lnTo>
                  <a:lnTo>
                    <a:pt x="1039" y="11"/>
                  </a:lnTo>
                  <a:lnTo>
                    <a:pt x="1076" y="21"/>
                  </a:lnTo>
                  <a:lnTo>
                    <a:pt x="1109" y="37"/>
                  </a:lnTo>
                  <a:lnTo>
                    <a:pt x="1140" y="56"/>
                  </a:lnTo>
                  <a:lnTo>
                    <a:pt x="1168" y="78"/>
                  </a:lnTo>
                  <a:lnTo>
                    <a:pt x="1193" y="103"/>
                  </a:lnTo>
                  <a:lnTo>
                    <a:pt x="1215" y="130"/>
                  </a:lnTo>
                  <a:lnTo>
                    <a:pt x="1234" y="160"/>
                  </a:lnTo>
                  <a:lnTo>
                    <a:pt x="1250" y="192"/>
                  </a:lnTo>
                  <a:lnTo>
                    <a:pt x="1263" y="226"/>
                  </a:lnTo>
                  <a:lnTo>
                    <a:pt x="1273" y="261"/>
                  </a:lnTo>
                  <a:lnTo>
                    <a:pt x="1280" y="298"/>
                  </a:lnTo>
                  <a:lnTo>
                    <a:pt x="1285" y="334"/>
                  </a:lnTo>
                  <a:lnTo>
                    <a:pt x="1287" y="372"/>
                  </a:lnTo>
                  <a:lnTo>
                    <a:pt x="1287" y="1232"/>
                  </a:lnTo>
                  <a:lnTo>
                    <a:pt x="1284" y="1260"/>
                  </a:lnTo>
                  <a:lnTo>
                    <a:pt x="1278" y="1285"/>
                  </a:lnTo>
                  <a:lnTo>
                    <a:pt x="1269" y="1306"/>
                  </a:lnTo>
                  <a:lnTo>
                    <a:pt x="1256" y="1324"/>
                  </a:lnTo>
                  <a:lnTo>
                    <a:pt x="1240" y="1337"/>
                  </a:lnTo>
                  <a:lnTo>
                    <a:pt x="1224" y="1348"/>
                  </a:lnTo>
                  <a:lnTo>
                    <a:pt x="1206" y="1355"/>
                  </a:lnTo>
                  <a:lnTo>
                    <a:pt x="1186" y="1358"/>
                  </a:lnTo>
                  <a:lnTo>
                    <a:pt x="1167" y="1358"/>
                  </a:lnTo>
                  <a:lnTo>
                    <a:pt x="1147" y="1355"/>
                  </a:lnTo>
                  <a:lnTo>
                    <a:pt x="1129" y="1348"/>
                  </a:lnTo>
                  <a:lnTo>
                    <a:pt x="1113" y="1337"/>
                  </a:lnTo>
                  <a:lnTo>
                    <a:pt x="1097" y="1324"/>
                  </a:lnTo>
                  <a:lnTo>
                    <a:pt x="1084" y="1306"/>
                  </a:lnTo>
                  <a:lnTo>
                    <a:pt x="1075" y="1285"/>
                  </a:lnTo>
                  <a:lnTo>
                    <a:pt x="1069" y="1260"/>
                  </a:lnTo>
                  <a:lnTo>
                    <a:pt x="1065" y="1232"/>
                  </a:lnTo>
                  <a:lnTo>
                    <a:pt x="1065" y="390"/>
                  </a:lnTo>
                  <a:lnTo>
                    <a:pt x="996" y="390"/>
                  </a:lnTo>
                  <a:lnTo>
                    <a:pt x="996" y="2676"/>
                  </a:lnTo>
                  <a:lnTo>
                    <a:pt x="993" y="2707"/>
                  </a:lnTo>
                  <a:lnTo>
                    <a:pt x="984" y="2738"/>
                  </a:lnTo>
                  <a:lnTo>
                    <a:pt x="969" y="2764"/>
                  </a:lnTo>
                  <a:lnTo>
                    <a:pt x="949" y="2788"/>
                  </a:lnTo>
                  <a:lnTo>
                    <a:pt x="926" y="2807"/>
                  </a:lnTo>
                  <a:lnTo>
                    <a:pt x="899" y="2821"/>
                  </a:lnTo>
                  <a:lnTo>
                    <a:pt x="870" y="2831"/>
                  </a:lnTo>
                  <a:lnTo>
                    <a:pt x="838" y="2834"/>
                  </a:lnTo>
                  <a:lnTo>
                    <a:pt x="806" y="2831"/>
                  </a:lnTo>
                  <a:lnTo>
                    <a:pt x="776" y="2821"/>
                  </a:lnTo>
                  <a:lnTo>
                    <a:pt x="749" y="2807"/>
                  </a:lnTo>
                  <a:lnTo>
                    <a:pt x="726" y="2788"/>
                  </a:lnTo>
                  <a:lnTo>
                    <a:pt x="706" y="2764"/>
                  </a:lnTo>
                  <a:lnTo>
                    <a:pt x="692" y="2738"/>
                  </a:lnTo>
                  <a:lnTo>
                    <a:pt x="683" y="2707"/>
                  </a:lnTo>
                  <a:lnTo>
                    <a:pt x="680" y="2676"/>
                  </a:lnTo>
                  <a:lnTo>
                    <a:pt x="680" y="1350"/>
                  </a:lnTo>
                  <a:lnTo>
                    <a:pt x="610" y="1350"/>
                  </a:lnTo>
                  <a:lnTo>
                    <a:pt x="610" y="2676"/>
                  </a:lnTo>
                  <a:lnTo>
                    <a:pt x="607" y="2707"/>
                  </a:lnTo>
                  <a:lnTo>
                    <a:pt x="597" y="2738"/>
                  </a:lnTo>
                  <a:lnTo>
                    <a:pt x="582" y="2764"/>
                  </a:lnTo>
                  <a:lnTo>
                    <a:pt x="564" y="2788"/>
                  </a:lnTo>
                  <a:lnTo>
                    <a:pt x="540" y="2807"/>
                  </a:lnTo>
                  <a:lnTo>
                    <a:pt x="513" y="2821"/>
                  </a:lnTo>
                  <a:lnTo>
                    <a:pt x="483" y="2831"/>
                  </a:lnTo>
                  <a:lnTo>
                    <a:pt x="452" y="2834"/>
                  </a:lnTo>
                  <a:lnTo>
                    <a:pt x="419" y="2831"/>
                  </a:lnTo>
                  <a:lnTo>
                    <a:pt x="390" y="2821"/>
                  </a:lnTo>
                  <a:lnTo>
                    <a:pt x="362" y="2807"/>
                  </a:lnTo>
                  <a:lnTo>
                    <a:pt x="339" y="2788"/>
                  </a:lnTo>
                  <a:lnTo>
                    <a:pt x="321" y="2764"/>
                  </a:lnTo>
                  <a:lnTo>
                    <a:pt x="306" y="2738"/>
                  </a:lnTo>
                  <a:lnTo>
                    <a:pt x="296" y="2707"/>
                  </a:lnTo>
                  <a:lnTo>
                    <a:pt x="293" y="2676"/>
                  </a:lnTo>
                  <a:lnTo>
                    <a:pt x="293" y="390"/>
                  </a:lnTo>
                  <a:lnTo>
                    <a:pt x="222" y="390"/>
                  </a:lnTo>
                  <a:lnTo>
                    <a:pt x="222" y="1232"/>
                  </a:lnTo>
                  <a:lnTo>
                    <a:pt x="220" y="1260"/>
                  </a:lnTo>
                  <a:lnTo>
                    <a:pt x="214" y="1284"/>
                  </a:lnTo>
                  <a:lnTo>
                    <a:pt x="204" y="1305"/>
                  </a:lnTo>
                  <a:lnTo>
                    <a:pt x="192" y="1323"/>
                  </a:lnTo>
                  <a:lnTo>
                    <a:pt x="176" y="1336"/>
                  </a:lnTo>
                  <a:lnTo>
                    <a:pt x="159" y="1347"/>
                  </a:lnTo>
                  <a:lnTo>
                    <a:pt x="140" y="1354"/>
                  </a:lnTo>
                  <a:lnTo>
                    <a:pt x="121" y="1357"/>
                  </a:lnTo>
                  <a:lnTo>
                    <a:pt x="102" y="1357"/>
                  </a:lnTo>
                  <a:lnTo>
                    <a:pt x="83" y="1354"/>
                  </a:lnTo>
                  <a:lnTo>
                    <a:pt x="64" y="1347"/>
                  </a:lnTo>
                  <a:lnTo>
                    <a:pt x="47" y="1336"/>
                  </a:lnTo>
                  <a:lnTo>
                    <a:pt x="31" y="1323"/>
                  </a:lnTo>
                  <a:lnTo>
                    <a:pt x="19" y="1305"/>
                  </a:lnTo>
                  <a:lnTo>
                    <a:pt x="8" y="1284"/>
                  </a:lnTo>
                  <a:lnTo>
                    <a:pt x="2" y="1260"/>
                  </a:lnTo>
                  <a:lnTo>
                    <a:pt x="0" y="1232"/>
                  </a:lnTo>
                  <a:lnTo>
                    <a:pt x="0" y="367"/>
                  </a:lnTo>
                  <a:lnTo>
                    <a:pt x="2" y="324"/>
                  </a:lnTo>
                  <a:lnTo>
                    <a:pt x="7" y="282"/>
                  </a:lnTo>
                  <a:lnTo>
                    <a:pt x="17" y="243"/>
                  </a:lnTo>
                  <a:lnTo>
                    <a:pt x="29" y="205"/>
                  </a:lnTo>
                  <a:lnTo>
                    <a:pt x="46" y="170"/>
                  </a:lnTo>
                  <a:lnTo>
                    <a:pt x="65" y="137"/>
                  </a:lnTo>
                  <a:lnTo>
                    <a:pt x="88" y="107"/>
                  </a:lnTo>
                  <a:lnTo>
                    <a:pt x="113" y="81"/>
                  </a:lnTo>
                  <a:lnTo>
                    <a:pt x="141" y="58"/>
                  </a:lnTo>
                  <a:lnTo>
                    <a:pt x="173" y="38"/>
                  </a:lnTo>
                  <a:lnTo>
                    <a:pt x="207" y="22"/>
                  </a:lnTo>
                  <a:lnTo>
                    <a:pt x="244" y="11"/>
                  </a:lnTo>
                  <a:lnTo>
                    <a:pt x="284" y="3"/>
                  </a:lnTo>
                  <a:lnTo>
                    <a:pt x="325"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grpSp>
        <p:nvGrpSpPr>
          <p:cNvPr id="10" name="Group 76"/>
          <p:cNvGrpSpPr>
            <a:grpSpLocks/>
          </p:cNvGrpSpPr>
          <p:nvPr/>
        </p:nvGrpSpPr>
        <p:grpSpPr bwMode="auto">
          <a:xfrm>
            <a:off x="2181152" y="5090265"/>
            <a:ext cx="609600" cy="360362"/>
            <a:chOff x="2200" y="1893"/>
            <a:chExt cx="384" cy="227"/>
          </a:xfrm>
          <a:solidFill>
            <a:schemeClr val="accent2"/>
          </a:solidFill>
        </p:grpSpPr>
        <p:sp>
          <p:nvSpPr>
            <p:cNvPr id="11" name="Freeform 77"/>
            <p:cNvSpPr>
              <a:spLocks noChangeArrowheads="1"/>
            </p:cNvSpPr>
            <p:nvPr/>
          </p:nvSpPr>
          <p:spPr bwMode="auto">
            <a:xfrm>
              <a:off x="2256" y="1893"/>
              <a:ext cx="35" cy="35"/>
            </a:xfrm>
            <a:custGeom>
              <a:avLst/>
              <a:gdLst>
                <a:gd name="T0" fmla="*/ 0 w 331"/>
                <a:gd name="T1" fmla="*/ 0 h 330"/>
                <a:gd name="T2" fmla="*/ 0 w 331"/>
                <a:gd name="T3" fmla="*/ 0 h 330"/>
                <a:gd name="T4" fmla="*/ 0 w 331"/>
                <a:gd name="T5" fmla="*/ 0 h 330"/>
                <a:gd name="T6" fmla="*/ 0 w 331"/>
                <a:gd name="T7" fmla="*/ 0 h 330"/>
                <a:gd name="T8" fmla="*/ 0 w 331"/>
                <a:gd name="T9" fmla="*/ 0 h 330"/>
                <a:gd name="T10" fmla="*/ 0 w 331"/>
                <a:gd name="T11" fmla="*/ 0 h 330"/>
                <a:gd name="T12" fmla="*/ 0 w 331"/>
                <a:gd name="T13" fmla="*/ 0 h 330"/>
                <a:gd name="T14" fmla="*/ 0 w 331"/>
                <a:gd name="T15" fmla="*/ 0 h 330"/>
                <a:gd name="T16" fmla="*/ 0 w 331"/>
                <a:gd name="T17" fmla="*/ 0 h 330"/>
                <a:gd name="T18" fmla="*/ 0 w 331"/>
                <a:gd name="T19" fmla="*/ 0 h 330"/>
                <a:gd name="T20" fmla="*/ 0 w 331"/>
                <a:gd name="T21" fmla="*/ 0 h 330"/>
                <a:gd name="T22" fmla="*/ 0 w 331"/>
                <a:gd name="T23" fmla="*/ 0 h 330"/>
                <a:gd name="T24" fmla="*/ 0 w 331"/>
                <a:gd name="T25" fmla="*/ 0 h 330"/>
                <a:gd name="T26" fmla="*/ 0 w 331"/>
                <a:gd name="T27" fmla="*/ 0 h 330"/>
                <a:gd name="T28" fmla="*/ 0 w 331"/>
                <a:gd name="T29" fmla="*/ 0 h 330"/>
                <a:gd name="T30" fmla="*/ 0 w 331"/>
                <a:gd name="T31" fmla="*/ 0 h 330"/>
                <a:gd name="T32" fmla="*/ 0 w 331"/>
                <a:gd name="T33" fmla="*/ 0 h 330"/>
                <a:gd name="T34" fmla="*/ 0 w 331"/>
                <a:gd name="T35" fmla="*/ 0 h 330"/>
                <a:gd name="T36" fmla="*/ 0 w 331"/>
                <a:gd name="T37" fmla="*/ 0 h 330"/>
                <a:gd name="T38" fmla="*/ 0 w 331"/>
                <a:gd name="T39" fmla="*/ 0 h 330"/>
                <a:gd name="T40" fmla="*/ 0 w 331"/>
                <a:gd name="T41" fmla="*/ 0 h 330"/>
                <a:gd name="T42" fmla="*/ 0 w 331"/>
                <a:gd name="T43" fmla="*/ 0 h 330"/>
                <a:gd name="T44" fmla="*/ 0 w 331"/>
                <a:gd name="T45" fmla="*/ 0 h 330"/>
                <a:gd name="T46" fmla="*/ 0 w 331"/>
                <a:gd name="T47" fmla="*/ 0 h 330"/>
                <a:gd name="T48" fmla="*/ 0 w 331"/>
                <a:gd name="T49" fmla="*/ 0 h 330"/>
                <a:gd name="T50" fmla="*/ 0 w 331"/>
                <a:gd name="T51" fmla="*/ 0 h 330"/>
                <a:gd name="T52" fmla="*/ 0 w 331"/>
                <a:gd name="T53" fmla="*/ 0 h 330"/>
                <a:gd name="T54" fmla="*/ 0 w 331"/>
                <a:gd name="T55" fmla="*/ 0 h 330"/>
                <a:gd name="T56" fmla="*/ 0 w 331"/>
                <a:gd name="T57" fmla="*/ 0 h 330"/>
                <a:gd name="T58" fmla="*/ 0 w 331"/>
                <a:gd name="T59" fmla="*/ 0 h 330"/>
                <a:gd name="T60" fmla="*/ 0 w 331"/>
                <a:gd name="T61" fmla="*/ 0 h 330"/>
                <a:gd name="T62" fmla="*/ 0 w 331"/>
                <a:gd name="T63" fmla="*/ 0 h 330"/>
                <a:gd name="T64" fmla="*/ 0 w 331"/>
                <a:gd name="T65" fmla="*/ 0 h 330"/>
                <a:gd name="T66" fmla="*/ 0 w 331"/>
                <a:gd name="T67" fmla="*/ 0 h 330"/>
                <a:gd name="T68" fmla="*/ 0 w 331"/>
                <a:gd name="T69" fmla="*/ 0 h 330"/>
                <a:gd name="T70" fmla="*/ 0 w 331"/>
                <a:gd name="T71" fmla="*/ 0 h 330"/>
                <a:gd name="T72" fmla="*/ 0 w 331"/>
                <a:gd name="T73" fmla="*/ 0 h 3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1"/>
                <a:gd name="T112" fmla="*/ 0 h 330"/>
                <a:gd name="T113" fmla="*/ 331 w 331"/>
                <a:gd name="T114" fmla="*/ 330 h 3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1" h="330">
                  <a:moveTo>
                    <a:pt x="178" y="0"/>
                  </a:moveTo>
                  <a:lnTo>
                    <a:pt x="208" y="4"/>
                  </a:lnTo>
                  <a:lnTo>
                    <a:pt x="235" y="15"/>
                  </a:lnTo>
                  <a:lnTo>
                    <a:pt x="260" y="29"/>
                  </a:lnTo>
                  <a:lnTo>
                    <a:pt x="282" y="47"/>
                  </a:lnTo>
                  <a:lnTo>
                    <a:pt x="300" y="68"/>
                  </a:lnTo>
                  <a:lnTo>
                    <a:pt x="315" y="92"/>
                  </a:lnTo>
                  <a:lnTo>
                    <a:pt x="324" y="120"/>
                  </a:lnTo>
                  <a:lnTo>
                    <a:pt x="331" y="148"/>
                  </a:lnTo>
                  <a:lnTo>
                    <a:pt x="331" y="178"/>
                  </a:lnTo>
                  <a:lnTo>
                    <a:pt x="325" y="208"/>
                  </a:lnTo>
                  <a:lnTo>
                    <a:pt x="316" y="234"/>
                  </a:lnTo>
                  <a:lnTo>
                    <a:pt x="301" y="260"/>
                  </a:lnTo>
                  <a:lnTo>
                    <a:pt x="283" y="281"/>
                  </a:lnTo>
                  <a:lnTo>
                    <a:pt x="262" y="300"/>
                  </a:lnTo>
                  <a:lnTo>
                    <a:pt x="237" y="315"/>
                  </a:lnTo>
                  <a:lnTo>
                    <a:pt x="211" y="324"/>
                  </a:lnTo>
                  <a:lnTo>
                    <a:pt x="182" y="329"/>
                  </a:lnTo>
                  <a:lnTo>
                    <a:pt x="151" y="330"/>
                  </a:lnTo>
                  <a:lnTo>
                    <a:pt x="122" y="325"/>
                  </a:lnTo>
                  <a:lnTo>
                    <a:pt x="95" y="316"/>
                  </a:lnTo>
                  <a:lnTo>
                    <a:pt x="70" y="301"/>
                  </a:lnTo>
                  <a:lnTo>
                    <a:pt x="49" y="283"/>
                  </a:lnTo>
                  <a:lnTo>
                    <a:pt x="29" y="262"/>
                  </a:lnTo>
                  <a:lnTo>
                    <a:pt x="16" y="237"/>
                  </a:lnTo>
                  <a:lnTo>
                    <a:pt x="5" y="211"/>
                  </a:lnTo>
                  <a:lnTo>
                    <a:pt x="0" y="182"/>
                  </a:lnTo>
                  <a:lnTo>
                    <a:pt x="0" y="151"/>
                  </a:lnTo>
                  <a:lnTo>
                    <a:pt x="4" y="122"/>
                  </a:lnTo>
                  <a:lnTo>
                    <a:pt x="15" y="94"/>
                  </a:lnTo>
                  <a:lnTo>
                    <a:pt x="28" y="70"/>
                  </a:lnTo>
                  <a:lnTo>
                    <a:pt x="46" y="49"/>
                  </a:lnTo>
                  <a:lnTo>
                    <a:pt x="68" y="30"/>
                  </a:lnTo>
                  <a:lnTo>
                    <a:pt x="93" y="16"/>
                  </a:lnTo>
                  <a:lnTo>
                    <a:pt x="120" y="5"/>
                  </a:lnTo>
                  <a:lnTo>
                    <a:pt x="148" y="0"/>
                  </a:lnTo>
                  <a:lnTo>
                    <a:pt x="178"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2" name="Freeform 78"/>
            <p:cNvSpPr>
              <a:spLocks noChangeArrowheads="1"/>
            </p:cNvSpPr>
            <p:nvPr/>
          </p:nvSpPr>
          <p:spPr bwMode="auto">
            <a:xfrm>
              <a:off x="2300" y="1900"/>
              <a:ext cx="284" cy="220"/>
            </a:xfrm>
            <a:custGeom>
              <a:avLst/>
              <a:gdLst>
                <a:gd name="T0" fmla="*/ 0 w 2560"/>
                <a:gd name="T1" fmla="*/ 0 h 1991"/>
                <a:gd name="T2" fmla="*/ 0 w 2560"/>
                <a:gd name="T3" fmla="*/ 0 h 1991"/>
                <a:gd name="T4" fmla="*/ 0 w 2560"/>
                <a:gd name="T5" fmla="*/ 0 h 1991"/>
                <a:gd name="T6" fmla="*/ 0 w 2560"/>
                <a:gd name="T7" fmla="*/ 0 h 1991"/>
                <a:gd name="T8" fmla="*/ 0 w 2560"/>
                <a:gd name="T9" fmla="*/ 0 h 1991"/>
                <a:gd name="T10" fmla="*/ 0 w 2560"/>
                <a:gd name="T11" fmla="*/ 0 h 1991"/>
                <a:gd name="T12" fmla="*/ 0 w 2560"/>
                <a:gd name="T13" fmla="*/ 0 h 1991"/>
                <a:gd name="T14" fmla="*/ 0 w 2560"/>
                <a:gd name="T15" fmla="*/ 0 h 1991"/>
                <a:gd name="T16" fmla="*/ 0 w 2560"/>
                <a:gd name="T17" fmla="*/ 0 h 1991"/>
                <a:gd name="T18" fmla="*/ 0 w 2560"/>
                <a:gd name="T19" fmla="*/ 0 h 1991"/>
                <a:gd name="T20" fmla="*/ 0 w 2560"/>
                <a:gd name="T21" fmla="*/ 0 h 1991"/>
                <a:gd name="T22" fmla="*/ 0 w 2560"/>
                <a:gd name="T23" fmla="*/ 0 h 1991"/>
                <a:gd name="T24" fmla="*/ 0 w 2560"/>
                <a:gd name="T25" fmla="*/ 0 h 1991"/>
                <a:gd name="T26" fmla="*/ 0 w 2560"/>
                <a:gd name="T27" fmla="*/ 0 h 1991"/>
                <a:gd name="T28" fmla="*/ 0 w 2560"/>
                <a:gd name="T29" fmla="*/ 0 h 1991"/>
                <a:gd name="T30" fmla="*/ 0 w 2560"/>
                <a:gd name="T31" fmla="*/ 0 h 1991"/>
                <a:gd name="T32" fmla="*/ 0 w 2560"/>
                <a:gd name="T33" fmla="*/ 0 h 1991"/>
                <a:gd name="T34" fmla="*/ 0 w 2560"/>
                <a:gd name="T35" fmla="*/ 0 h 1991"/>
                <a:gd name="T36" fmla="*/ 0 w 2560"/>
                <a:gd name="T37" fmla="*/ 0 h 1991"/>
                <a:gd name="T38" fmla="*/ 0 w 2560"/>
                <a:gd name="T39" fmla="*/ 0 h 1991"/>
                <a:gd name="T40" fmla="*/ 0 w 2560"/>
                <a:gd name="T41" fmla="*/ 0 h 1991"/>
                <a:gd name="T42" fmla="*/ 0 w 2560"/>
                <a:gd name="T43" fmla="*/ 0 h 1991"/>
                <a:gd name="T44" fmla="*/ 0 w 2560"/>
                <a:gd name="T45" fmla="*/ 0 h 1991"/>
                <a:gd name="T46" fmla="*/ 0 w 2560"/>
                <a:gd name="T47" fmla="*/ 0 h 1991"/>
                <a:gd name="T48" fmla="*/ 0 w 2560"/>
                <a:gd name="T49" fmla="*/ 0 h 1991"/>
                <a:gd name="T50" fmla="*/ 0 w 2560"/>
                <a:gd name="T51" fmla="*/ 0 h 1991"/>
                <a:gd name="T52" fmla="*/ 0 w 2560"/>
                <a:gd name="T53" fmla="*/ 0 h 1991"/>
                <a:gd name="T54" fmla="*/ 0 w 2560"/>
                <a:gd name="T55" fmla="*/ 0 h 1991"/>
                <a:gd name="T56" fmla="*/ 0 w 2560"/>
                <a:gd name="T57" fmla="*/ 0 h 1991"/>
                <a:gd name="T58" fmla="*/ 0 w 2560"/>
                <a:gd name="T59" fmla="*/ 0 h 1991"/>
                <a:gd name="T60" fmla="*/ 0 w 2560"/>
                <a:gd name="T61" fmla="*/ 0 h 1991"/>
                <a:gd name="T62" fmla="*/ 0 w 2560"/>
                <a:gd name="T63" fmla="*/ 0 h 1991"/>
                <a:gd name="T64" fmla="*/ 0 w 2560"/>
                <a:gd name="T65" fmla="*/ 0 h 1991"/>
                <a:gd name="T66" fmla="*/ 0 w 2560"/>
                <a:gd name="T67" fmla="*/ 0 h 1991"/>
                <a:gd name="T68" fmla="*/ 0 w 2560"/>
                <a:gd name="T69" fmla="*/ 0 h 1991"/>
                <a:gd name="T70" fmla="*/ 0 w 2560"/>
                <a:gd name="T71" fmla="*/ 0 h 1991"/>
                <a:gd name="T72" fmla="*/ 0 w 2560"/>
                <a:gd name="T73" fmla="*/ 0 h 1991"/>
                <a:gd name="T74" fmla="*/ 0 w 2560"/>
                <a:gd name="T75" fmla="*/ 0 h 1991"/>
                <a:gd name="T76" fmla="*/ 0 w 2560"/>
                <a:gd name="T77" fmla="*/ 0 h 1991"/>
                <a:gd name="T78" fmla="*/ 0 w 2560"/>
                <a:gd name="T79" fmla="*/ 0 h 1991"/>
                <a:gd name="T80" fmla="*/ 0 w 2560"/>
                <a:gd name="T81" fmla="*/ 0 h 1991"/>
                <a:gd name="T82" fmla="*/ 0 w 2560"/>
                <a:gd name="T83" fmla="*/ 0 h 1991"/>
                <a:gd name="T84" fmla="*/ 0 w 2560"/>
                <a:gd name="T85" fmla="*/ 0 h 1991"/>
                <a:gd name="T86" fmla="*/ 0 w 2560"/>
                <a:gd name="T87" fmla="*/ 0 h 1991"/>
                <a:gd name="T88" fmla="*/ 0 w 2560"/>
                <a:gd name="T89" fmla="*/ 0 h 1991"/>
                <a:gd name="T90" fmla="*/ 0 w 2560"/>
                <a:gd name="T91" fmla="*/ 0 h 1991"/>
                <a:gd name="T92" fmla="*/ 0 w 2560"/>
                <a:gd name="T93" fmla="*/ 0 h 1991"/>
                <a:gd name="T94" fmla="*/ 0 w 2560"/>
                <a:gd name="T95" fmla="*/ 0 h 1991"/>
                <a:gd name="T96" fmla="*/ 0 w 2560"/>
                <a:gd name="T97" fmla="*/ 0 h 1991"/>
                <a:gd name="T98" fmla="*/ 0 w 2560"/>
                <a:gd name="T99" fmla="*/ 0 h 1991"/>
                <a:gd name="T100" fmla="*/ 0 w 2560"/>
                <a:gd name="T101" fmla="*/ 0 h 19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60"/>
                <a:gd name="T154" fmla="*/ 0 h 1991"/>
                <a:gd name="T155" fmla="*/ 2560 w 2560"/>
                <a:gd name="T156" fmla="*/ 1991 h 19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60" h="1991">
                  <a:moveTo>
                    <a:pt x="2157" y="865"/>
                  </a:moveTo>
                  <a:lnTo>
                    <a:pt x="2125" y="867"/>
                  </a:lnTo>
                  <a:lnTo>
                    <a:pt x="2095" y="876"/>
                  </a:lnTo>
                  <a:lnTo>
                    <a:pt x="2068" y="889"/>
                  </a:lnTo>
                  <a:lnTo>
                    <a:pt x="2042" y="906"/>
                  </a:lnTo>
                  <a:lnTo>
                    <a:pt x="2021" y="926"/>
                  </a:lnTo>
                  <a:lnTo>
                    <a:pt x="2004" y="949"/>
                  </a:lnTo>
                  <a:lnTo>
                    <a:pt x="1990" y="975"/>
                  </a:lnTo>
                  <a:lnTo>
                    <a:pt x="1983" y="1005"/>
                  </a:lnTo>
                  <a:lnTo>
                    <a:pt x="1979" y="1035"/>
                  </a:lnTo>
                  <a:lnTo>
                    <a:pt x="1983" y="1066"/>
                  </a:lnTo>
                  <a:lnTo>
                    <a:pt x="1990" y="1094"/>
                  </a:lnTo>
                  <a:lnTo>
                    <a:pt x="2004" y="1121"/>
                  </a:lnTo>
                  <a:lnTo>
                    <a:pt x="2021" y="1145"/>
                  </a:lnTo>
                  <a:lnTo>
                    <a:pt x="2042" y="1165"/>
                  </a:lnTo>
                  <a:lnTo>
                    <a:pt x="2068" y="1182"/>
                  </a:lnTo>
                  <a:lnTo>
                    <a:pt x="2095" y="1195"/>
                  </a:lnTo>
                  <a:lnTo>
                    <a:pt x="2125" y="1202"/>
                  </a:lnTo>
                  <a:lnTo>
                    <a:pt x="2157" y="1205"/>
                  </a:lnTo>
                  <a:lnTo>
                    <a:pt x="2188" y="1202"/>
                  </a:lnTo>
                  <a:lnTo>
                    <a:pt x="2219" y="1195"/>
                  </a:lnTo>
                  <a:lnTo>
                    <a:pt x="2247" y="1182"/>
                  </a:lnTo>
                  <a:lnTo>
                    <a:pt x="2271" y="1165"/>
                  </a:lnTo>
                  <a:lnTo>
                    <a:pt x="2292" y="1145"/>
                  </a:lnTo>
                  <a:lnTo>
                    <a:pt x="2310" y="1121"/>
                  </a:lnTo>
                  <a:lnTo>
                    <a:pt x="2323" y="1094"/>
                  </a:lnTo>
                  <a:lnTo>
                    <a:pt x="2332" y="1066"/>
                  </a:lnTo>
                  <a:lnTo>
                    <a:pt x="2334" y="1035"/>
                  </a:lnTo>
                  <a:lnTo>
                    <a:pt x="2332" y="1005"/>
                  </a:lnTo>
                  <a:lnTo>
                    <a:pt x="2323" y="975"/>
                  </a:lnTo>
                  <a:lnTo>
                    <a:pt x="2310" y="949"/>
                  </a:lnTo>
                  <a:lnTo>
                    <a:pt x="2292" y="926"/>
                  </a:lnTo>
                  <a:lnTo>
                    <a:pt x="2271" y="906"/>
                  </a:lnTo>
                  <a:lnTo>
                    <a:pt x="2247" y="889"/>
                  </a:lnTo>
                  <a:lnTo>
                    <a:pt x="2219" y="876"/>
                  </a:lnTo>
                  <a:lnTo>
                    <a:pt x="2188" y="867"/>
                  </a:lnTo>
                  <a:lnTo>
                    <a:pt x="2157" y="865"/>
                  </a:lnTo>
                  <a:close/>
                  <a:moveTo>
                    <a:pt x="403" y="865"/>
                  </a:moveTo>
                  <a:lnTo>
                    <a:pt x="371" y="867"/>
                  </a:lnTo>
                  <a:lnTo>
                    <a:pt x="340" y="876"/>
                  </a:lnTo>
                  <a:lnTo>
                    <a:pt x="313" y="889"/>
                  </a:lnTo>
                  <a:lnTo>
                    <a:pt x="288" y="906"/>
                  </a:lnTo>
                  <a:lnTo>
                    <a:pt x="267" y="926"/>
                  </a:lnTo>
                  <a:lnTo>
                    <a:pt x="249" y="949"/>
                  </a:lnTo>
                  <a:lnTo>
                    <a:pt x="236" y="975"/>
                  </a:lnTo>
                  <a:lnTo>
                    <a:pt x="228" y="1005"/>
                  </a:lnTo>
                  <a:lnTo>
                    <a:pt x="225" y="1035"/>
                  </a:lnTo>
                  <a:lnTo>
                    <a:pt x="228" y="1066"/>
                  </a:lnTo>
                  <a:lnTo>
                    <a:pt x="236" y="1094"/>
                  </a:lnTo>
                  <a:lnTo>
                    <a:pt x="249" y="1121"/>
                  </a:lnTo>
                  <a:lnTo>
                    <a:pt x="267" y="1145"/>
                  </a:lnTo>
                  <a:lnTo>
                    <a:pt x="288" y="1165"/>
                  </a:lnTo>
                  <a:lnTo>
                    <a:pt x="313" y="1182"/>
                  </a:lnTo>
                  <a:lnTo>
                    <a:pt x="340" y="1195"/>
                  </a:lnTo>
                  <a:lnTo>
                    <a:pt x="371" y="1202"/>
                  </a:lnTo>
                  <a:lnTo>
                    <a:pt x="403" y="1205"/>
                  </a:lnTo>
                  <a:lnTo>
                    <a:pt x="435" y="1202"/>
                  </a:lnTo>
                  <a:lnTo>
                    <a:pt x="465" y="1195"/>
                  </a:lnTo>
                  <a:lnTo>
                    <a:pt x="492" y="1182"/>
                  </a:lnTo>
                  <a:lnTo>
                    <a:pt x="518" y="1165"/>
                  </a:lnTo>
                  <a:lnTo>
                    <a:pt x="539" y="1145"/>
                  </a:lnTo>
                  <a:lnTo>
                    <a:pt x="556" y="1121"/>
                  </a:lnTo>
                  <a:lnTo>
                    <a:pt x="570" y="1094"/>
                  </a:lnTo>
                  <a:lnTo>
                    <a:pt x="577" y="1066"/>
                  </a:lnTo>
                  <a:lnTo>
                    <a:pt x="580" y="1035"/>
                  </a:lnTo>
                  <a:lnTo>
                    <a:pt x="577" y="1005"/>
                  </a:lnTo>
                  <a:lnTo>
                    <a:pt x="570" y="975"/>
                  </a:lnTo>
                  <a:lnTo>
                    <a:pt x="556" y="949"/>
                  </a:lnTo>
                  <a:lnTo>
                    <a:pt x="539" y="926"/>
                  </a:lnTo>
                  <a:lnTo>
                    <a:pt x="518" y="906"/>
                  </a:lnTo>
                  <a:lnTo>
                    <a:pt x="492" y="889"/>
                  </a:lnTo>
                  <a:lnTo>
                    <a:pt x="465" y="876"/>
                  </a:lnTo>
                  <a:lnTo>
                    <a:pt x="435" y="867"/>
                  </a:lnTo>
                  <a:lnTo>
                    <a:pt x="403" y="865"/>
                  </a:lnTo>
                  <a:close/>
                  <a:moveTo>
                    <a:pt x="725" y="184"/>
                  </a:moveTo>
                  <a:lnTo>
                    <a:pt x="701" y="186"/>
                  </a:lnTo>
                  <a:lnTo>
                    <a:pt x="681" y="191"/>
                  </a:lnTo>
                  <a:lnTo>
                    <a:pt x="663" y="200"/>
                  </a:lnTo>
                  <a:lnTo>
                    <a:pt x="648" y="211"/>
                  </a:lnTo>
                  <a:lnTo>
                    <a:pt x="635" y="225"/>
                  </a:lnTo>
                  <a:lnTo>
                    <a:pt x="624" y="242"/>
                  </a:lnTo>
                  <a:lnTo>
                    <a:pt x="615" y="260"/>
                  </a:lnTo>
                  <a:lnTo>
                    <a:pt x="607" y="280"/>
                  </a:lnTo>
                  <a:lnTo>
                    <a:pt x="449" y="670"/>
                  </a:lnTo>
                  <a:lnTo>
                    <a:pt x="1280" y="670"/>
                  </a:lnTo>
                  <a:lnTo>
                    <a:pt x="1447" y="672"/>
                  </a:lnTo>
                  <a:lnTo>
                    <a:pt x="1704" y="578"/>
                  </a:lnTo>
                  <a:lnTo>
                    <a:pt x="1949" y="672"/>
                  </a:lnTo>
                  <a:lnTo>
                    <a:pt x="2111" y="670"/>
                  </a:lnTo>
                  <a:lnTo>
                    <a:pt x="1953" y="280"/>
                  </a:lnTo>
                  <a:lnTo>
                    <a:pt x="1944" y="260"/>
                  </a:lnTo>
                  <a:lnTo>
                    <a:pt x="1936" y="242"/>
                  </a:lnTo>
                  <a:lnTo>
                    <a:pt x="1924" y="225"/>
                  </a:lnTo>
                  <a:lnTo>
                    <a:pt x="1912" y="211"/>
                  </a:lnTo>
                  <a:lnTo>
                    <a:pt x="1897" y="200"/>
                  </a:lnTo>
                  <a:lnTo>
                    <a:pt x="1879" y="191"/>
                  </a:lnTo>
                  <a:lnTo>
                    <a:pt x="1859" y="186"/>
                  </a:lnTo>
                  <a:lnTo>
                    <a:pt x="1834" y="184"/>
                  </a:lnTo>
                  <a:lnTo>
                    <a:pt x="725" y="184"/>
                  </a:lnTo>
                  <a:close/>
                  <a:moveTo>
                    <a:pt x="728" y="0"/>
                  </a:moveTo>
                  <a:lnTo>
                    <a:pt x="1832" y="0"/>
                  </a:lnTo>
                  <a:lnTo>
                    <a:pt x="1873" y="2"/>
                  </a:lnTo>
                  <a:lnTo>
                    <a:pt x="1913" y="8"/>
                  </a:lnTo>
                  <a:lnTo>
                    <a:pt x="1948" y="16"/>
                  </a:lnTo>
                  <a:lnTo>
                    <a:pt x="1979" y="29"/>
                  </a:lnTo>
                  <a:lnTo>
                    <a:pt x="2008" y="44"/>
                  </a:lnTo>
                  <a:lnTo>
                    <a:pt x="2034" y="62"/>
                  </a:lnTo>
                  <a:lnTo>
                    <a:pt x="2056" y="82"/>
                  </a:lnTo>
                  <a:lnTo>
                    <a:pt x="2075" y="104"/>
                  </a:lnTo>
                  <a:lnTo>
                    <a:pt x="2092" y="128"/>
                  </a:lnTo>
                  <a:lnTo>
                    <a:pt x="2107" y="152"/>
                  </a:lnTo>
                  <a:lnTo>
                    <a:pt x="2118" y="178"/>
                  </a:lnTo>
                  <a:lnTo>
                    <a:pt x="2329" y="683"/>
                  </a:lnTo>
                  <a:lnTo>
                    <a:pt x="2349" y="686"/>
                  </a:lnTo>
                  <a:lnTo>
                    <a:pt x="2371" y="694"/>
                  </a:lnTo>
                  <a:lnTo>
                    <a:pt x="2394" y="702"/>
                  </a:lnTo>
                  <a:lnTo>
                    <a:pt x="2418" y="715"/>
                  </a:lnTo>
                  <a:lnTo>
                    <a:pt x="2441" y="731"/>
                  </a:lnTo>
                  <a:lnTo>
                    <a:pt x="2464" y="749"/>
                  </a:lnTo>
                  <a:lnTo>
                    <a:pt x="2487" y="769"/>
                  </a:lnTo>
                  <a:lnTo>
                    <a:pt x="2506" y="793"/>
                  </a:lnTo>
                  <a:lnTo>
                    <a:pt x="2524" y="820"/>
                  </a:lnTo>
                  <a:lnTo>
                    <a:pt x="2539" y="849"/>
                  </a:lnTo>
                  <a:lnTo>
                    <a:pt x="2550" y="882"/>
                  </a:lnTo>
                  <a:lnTo>
                    <a:pt x="2557" y="917"/>
                  </a:lnTo>
                  <a:lnTo>
                    <a:pt x="2560" y="956"/>
                  </a:lnTo>
                  <a:lnTo>
                    <a:pt x="2560" y="1597"/>
                  </a:lnTo>
                  <a:lnTo>
                    <a:pt x="2355" y="1597"/>
                  </a:lnTo>
                  <a:lnTo>
                    <a:pt x="2355" y="1803"/>
                  </a:lnTo>
                  <a:lnTo>
                    <a:pt x="2353" y="1836"/>
                  </a:lnTo>
                  <a:lnTo>
                    <a:pt x="2347" y="1866"/>
                  </a:lnTo>
                  <a:lnTo>
                    <a:pt x="2336" y="1892"/>
                  </a:lnTo>
                  <a:lnTo>
                    <a:pt x="2321" y="1915"/>
                  </a:lnTo>
                  <a:lnTo>
                    <a:pt x="2304" y="1935"/>
                  </a:lnTo>
                  <a:lnTo>
                    <a:pt x="2285" y="1952"/>
                  </a:lnTo>
                  <a:lnTo>
                    <a:pt x="2263" y="1966"/>
                  </a:lnTo>
                  <a:lnTo>
                    <a:pt x="2239" y="1977"/>
                  </a:lnTo>
                  <a:lnTo>
                    <a:pt x="2215" y="1985"/>
                  </a:lnTo>
                  <a:lnTo>
                    <a:pt x="2190" y="1989"/>
                  </a:lnTo>
                  <a:lnTo>
                    <a:pt x="2163" y="1991"/>
                  </a:lnTo>
                  <a:lnTo>
                    <a:pt x="2137" y="1989"/>
                  </a:lnTo>
                  <a:lnTo>
                    <a:pt x="2111" y="1984"/>
                  </a:lnTo>
                  <a:lnTo>
                    <a:pt x="2087" y="1977"/>
                  </a:lnTo>
                  <a:lnTo>
                    <a:pt x="2063" y="1966"/>
                  </a:lnTo>
                  <a:lnTo>
                    <a:pt x="2041" y="1951"/>
                  </a:lnTo>
                  <a:lnTo>
                    <a:pt x="2022" y="1934"/>
                  </a:lnTo>
                  <a:lnTo>
                    <a:pt x="2004" y="1914"/>
                  </a:lnTo>
                  <a:lnTo>
                    <a:pt x="1990" y="1891"/>
                  </a:lnTo>
                  <a:lnTo>
                    <a:pt x="1979" y="1864"/>
                  </a:lnTo>
                  <a:lnTo>
                    <a:pt x="1973" y="1836"/>
                  </a:lnTo>
                  <a:lnTo>
                    <a:pt x="1971" y="1803"/>
                  </a:lnTo>
                  <a:lnTo>
                    <a:pt x="1971" y="1597"/>
                  </a:lnTo>
                  <a:lnTo>
                    <a:pt x="589" y="1597"/>
                  </a:lnTo>
                  <a:lnTo>
                    <a:pt x="589" y="1803"/>
                  </a:lnTo>
                  <a:lnTo>
                    <a:pt x="587" y="1836"/>
                  </a:lnTo>
                  <a:lnTo>
                    <a:pt x="580" y="1864"/>
                  </a:lnTo>
                  <a:lnTo>
                    <a:pt x="570" y="1891"/>
                  </a:lnTo>
                  <a:lnTo>
                    <a:pt x="555" y="1914"/>
                  </a:lnTo>
                  <a:lnTo>
                    <a:pt x="538" y="1934"/>
                  </a:lnTo>
                  <a:lnTo>
                    <a:pt x="519" y="1951"/>
                  </a:lnTo>
                  <a:lnTo>
                    <a:pt x="496" y="1966"/>
                  </a:lnTo>
                  <a:lnTo>
                    <a:pt x="473" y="1977"/>
                  </a:lnTo>
                  <a:lnTo>
                    <a:pt x="449" y="1984"/>
                  </a:lnTo>
                  <a:lnTo>
                    <a:pt x="423" y="1989"/>
                  </a:lnTo>
                  <a:lnTo>
                    <a:pt x="397" y="1991"/>
                  </a:lnTo>
                  <a:lnTo>
                    <a:pt x="370" y="1989"/>
                  </a:lnTo>
                  <a:lnTo>
                    <a:pt x="345" y="1985"/>
                  </a:lnTo>
                  <a:lnTo>
                    <a:pt x="320" y="1977"/>
                  </a:lnTo>
                  <a:lnTo>
                    <a:pt x="296" y="1966"/>
                  </a:lnTo>
                  <a:lnTo>
                    <a:pt x="275" y="1952"/>
                  </a:lnTo>
                  <a:lnTo>
                    <a:pt x="254" y="1935"/>
                  </a:lnTo>
                  <a:lnTo>
                    <a:pt x="237" y="1915"/>
                  </a:lnTo>
                  <a:lnTo>
                    <a:pt x="224" y="1892"/>
                  </a:lnTo>
                  <a:lnTo>
                    <a:pt x="213" y="1866"/>
                  </a:lnTo>
                  <a:lnTo>
                    <a:pt x="207" y="1836"/>
                  </a:lnTo>
                  <a:lnTo>
                    <a:pt x="205" y="1803"/>
                  </a:lnTo>
                  <a:lnTo>
                    <a:pt x="205" y="1597"/>
                  </a:lnTo>
                  <a:lnTo>
                    <a:pt x="0" y="1597"/>
                  </a:lnTo>
                  <a:lnTo>
                    <a:pt x="0" y="955"/>
                  </a:lnTo>
                  <a:lnTo>
                    <a:pt x="2" y="917"/>
                  </a:lnTo>
                  <a:lnTo>
                    <a:pt x="9" y="882"/>
                  </a:lnTo>
                  <a:lnTo>
                    <a:pt x="21" y="849"/>
                  </a:lnTo>
                  <a:lnTo>
                    <a:pt x="36" y="820"/>
                  </a:lnTo>
                  <a:lnTo>
                    <a:pt x="53" y="793"/>
                  </a:lnTo>
                  <a:lnTo>
                    <a:pt x="73" y="769"/>
                  </a:lnTo>
                  <a:lnTo>
                    <a:pt x="95" y="749"/>
                  </a:lnTo>
                  <a:lnTo>
                    <a:pt x="119" y="730"/>
                  </a:lnTo>
                  <a:lnTo>
                    <a:pt x="142" y="715"/>
                  </a:lnTo>
                  <a:lnTo>
                    <a:pt x="165" y="702"/>
                  </a:lnTo>
                  <a:lnTo>
                    <a:pt x="189" y="693"/>
                  </a:lnTo>
                  <a:lnTo>
                    <a:pt x="211" y="686"/>
                  </a:lnTo>
                  <a:lnTo>
                    <a:pt x="231" y="683"/>
                  </a:lnTo>
                  <a:lnTo>
                    <a:pt x="441" y="178"/>
                  </a:lnTo>
                  <a:lnTo>
                    <a:pt x="453" y="152"/>
                  </a:lnTo>
                  <a:lnTo>
                    <a:pt x="468" y="128"/>
                  </a:lnTo>
                  <a:lnTo>
                    <a:pt x="485" y="104"/>
                  </a:lnTo>
                  <a:lnTo>
                    <a:pt x="504" y="82"/>
                  </a:lnTo>
                  <a:lnTo>
                    <a:pt x="527" y="62"/>
                  </a:lnTo>
                  <a:lnTo>
                    <a:pt x="552" y="44"/>
                  </a:lnTo>
                  <a:lnTo>
                    <a:pt x="580" y="29"/>
                  </a:lnTo>
                  <a:lnTo>
                    <a:pt x="612" y="16"/>
                  </a:lnTo>
                  <a:lnTo>
                    <a:pt x="647" y="8"/>
                  </a:lnTo>
                  <a:lnTo>
                    <a:pt x="686" y="2"/>
                  </a:lnTo>
                  <a:lnTo>
                    <a:pt x="728"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3" name="Freeform 79"/>
            <p:cNvSpPr>
              <a:spLocks noChangeArrowheads="1"/>
            </p:cNvSpPr>
            <p:nvPr/>
          </p:nvSpPr>
          <p:spPr bwMode="auto">
            <a:xfrm>
              <a:off x="2470" y="1927"/>
              <a:ext cx="36" cy="36"/>
            </a:xfrm>
            <a:custGeom>
              <a:avLst/>
              <a:gdLst>
                <a:gd name="T0" fmla="*/ 0 w 332"/>
                <a:gd name="T1" fmla="*/ 0 h 332"/>
                <a:gd name="T2" fmla="*/ 0 w 332"/>
                <a:gd name="T3" fmla="*/ 0 h 332"/>
                <a:gd name="T4" fmla="*/ 0 w 332"/>
                <a:gd name="T5" fmla="*/ 0 h 332"/>
                <a:gd name="T6" fmla="*/ 0 w 332"/>
                <a:gd name="T7" fmla="*/ 0 h 332"/>
                <a:gd name="T8" fmla="*/ 0 w 332"/>
                <a:gd name="T9" fmla="*/ 0 h 332"/>
                <a:gd name="T10" fmla="*/ 0 w 332"/>
                <a:gd name="T11" fmla="*/ 0 h 332"/>
                <a:gd name="T12" fmla="*/ 0 w 332"/>
                <a:gd name="T13" fmla="*/ 0 h 332"/>
                <a:gd name="T14" fmla="*/ 0 w 332"/>
                <a:gd name="T15" fmla="*/ 0 h 332"/>
                <a:gd name="T16" fmla="*/ 0 w 332"/>
                <a:gd name="T17" fmla="*/ 0 h 332"/>
                <a:gd name="T18" fmla="*/ 0 w 332"/>
                <a:gd name="T19" fmla="*/ 0 h 332"/>
                <a:gd name="T20" fmla="*/ 0 w 332"/>
                <a:gd name="T21" fmla="*/ 0 h 332"/>
                <a:gd name="T22" fmla="*/ 0 w 332"/>
                <a:gd name="T23" fmla="*/ 0 h 332"/>
                <a:gd name="T24" fmla="*/ 0 w 332"/>
                <a:gd name="T25" fmla="*/ 0 h 332"/>
                <a:gd name="T26" fmla="*/ 0 w 332"/>
                <a:gd name="T27" fmla="*/ 0 h 332"/>
                <a:gd name="T28" fmla="*/ 0 w 332"/>
                <a:gd name="T29" fmla="*/ 0 h 332"/>
                <a:gd name="T30" fmla="*/ 0 w 332"/>
                <a:gd name="T31" fmla="*/ 0 h 332"/>
                <a:gd name="T32" fmla="*/ 0 w 332"/>
                <a:gd name="T33" fmla="*/ 0 h 332"/>
                <a:gd name="T34" fmla="*/ 0 w 332"/>
                <a:gd name="T35" fmla="*/ 0 h 332"/>
                <a:gd name="T36" fmla="*/ 0 w 332"/>
                <a:gd name="T37" fmla="*/ 0 h 332"/>
                <a:gd name="T38" fmla="*/ 0 w 332"/>
                <a:gd name="T39" fmla="*/ 0 h 332"/>
                <a:gd name="T40" fmla="*/ 0 w 332"/>
                <a:gd name="T41" fmla="*/ 0 h 332"/>
                <a:gd name="T42" fmla="*/ 0 w 332"/>
                <a:gd name="T43" fmla="*/ 0 h 332"/>
                <a:gd name="T44" fmla="*/ 0 w 332"/>
                <a:gd name="T45" fmla="*/ 0 h 332"/>
                <a:gd name="T46" fmla="*/ 0 w 332"/>
                <a:gd name="T47" fmla="*/ 0 h 332"/>
                <a:gd name="T48" fmla="*/ 0 w 332"/>
                <a:gd name="T49" fmla="*/ 0 h 332"/>
                <a:gd name="T50" fmla="*/ 0 w 332"/>
                <a:gd name="T51" fmla="*/ 0 h 332"/>
                <a:gd name="T52" fmla="*/ 0 w 332"/>
                <a:gd name="T53" fmla="*/ 0 h 332"/>
                <a:gd name="T54" fmla="*/ 0 w 332"/>
                <a:gd name="T55" fmla="*/ 0 h 332"/>
                <a:gd name="T56" fmla="*/ 0 w 332"/>
                <a:gd name="T57" fmla="*/ 0 h 332"/>
                <a:gd name="T58" fmla="*/ 0 w 332"/>
                <a:gd name="T59" fmla="*/ 0 h 332"/>
                <a:gd name="T60" fmla="*/ 0 w 332"/>
                <a:gd name="T61" fmla="*/ 0 h 332"/>
                <a:gd name="T62" fmla="*/ 0 w 332"/>
                <a:gd name="T63" fmla="*/ 0 h 332"/>
                <a:gd name="T64" fmla="*/ 0 w 332"/>
                <a:gd name="T65" fmla="*/ 0 h 332"/>
                <a:gd name="T66" fmla="*/ 0 w 332"/>
                <a:gd name="T67" fmla="*/ 0 h 332"/>
                <a:gd name="T68" fmla="*/ 0 w 332"/>
                <a:gd name="T69" fmla="*/ 0 h 332"/>
                <a:gd name="T70" fmla="*/ 0 w 332"/>
                <a:gd name="T71" fmla="*/ 0 h 332"/>
                <a:gd name="T72" fmla="*/ 0 w 332"/>
                <a:gd name="T73" fmla="*/ 0 h 3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2"/>
                <a:gd name="T112" fmla="*/ 0 h 332"/>
                <a:gd name="T113" fmla="*/ 332 w 332"/>
                <a:gd name="T114" fmla="*/ 332 h 3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2" h="332">
                  <a:moveTo>
                    <a:pt x="180" y="0"/>
                  </a:moveTo>
                  <a:lnTo>
                    <a:pt x="209" y="4"/>
                  </a:lnTo>
                  <a:lnTo>
                    <a:pt x="237" y="15"/>
                  </a:lnTo>
                  <a:lnTo>
                    <a:pt x="261" y="29"/>
                  </a:lnTo>
                  <a:lnTo>
                    <a:pt x="284" y="47"/>
                  </a:lnTo>
                  <a:lnTo>
                    <a:pt x="302" y="69"/>
                  </a:lnTo>
                  <a:lnTo>
                    <a:pt x="317" y="93"/>
                  </a:lnTo>
                  <a:lnTo>
                    <a:pt x="327" y="120"/>
                  </a:lnTo>
                  <a:lnTo>
                    <a:pt x="332" y="148"/>
                  </a:lnTo>
                  <a:lnTo>
                    <a:pt x="332" y="179"/>
                  </a:lnTo>
                  <a:lnTo>
                    <a:pt x="327" y="208"/>
                  </a:lnTo>
                  <a:lnTo>
                    <a:pt x="318" y="235"/>
                  </a:lnTo>
                  <a:lnTo>
                    <a:pt x="304" y="261"/>
                  </a:lnTo>
                  <a:lnTo>
                    <a:pt x="285" y="282"/>
                  </a:lnTo>
                  <a:lnTo>
                    <a:pt x="264" y="301"/>
                  </a:lnTo>
                  <a:lnTo>
                    <a:pt x="239" y="315"/>
                  </a:lnTo>
                  <a:lnTo>
                    <a:pt x="213" y="325"/>
                  </a:lnTo>
                  <a:lnTo>
                    <a:pt x="184" y="331"/>
                  </a:lnTo>
                  <a:lnTo>
                    <a:pt x="153" y="332"/>
                  </a:lnTo>
                  <a:lnTo>
                    <a:pt x="123" y="326"/>
                  </a:lnTo>
                  <a:lnTo>
                    <a:pt x="96" y="317"/>
                  </a:lnTo>
                  <a:lnTo>
                    <a:pt x="72" y="302"/>
                  </a:lnTo>
                  <a:lnTo>
                    <a:pt x="49" y="284"/>
                  </a:lnTo>
                  <a:lnTo>
                    <a:pt x="31" y="262"/>
                  </a:lnTo>
                  <a:lnTo>
                    <a:pt x="16" y="237"/>
                  </a:lnTo>
                  <a:lnTo>
                    <a:pt x="7" y="211"/>
                  </a:lnTo>
                  <a:lnTo>
                    <a:pt x="0" y="182"/>
                  </a:lnTo>
                  <a:lnTo>
                    <a:pt x="0" y="153"/>
                  </a:lnTo>
                  <a:lnTo>
                    <a:pt x="6" y="123"/>
                  </a:lnTo>
                  <a:lnTo>
                    <a:pt x="15" y="95"/>
                  </a:lnTo>
                  <a:lnTo>
                    <a:pt x="30" y="70"/>
                  </a:lnTo>
                  <a:lnTo>
                    <a:pt x="48" y="49"/>
                  </a:lnTo>
                  <a:lnTo>
                    <a:pt x="69" y="30"/>
                  </a:lnTo>
                  <a:lnTo>
                    <a:pt x="94" y="16"/>
                  </a:lnTo>
                  <a:lnTo>
                    <a:pt x="121" y="5"/>
                  </a:lnTo>
                  <a:lnTo>
                    <a:pt x="150" y="0"/>
                  </a:lnTo>
                  <a:lnTo>
                    <a:pt x="18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4" name="Freeform 80"/>
            <p:cNvSpPr>
              <a:spLocks noChangeArrowheads="1"/>
            </p:cNvSpPr>
            <p:nvPr/>
          </p:nvSpPr>
          <p:spPr bwMode="auto">
            <a:xfrm>
              <a:off x="2310" y="1975"/>
              <a:ext cx="0" cy="0"/>
            </a:xfrm>
            <a:custGeom>
              <a:avLst/>
              <a:gdLst>
                <a:gd name="T0" fmla="*/ 0 w 4"/>
                <a:gd name="T1" fmla="*/ 0 h 1"/>
                <a:gd name="T2" fmla="*/ 0 w 4"/>
                <a:gd name="T3" fmla="*/ 0 h 1"/>
                <a:gd name="T4" fmla="*/ 0 w 4"/>
                <a:gd name="T5" fmla="*/ 0 h 1"/>
                <a:gd name="T6" fmla="*/ 0 w 4"/>
                <a:gd name="T7" fmla="*/ 0 h 1"/>
                <a:gd name="T8" fmla="*/ 0 w 4"/>
                <a:gd name="T9" fmla="*/ 0 h 1"/>
                <a:gd name="T10" fmla="*/ 0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4" y="0"/>
                  </a:lnTo>
                  <a:lnTo>
                    <a:pt x="3" y="0"/>
                  </a:lnTo>
                  <a:lnTo>
                    <a:pt x="2" y="0"/>
                  </a:lnTo>
                  <a:lnTo>
                    <a:pt x="0" y="1"/>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5" name="Freeform 81"/>
            <p:cNvSpPr>
              <a:spLocks noChangeArrowheads="1"/>
            </p:cNvSpPr>
            <p:nvPr/>
          </p:nvSpPr>
          <p:spPr bwMode="auto">
            <a:xfrm>
              <a:off x="2250" y="1978"/>
              <a:ext cx="47" cy="98"/>
            </a:xfrm>
            <a:custGeom>
              <a:avLst/>
              <a:gdLst>
                <a:gd name="T0" fmla="*/ 0 w 431"/>
                <a:gd name="T1" fmla="*/ 0 h 891"/>
                <a:gd name="T2" fmla="*/ 0 w 431"/>
                <a:gd name="T3" fmla="*/ 0 h 891"/>
                <a:gd name="T4" fmla="*/ 0 w 431"/>
                <a:gd name="T5" fmla="*/ 0 h 891"/>
                <a:gd name="T6" fmla="*/ 0 w 431"/>
                <a:gd name="T7" fmla="*/ 0 h 891"/>
                <a:gd name="T8" fmla="*/ 0 w 431"/>
                <a:gd name="T9" fmla="*/ 0 h 891"/>
                <a:gd name="T10" fmla="*/ 0 w 431"/>
                <a:gd name="T11" fmla="*/ 0 h 891"/>
                <a:gd name="T12" fmla="*/ 0 w 431"/>
                <a:gd name="T13" fmla="*/ 0 h 891"/>
                <a:gd name="T14" fmla="*/ 0 w 431"/>
                <a:gd name="T15" fmla="*/ 0 h 891"/>
                <a:gd name="T16" fmla="*/ 0 w 431"/>
                <a:gd name="T17" fmla="*/ 0 h 891"/>
                <a:gd name="T18" fmla="*/ 0 w 431"/>
                <a:gd name="T19" fmla="*/ 0 h 891"/>
                <a:gd name="T20" fmla="*/ 0 w 431"/>
                <a:gd name="T21" fmla="*/ 0 h 891"/>
                <a:gd name="T22" fmla="*/ 0 w 431"/>
                <a:gd name="T23" fmla="*/ 0 h 891"/>
                <a:gd name="T24" fmla="*/ 0 w 431"/>
                <a:gd name="T25" fmla="*/ 0 h 891"/>
                <a:gd name="T26" fmla="*/ 0 w 431"/>
                <a:gd name="T27" fmla="*/ 0 h 891"/>
                <a:gd name="T28" fmla="*/ 0 w 431"/>
                <a:gd name="T29" fmla="*/ 0 h 891"/>
                <a:gd name="T30" fmla="*/ 0 w 431"/>
                <a:gd name="T31" fmla="*/ 0 h 891"/>
                <a:gd name="T32" fmla="*/ 0 w 431"/>
                <a:gd name="T33" fmla="*/ 0 h 891"/>
                <a:gd name="T34" fmla="*/ 0 w 431"/>
                <a:gd name="T35" fmla="*/ 0 h 891"/>
                <a:gd name="T36" fmla="*/ 0 w 431"/>
                <a:gd name="T37" fmla="*/ 0 h 891"/>
                <a:gd name="T38" fmla="*/ 0 w 431"/>
                <a:gd name="T39" fmla="*/ 0 h 891"/>
                <a:gd name="T40" fmla="*/ 0 w 431"/>
                <a:gd name="T41" fmla="*/ 0 h 891"/>
                <a:gd name="T42" fmla="*/ 0 w 431"/>
                <a:gd name="T43" fmla="*/ 0 h 891"/>
                <a:gd name="T44" fmla="*/ 0 w 431"/>
                <a:gd name="T45" fmla="*/ 0 h 891"/>
                <a:gd name="T46" fmla="*/ 0 w 431"/>
                <a:gd name="T47" fmla="*/ 0 h 891"/>
                <a:gd name="T48" fmla="*/ 0 w 431"/>
                <a:gd name="T49" fmla="*/ 0 h 891"/>
                <a:gd name="T50" fmla="*/ 0 w 431"/>
                <a:gd name="T51" fmla="*/ 0 h 891"/>
                <a:gd name="T52" fmla="*/ 0 w 431"/>
                <a:gd name="T53" fmla="*/ 0 h 891"/>
                <a:gd name="T54" fmla="*/ 0 w 431"/>
                <a:gd name="T55" fmla="*/ 0 h 891"/>
                <a:gd name="T56" fmla="*/ 0 w 431"/>
                <a:gd name="T57" fmla="*/ 0 h 891"/>
                <a:gd name="T58" fmla="*/ 0 w 431"/>
                <a:gd name="T59" fmla="*/ 0 h 891"/>
                <a:gd name="T60" fmla="*/ 0 w 431"/>
                <a:gd name="T61" fmla="*/ 0 h 891"/>
                <a:gd name="T62" fmla="*/ 0 w 431"/>
                <a:gd name="T63" fmla="*/ 0 h 891"/>
                <a:gd name="T64" fmla="*/ 0 w 431"/>
                <a:gd name="T65" fmla="*/ 0 h 891"/>
                <a:gd name="T66" fmla="*/ 0 w 431"/>
                <a:gd name="T67" fmla="*/ 0 h 891"/>
                <a:gd name="T68" fmla="*/ 0 w 431"/>
                <a:gd name="T69" fmla="*/ 0 h 891"/>
                <a:gd name="T70" fmla="*/ 0 w 431"/>
                <a:gd name="T71" fmla="*/ 0 h 891"/>
                <a:gd name="T72" fmla="*/ 0 w 431"/>
                <a:gd name="T73" fmla="*/ 0 h 891"/>
                <a:gd name="T74" fmla="*/ 0 w 431"/>
                <a:gd name="T75" fmla="*/ 0 h 891"/>
                <a:gd name="T76" fmla="*/ 0 w 431"/>
                <a:gd name="T77" fmla="*/ 0 h 891"/>
                <a:gd name="T78" fmla="*/ 0 w 431"/>
                <a:gd name="T79" fmla="*/ 0 h 891"/>
                <a:gd name="T80" fmla="*/ 0 w 431"/>
                <a:gd name="T81" fmla="*/ 0 h 891"/>
                <a:gd name="T82" fmla="*/ 0 w 431"/>
                <a:gd name="T83" fmla="*/ 0 h 891"/>
                <a:gd name="T84" fmla="*/ 0 w 431"/>
                <a:gd name="T85" fmla="*/ 0 h 891"/>
                <a:gd name="T86" fmla="*/ 0 w 431"/>
                <a:gd name="T87" fmla="*/ 0 h 891"/>
                <a:gd name="T88" fmla="*/ 0 w 431"/>
                <a:gd name="T89" fmla="*/ 0 h 891"/>
                <a:gd name="T90" fmla="*/ 0 w 431"/>
                <a:gd name="T91" fmla="*/ 0 h 8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31"/>
                <a:gd name="T139" fmla="*/ 0 h 891"/>
                <a:gd name="T140" fmla="*/ 431 w 431"/>
                <a:gd name="T141" fmla="*/ 891 h 8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31" h="891">
                  <a:moveTo>
                    <a:pt x="202" y="0"/>
                  </a:moveTo>
                  <a:lnTo>
                    <a:pt x="431" y="0"/>
                  </a:lnTo>
                  <a:lnTo>
                    <a:pt x="416" y="16"/>
                  </a:lnTo>
                  <a:lnTo>
                    <a:pt x="403" y="34"/>
                  </a:lnTo>
                  <a:lnTo>
                    <a:pt x="391" y="55"/>
                  </a:lnTo>
                  <a:lnTo>
                    <a:pt x="382" y="79"/>
                  </a:lnTo>
                  <a:lnTo>
                    <a:pt x="376" y="104"/>
                  </a:lnTo>
                  <a:lnTo>
                    <a:pt x="371" y="128"/>
                  </a:lnTo>
                  <a:lnTo>
                    <a:pt x="370" y="154"/>
                  </a:lnTo>
                  <a:lnTo>
                    <a:pt x="369" y="182"/>
                  </a:lnTo>
                  <a:lnTo>
                    <a:pt x="368" y="204"/>
                  </a:lnTo>
                  <a:lnTo>
                    <a:pt x="367" y="230"/>
                  </a:lnTo>
                  <a:lnTo>
                    <a:pt x="365" y="259"/>
                  </a:lnTo>
                  <a:lnTo>
                    <a:pt x="364" y="279"/>
                  </a:lnTo>
                  <a:lnTo>
                    <a:pt x="364" y="305"/>
                  </a:lnTo>
                  <a:lnTo>
                    <a:pt x="363" y="338"/>
                  </a:lnTo>
                  <a:lnTo>
                    <a:pt x="362" y="376"/>
                  </a:lnTo>
                  <a:lnTo>
                    <a:pt x="362" y="418"/>
                  </a:lnTo>
                  <a:lnTo>
                    <a:pt x="362" y="464"/>
                  </a:lnTo>
                  <a:lnTo>
                    <a:pt x="362" y="513"/>
                  </a:lnTo>
                  <a:lnTo>
                    <a:pt x="362" y="561"/>
                  </a:lnTo>
                  <a:lnTo>
                    <a:pt x="362" y="611"/>
                  </a:lnTo>
                  <a:lnTo>
                    <a:pt x="362" y="660"/>
                  </a:lnTo>
                  <a:lnTo>
                    <a:pt x="362" y="709"/>
                  </a:lnTo>
                  <a:lnTo>
                    <a:pt x="362" y="753"/>
                  </a:lnTo>
                  <a:lnTo>
                    <a:pt x="362" y="796"/>
                  </a:lnTo>
                  <a:lnTo>
                    <a:pt x="362" y="833"/>
                  </a:lnTo>
                  <a:lnTo>
                    <a:pt x="362" y="866"/>
                  </a:lnTo>
                  <a:lnTo>
                    <a:pt x="362" y="891"/>
                  </a:lnTo>
                  <a:lnTo>
                    <a:pt x="0" y="891"/>
                  </a:lnTo>
                  <a:lnTo>
                    <a:pt x="0" y="219"/>
                  </a:lnTo>
                  <a:lnTo>
                    <a:pt x="0" y="215"/>
                  </a:lnTo>
                  <a:lnTo>
                    <a:pt x="1" y="208"/>
                  </a:lnTo>
                  <a:lnTo>
                    <a:pt x="3" y="195"/>
                  </a:lnTo>
                  <a:lnTo>
                    <a:pt x="7" y="179"/>
                  </a:lnTo>
                  <a:lnTo>
                    <a:pt x="16" y="160"/>
                  </a:lnTo>
                  <a:lnTo>
                    <a:pt x="28" y="138"/>
                  </a:lnTo>
                  <a:lnTo>
                    <a:pt x="44" y="113"/>
                  </a:lnTo>
                  <a:lnTo>
                    <a:pt x="66" y="88"/>
                  </a:lnTo>
                  <a:lnTo>
                    <a:pt x="93" y="61"/>
                  </a:lnTo>
                  <a:lnTo>
                    <a:pt x="119" y="40"/>
                  </a:lnTo>
                  <a:lnTo>
                    <a:pt x="143" y="24"/>
                  </a:lnTo>
                  <a:lnTo>
                    <a:pt x="164" y="14"/>
                  </a:lnTo>
                  <a:lnTo>
                    <a:pt x="181" y="6"/>
                  </a:lnTo>
                  <a:lnTo>
                    <a:pt x="194" y="2"/>
                  </a:lnTo>
                  <a:lnTo>
                    <a:pt x="202"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6" name="Freeform 82"/>
            <p:cNvSpPr>
              <a:spLocks noChangeArrowheads="1"/>
            </p:cNvSpPr>
            <p:nvPr/>
          </p:nvSpPr>
          <p:spPr bwMode="auto">
            <a:xfrm>
              <a:off x="2200" y="1930"/>
              <a:ext cx="98" cy="181"/>
            </a:xfrm>
            <a:custGeom>
              <a:avLst/>
              <a:gdLst>
                <a:gd name="T0" fmla="*/ 0 w 894"/>
                <a:gd name="T1" fmla="*/ 0 h 1638"/>
                <a:gd name="T2" fmla="*/ 0 w 894"/>
                <a:gd name="T3" fmla="*/ 0 h 1638"/>
                <a:gd name="T4" fmla="*/ 0 w 894"/>
                <a:gd name="T5" fmla="*/ 0 h 1638"/>
                <a:gd name="T6" fmla="*/ 0 w 894"/>
                <a:gd name="T7" fmla="*/ 0 h 1638"/>
                <a:gd name="T8" fmla="*/ 0 w 894"/>
                <a:gd name="T9" fmla="*/ 0 h 1638"/>
                <a:gd name="T10" fmla="*/ 0 w 894"/>
                <a:gd name="T11" fmla="*/ 0 h 1638"/>
                <a:gd name="T12" fmla="*/ 0 w 894"/>
                <a:gd name="T13" fmla="*/ 0 h 1638"/>
                <a:gd name="T14" fmla="*/ 0 w 894"/>
                <a:gd name="T15" fmla="*/ 0 h 1638"/>
                <a:gd name="T16" fmla="*/ 0 w 894"/>
                <a:gd name="T17" fmla="*/ 0 h 1638"/>
                <a:gd name="T18" fmla="*/ 0 w 894"/>
                <a:gd name="T19" fmla="*/ 0 h 1638"/>
                <a:gd name="T20" fmla="*/ 0 w 894"/>
                <a:gd name="T21" fmla="*/ 0 h 1638"/>
                <a:gd name="T22" fmla="*/ 0 w 894"/>
                <a:gd name="T23" fmla="*/ 0 h 1638"/>
                <a:gd name="T24" fmla="*/ 0 w 894"/>
                <a:gd name="T25" fmla="*/ 0 h 1638"/>
                <a:gd name="T26" fmla="*/ 0 w 894"/>
                <a:gd name="T27" fmla="*/ 0 h 1638"/>
                <a:gd name="T28" fmla="*/ 0 w 894"/>
                <a:gd name="T29" fmla="*/ 0 h 1638"/>
                <a:gd name="T30" fmla="*/ 0 w 894"/>
                <a:gd name="T31" fmla="*/ 0 h 1638"/>
                <a:gd name="T32" fmla="*/ 0 w 894"/>
                <a:gd name="T33" fmla="*/ 0 h 1638"/>
                <a:gd name="T34" fmla="*/ 0 w 894"/>
                <a:gd name="T35" fmla="*/ 0 h 1638"/>
                <a:gd name="T36" fmla="*/ 0 w 894"/>
                <a:gd name="T37" fmla="*/ 0 h 1638"/>
                <a:gd name="T38" fmla="*/ 0 w 894"/>
                <a:gd name="T39" fmla="*/ 0 h 1638"/>
                <a:gd name="T40" fmla="*/ 0 w 894"/>
                <a:gd name="T41" fmla="*/ 0 h 1638"/>
                <a:gd name="T42" fmla="*/ 0 w 894"/>
                <a:gd name="T43" fmla="*/ 0 h 1638"/>
                <a:gd name="T44" fmla="*/ 0 w 894"/>
                <a:gd name="T45" fmla="*/ 0 h 1638"/>
                <a:gd name="T46" fmla="*/ 0 w 894"/>
                <a:gd name="T47" fmla="*/ 0 h 1638"/>
                <a:gd name="T48" fmla="*/ 0 w 894"/>
                <a:gd name="T49" fmla="*/ 0 h 1638"/>
                <a:gd name="T50" fmla="*/ 0 w 894"/>
                <a:gd name="T51" fmla="*/ 0 h 1638"/>
                <a:gd name="T52" fmla="*/ 0 w 894"/>
                <a:gd name="T53" fmla="*/ 0 h 1638"/>
                <a:gd name="T54" fmla="*/ 0 w 894"/>
                <a:gd name="T55" fmla="*/ 0 h 1638"/>
                <a:gd name="T56" fmla="*/ 0 w 894"/>
                <a:gd name="T57" fmla="*/ 0 h 1638"/>
                <a:gd name="T58" fmla="*/ 0 w 894"/>
                <a:gd name="T59" fmla="*/ 0 h 1638"/>
                <a:gd name="T60" fmla="*/ 0 w 894"/>
                <a:gd name="T61" fmla="*/ 0 h 1638"/>
                <a:gd name="T62" fmla="*/ 0 w 894"/>
                <a:gd name="T63" fmla="*/ 0 h 1638"/>
                <a:gd name="T64" fmla="*/ 0 w 894"/>
                <a:gd name="T65" fmla="*/ 0 h 1638"/>
                <a:gd name="T66" fmla="*/ 0 w 894"/>
                <a:gd name="T67" fmla="*/ 0 h 1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94"/>
                <a:gd name="T103" fmla="*/ 0 h 1638"/>
                <a:gd name="T104" fmla="*/ 894 w 894"/>
                <a:gd name="T105" fmla="*/ 1638 h 1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94" h="1638">
                  <a:moveTo>
                    <a:pt x="628" y="0"/>
                  </a:moveTo>
                  <a:lnTo>
                    <a:pt x="657" y="5"/>
                  </a:lnTo>
                  <a:lnTo>
                    <a:pt x="682" y="15"/>
                  </a:lnTo>
                  <a:lnTo>
                    <a:pt x="706" y="27"/>
                  </a:lnTo>
                  <a:lnTo>
                    <a:pt x="727" y="43"/>
                  </a:lnTo>
                  <a:lnTo>
                    <a:pt x="745" y="62"/>
                  </a:lnTo>
                  <a:lnTo>
                    <a:pt x="761" y="84"/>
                  </a:lnTo>
                  <a:lnTo>
                    <a:pt x="894" y="371"/>
                  </a:lnTo>
                  <a:lnTo>
                    <a:pt x="649" y="371"/>
                  </a:lnTo>
                  <a:lnTo>
                    <a:pt x="645" y="372"/>
                  </a:lnTo>
                  <a:lnTo>
                    <a:pt x="641" y="372"/>
                  </a:lnTo>
                  <a:lnTo>
                    <a:pt x="629" y="375"/>
                  </a:lnTo>
                  <a:lnTo>
                    <a:pt x="613" y="381"/>
                  </a:lnTo>
                  <a:lnTo>
                    <a:pt x="592" y="390"/>
                  </a:lnTo>
                  <a:lnTo>
                    <a:pt x="567" y="404"/>
                  </a:lnTo>
                  <a:lnTo>
                    <a:pt x="539" y="422"/>
                  </a:lnTo>
                  <a:lnTo>
                    <a:pt x="509" y="445"/>
                  </a:lnTo>
                  <a:lnTo>
                    <a:pt x="477" y="476"/>
                  </a:lnTo>
                  <a:lnTo>
                    <a:pt x="451" y="506"/>
                  </a:lnTo>
                  <a:lnTo>
                    <a:pt x="432" y="536"/>
                  </a:lnTo>
                  <a:lnTo>
                    <a:pt x="417" y="564"/>
                  </a:lnTo>
                  <a:lnTo>
                    <a:pt x="407" y="588"/>
                  </a:lnTo>
                  <a:lnTo>
                    <a:pt x="401" y="609"/>
                  </a:lnTo>
                  <a:lnTo>
                    <a:pt x="398" y="626"/>
                  </a:lnTo>
                  <a:lnTo>
                    <a:pt x="397" y="638"/>
                  </a:lnTo>
                  <a:lnTo>
                    <a:pt x="397" y="645"/>
                  </a:lnTo>
                  <a:lnTo>
                    <a:pt x="397" y="1267"/>
                  </a:lnTo>
                  <a:lnTo>
                    <a:pt x="209" y="1584"/>
                  </a:lnTo>
                  <a:lnTo>
                    <a:pt x="194" y="1603"/>
                  </a:lnTo>
                  <a:lnTo>
                    <a:pt x="175" y="1619"/>
                  </a:lnTo>
                  <a:lnTo>
                    <a:pt x="154" y="1631"/>
                  </a:lnTo>
                  <a:lnTo>
                    <a:pt x="129" y="1637"/>
                  </a:lnTo>
                  <a:lnTo>
                    <a:pt x="104" y="1638"/>
                  </a:lnTo>
                  <a:lnTo>
                    <a:pt x="79" y="1633"/>
                  </a:lnTo>
                  <a:lnTo>
                    <a:pt x="55" y="1623"/>
                  </a:lnTo>
                  <a:lnTo>
                    <a:pt x="36" y="1608"/>
                  </a:lnTo>
                  <a:lnTo>
                    <a:pt x="19" y="1589"/>
                  </a:lnTo>
                  <a:lnTo>
                    <a:pt x="7" y="1567"/>
                  </a:lnTo>
                  <a:lnTo>
                    <a:pt x="1" y="1543"/>
                  </a:lnTo>
                  <a:lnTo>
                    <a:pt x="0" y="1517"/>
                  </a:lnTo>
                  <a:lnTo>
                    <a:pt x="3" y="1499"/>
                  </a:lnTo>
                  <a:lnTo>
                    <a:pt x="10" y="1483"/>
                  </a:lnTo>
                  <a:lnTo>
                    <a:pt x="15" y="1470"/>
                  </a:lnTo>
                  <a:lnTo>
                    <a:pt x="229" y="1110"/>
                  </a:lnTo>
                  <a:lnTo>
                    <a:pt x="407" y="322"/>
                  </a:lnTo>
                  <a:lnTo>
                    <a:pt x="291" y="416"/>
                  </a:lnTo>
                  <a:lnTo>
                    <a:pt x="229" y="697"/>
                  </a:lnTo>
                  <a:lnTo>
                    <a:pt x="224" y="714"/>
                  </a:lnTo>
                  <a:lnTo>
                    <a:pt x="213" y="730"/>
                  </a:lnTo>
                  <a:lnTo>
                    <a:pt x="201" y="743"/>
                  </a:lnTo>
                  <a:lnTo>
                    <a:pt x="186" y="752"/>
                  </a:lnTo>
                  <a:lnTo>
                    <a:pt x="169" y="759"/>
                  </a:lnTo>
                  <a:lnTo>
                    <a:pt x="150" y="760"/>
                  </a:lnTo>
                  <a:lnTo>
                    <a:pt x="129" y="755"/>
                  </a:lnTo>
                  <a:lnTo>
                    <a:pt x="112" y="746"/>
                  </a:lnTo>
                  <a:lnTo>
                    <a:pt x="99" y="733"/>
                  </a:lnTo>
                  <a:lnTo>
                    <a:pt x="88" y="717"/>
                  </a:lnTo>
                  <a:lnTo>
                    <a:pt x="82" y="699"/>
                  </a:lnTo>
                  <a:lnTo>
                    <a:pt x="81" y="679"/>
                  </a:lnTo>
                  <a:lnTo>
                    <a:pt x="82" y="668"/>
                  </a:lnTo>
                  <a:lnTo>
                    <a:pt x="155" y="341"/>
                  </a:lnTo>
                  <a:lnTo>
                    <a:pt x="160" y="327"/>
                  </a:lnTo>
                  <a:lnTo>
                    <a:pt x="169" y="316"/>
                  </a:lnTo>
                  <a:lnTo>
                    <a:pt x="178" y="305"/>
                  </a:lnTo>
                  <a:lnTo>
                    <a:pt x="512" y="35"/>
                  </a:lnTo>
                  <a:lnTo>
                    <a:pt x="538" y="19"/>
                  </a:lnTo>
                  <a:lnTo>
                    <a:pt x="567" y="7"/>
                  </a:lnTo>
                  <a:lnTo>
                    <a:pt x="596" y="1"/>
                  </a:lnTo>
                  <a:lnTo>
                    <a:pt x="628"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grpSp>
        <p:nvGrpSpPr>
          <p:cNvPr id="17" name="Group 22"/>
          <p:cNvGrpSpPr/>
          <p:nvPr/>
        </p:nvGrpSpPr>
        <p:grpSpPr>
          <a:xfrm>
            <a:off x="467496" y="2786133"/>
            <a:ext cx="798040" cy="392327"/>
            <a:chOff x="3850160" y="1767402"/>
            <a:chExt cx="874240" cy="480498"/>
          </a:xfrm>
        </p:grpSpPr>
        <p:sp>
          <p:nvSpPr>
            <p:cNvPr id="21" name="Freeform 329"/>
            <p:cNvSpPr>
              <a:spLocks noChangeArrowheads="1"/>
            </p:cNvSpPr>
            <p:nvPr/>
          </p:nvSpPr>
          <p:spPr bwMode="auto">
            <a:xfrm>
              <a:off x="4294660" y="1767402"/>
              <a:ext cx="429740" cy="392327"/>
            </a:xfrm>
            <a:custGeom>
              <a:avLst/>
              <a:gdLst>
                <a:gd name="T0" fmla="*/ 2147483647 w 3321"/>
                <a:gd name="T1" fmla="*/ 2147483647 h 3193"/>
                <a:gd name="T2" fmla="*/ 2147483647 w 3321"/>
                <a:gd name="T3" fmla="*/ 2147483647 h 3193"/>
                <a:gd name="T4" fmla="*/ 2147483647 w 3321"/>
                <a:gd name="T5" fmla="*/ 2147483647 h 3193"/>
                <a:gd name="T6" fmla="*/ 2147483647 w 3321"/>
                <a:gd name="T7" fmla="*/ 2147483647 h 3193"/>
                <a:gd name="T8" fmla="*/ 2147483647 w 3321"/>
                <a:gd name="T9" fmla="*/ 2147483647 h 3193"/>
                <a:gd name="T10" fmla="*/ 2147483647 w 3321"/>
                <a:gd name="T11" fmla="*/ 2147483647 h 3193"/>
                <a:gd name="T12" fmla="*/ 2147483647 w 3321"/>
                <a:gd name="T13" fmla="*/ 2147483647 h 3193"/>
                <a:gd name="T14" fmla="*/ 2147483647 w 3321"/>
                <a:gd name="T15" fmla="*/ 2147483647 h 3193"/>
                <a:gd name="T16" fmla="*/ 2147483647 w 3321"/>
                <a:gd name="T17" fmla="*/ 2147483647 h 3193"/>
                <a:gd name="T18" fmla="*/ 2147483647 w 3321"/>
                <a:gd name="T19" fmla="*/ 2147483647 h 3193"/>
                <a:gd name="T20" fmla="*/ 2147483647 w 3321"/>
                <a:gd name="T21" fmla="*/ 2147483647 h 3193"/>
                <a:gd name="T22" fmla="*/ 2147483647 w 3321"/>
                <a:gd name="T23" fmla="*/ 2147483647 h 3193"/>
                <a:gd name="T24" fmla="*/ 2147483647 w 3321"/>
                <a:gd name="T25" fmla="*/ 2147483647 h 3193"/>
                <a:gd name="T26" fmla="*/ 2147483647 w 3321"/>
                <a:gd name="T27" fmla="*/ 2147483647 h 3193"/>
                <a:gd name="T28" fmla="*/ 2147483647 w 3321"/>
                <a:gd name="T29" fmla="*/ 2147483647 h 3193"/>
                <a:gd name="T30" fmla="*/ 2147483647 w 3321"/>
                <a:gd name="T31" fmla="*/ 2147483647 h 3193"/>
                <a:gd name="T32" fmla="*/ 2147483647 w 3321"/>
                <a:gd name="T33" fmla="*/ 2147483647 h 3193"/>
                <a:gd name="T34" fmla="*/ 2147483647 w 3321"/>
                <a:gd name="T35" fmla="*/ 2147483647 h 3193"/>
                <a:gd name="T36" fmla="*/ 2147483647 w 3321"/>
                <a:gd name="T37" fmla="*/ 2147483647 h 3193"/>
                <a:gd name="T38" fmla="*/ 2147483647 w 3321"/>
                <a:gd name="T39" fmla="*/ 2147483647 h 3193"/>
                <a:gd name="T40" fmla="*/ 2147483647 w 3321"/>
                <a:gd name="T41" fmla="*/ 2147483647 h 3193"/>
                <a:gd name="T42" fmla="*/ 2147483647 w 3321"/>
                <a:gd name="T43" fmla="*/ 2147483647 h 3193"/>
                <a:gd name="T44" fmla="*/ 2147483647 w 3321"/>
                <a:gd name="T45" fmla="*/ 2147483647 h 3193"/>
                <a:gd name="T46" fmla="*/ 2147483647 w 3321"/>
                <a:gd name="T47" fmla="*/ 2147483647 h 3193"/>
                <a:gd name="T48" fmla="*/ 2147483647 w 3321"/>
                <a:gd name="T49" fmla="*/ 2147483647 h 3193"/>
                <a:gd name="T50" fmla="*/ 2147483647 w 3321"/>
                <a:gd name="T51" fmla="*/ 2147483647 h 3193"/>
                <a:gd name="T52" fmla="*/ 2147483647 w 3321"/>
                <a:gd name="T53" fmla="*/ 2147483647 h 3193"/>
                <a:gd name="T54" fmla="*/ 2147483647 w 3321"/>
                <a:gd name="T55" fmla="*/ 2147483647 h 3193"/>
                <a:gd name="T56" fmla="*/ 2147483647 w 3321"/>
                <a:gd name="T57" fmla="*/ 2147483647 h 3193"/>
                <a:gd name="T58" fmla="*/ 2147483647 w 3321"/>
                <a:gd name="T59" fmla="*/ 2147483647 h 3193"/>
                <a:gd name="T60" fmla="*/ 2147483647 w 3321"/>
                <a:gd name="T61" fmla="*/ 2147483647 h 3193"/>
                <a:gd name="T62" fmla="*/ 2147483647 w 3321"/>
                <a:gd name="T63" fmla="*/ 2147483647 h 3193"/>
                <a:gd name="T64" fmla="*/ 2147483647 w 3321"/>
                <a:gd name="T65" fmla="*/ 2147483647 h 3193"/>
                <a:gd name="T66" fmla="*/ 2147483647 w 3321"/>
                <a:gd name="T67" fmla="*/ 2147483647 h 3193"/>
                <a:gd name="T68" fmla="*/ 2147483647 w 3321"/>
                <a:gd name="T69" fmla="*/ 2147483647 h 3193"/>
                <a:gd name="T70" fmla="*/ 2147483647 w 3321"/>
                <a:gd name="T71" fmla="*/ 2147483647 h 3193"/>
                <a:gd name="T72" fmla="*/ 2147483647 w 3321"/>
                <a:gd name="T73" fmla="*/ 2147483647 h 3193"/>
                <a:gd name="T74" fmla="*/ 2147483647 w 3321"/>
                <a:gd name="T75" fmla="*/ 2147483647 h 3193"/>
                <a:gd name="T76" fmla="*/ 2147483647 w 3321"/>
                <a:gd name="T77" fmla="*/ 2147483647 h 3193"/>
                <a:gd name="T78" fmla="*/ 2147483647 w 3321"/>
                <a:gd name="T79" fmla="*/ 2147483647 h 3193"/>
                <a:gd name="T80" fmla="*/ 2147483647 w 3321"/>
                <a:gd name="T81" fmla="*/ 2147483647 h 3193"/>
                <a:gd name="T82" fmla="*/ 2147483647 w 3321"/>
                <a:gd name="T83" fmla="*/ 2147483647 h 3193"/>
                <a:gd name="T84" fmla="*/ 2147483647 w 3321"/>
                <a:gd name="T85" fmla="*/ 2147483647 h 3193"/>
                <a:gd name="T86" fmla="*/ 2147483647 w 3321"/>
                <a:gd name="T87" fmla="*/ 2147483647 h 3193"/>
                <a:gd name="T88" fmla="*/ 2147483647 w 3321"/>
                <a:gd name="T89" fmla="*/ 2147483647 h 3193"/>
                <a:gd name="T90" fmla="*/ 2147483647 w 3321"/>
                <a:gd name="T91" fmla="*/ 2147483647 h 3193"/>
                <a:gd name="T92" fmla="*/ 2147483647 w 3321"/>
                <a:gd name="T93" fmla="*/ 2147483647 h 3193"/>
                <a:gd name="T94" fmla="*/ 2147483647 w 3321"/>
                <a:gd name="T95" fmla="*/ 2147483647 h 3193"/>
                <a:gd name="T96" fmla="*/ 2147483647 w 3321"/>
                <a:gd name="T97" fmla="*/ 2147483647 h 3193"/>
                <a:gd name="T98" fmla="*/ 2147483647 w 3321"/>
                <a:gd name="T99" fmla="*/ 2147483647 h 3193"/>
                <a:gd name="T100" fmla="*/ 2147483647 w 3321"/>
                <a:gd name="T101" fmla="*/ 2147483647 h 3193"/>
                <a:gd name="T102" fmla="*/ 0 w 3321"/>
                <a:gd name="T103" fmla="*/ 2147483647 h 3193"/>
                <a:gd name="T104" fmla="*/ 2147483647 w 3321"/>
                <a:gd name="T105" fmla="*/ 2147483647 h 3193"/>
                <a:gd name="T106" fmla="*/ 2147483647 w 3321"/>
                <a:gd name="T107" fmla="*/ 2147483647 h 3193"/>
                <a:gd name="T108" fmla="*/ 2147483647 w 3321"/>
                <a:gd name="T109" fmla="*/ 2147483647 h 3193"/>
                <a:gd name="T110" fmla="*/ 2147483647 w 3321"/>
                <a:gd name="T111" fmla="*/ 2147483647 h 3193"/>
                <a:gd name="T112" fmla="*/ 2147483647 w 3321"/>
                <a:gd name="T113" fmla="*/ 2147483647 h 3193"/>
                <a:gd name="T114" fmla="*/ 2147483647 w 3321"/>
                <a:gd name="T115" fmla="*/ 2147483647 h 3193"/>
                <a:gd name="T116" fmla="*/ 2147483647 w 3321"/>
                <a:gd name="T117" fmla="*/ 2147483647 h 31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21"/>
                <a:gd name="T178" fmla="*/ 0 h 3193"/>
                <a:gd name="T179" fmla="*/ 3321 w 3321"/>
                <a:gd name="T180" fmla="*/ 3193 h 31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21" h="3193">
                  <a:moveTo>
                    <a:pt x="2894" y="1571"/>
                  </a:moveTo>
                  <a:lnTo>
                    <a:pt x="2854" y="1573"/>
                  </a:lnTo>
                  <a:lnTo>
                    <a:pt x="2812" y="1580"/>
                  </a:lnTo>
                  <a:lnTo>
                    <a:pt x="2768" y="1591"/>
                  </a:lnTo>
                  <a:lnTo>
                    <a:pt x="2726" y="1606"/>
                  </a:lnTo>
                  <a:lnTo>
                    <a:pt x="2685" y="1624"/>
                  </a:lnTo>
                  <a:lnTo>
                    <a:pt x="2649" y="1645"/>
                  </a:lnTo>
                  <a:lnTo>
                    <a:pt x="2616" y="1668"/>
                  </a:lnTo>
                  <a:lnTo>
                    <a:pt x="2587" y="1695"/>
                  </a:lnTo>
                  <a:lnTo>
                    <a:pt x="2562" y="1722"/>
                  </a:lnTo>
                  <a:lnTo>
                    <a:pt x="2543" y="1751"/>
                  </a:lnTo>
                  <a:lnTo>
                    <a:pt x="2529" y="1781"/>
                  </a:lnTo>
                  <a:lnTo>
                    <a:pt x="2521" y="1812"/>
                  </a:lnTo>
                  <a:lnTo>
                    <a:pt x="2519" y="1842"/>
                  </a:lnTo>
                  <a:lnTo>
                    <a:pt x="2524" y="1869"/>
                  </a:lnTo>
                  <a:lnTo>
                    <a:pt x="2533" y="1893"/>
                  </a:lnTo>
                  <a:lnTo>
                    <a:pt x="2547" y="1915"/>
                  </a:lnTo>
                  <a:lnTo>
                    <a:pt x="2566" y="1936"/>
                  </a:lnTo>
                  <a:lnTo>
                    <a:pt x="2588" y="1953"/>
                  </a:lnTo>
                  <a:lnTo>
                    <a:pt x="2616" y="1967"/>
                  </a:lnTo>
                  <a:lnTo>
                    <a:pt x="2645" y="1978"/>
                  </a:lnTo>
                  <a:lnTo>
                    <a:pt x="2678" y="1986"/>
                  </a:lnTo>
                  <a:lnTo>
                    <a:pt x="2713" y="1990"/>
                  </a:lnTo>
                  <a:lnTo>
                    <a:pt x="2752" y="1991"/>
                  </a:lnTo>
                  <a:lnTo>
                    <a:pt x="2791" y="1989"/>
                  </a:lnTo>
                  <a:lnTo>
                    <a:pt x="2833" y="1982"/>
                  </a:lnTo>
                  <a:lnTo>
                    <a:pt x="2878" y="1971"/>
                  </a:lnTo>
                  <a:lnTo>
                    <a:pt x="2920" y="1956"/>
                  </a:lnTo>
                  <a:lnTo>
                    <a:pt x="2960" y="1938"/>
                  </a:lnTo>
                  <a:lnTo>
                    <a:pt x="2997" y="1916"/>
                  </a:lnTo>
                  <a:lnTo>
                    <a:pt x="3029" y="1893"/>
                  </a:lnTo>
                  <a:lnTo>
                    <a:pt x="3059" y="1867"/>
                  </a:lnTo>
                  <a:lnTo>
                    <a:pt x="3083" y="1839"/>
                  </a:lnTo>
                  <a:lnTo>
                    <a:pt x="3103" y="1811"/>
                  </a:lnTo>
                  <a:lnTo>
                    <a:pt x="3116" y="1780"/>
                  </a:lnTo>
                  <a:lnTo>
                    <a:pt x="3124" y="1750"/>
                  </a:lnTo>
                  <a:lnTo>
                    <a:pt x="3126" y="1720"/>
                  </a:lnTo>
                  <a:lnTo>
                    <a:pt x="3122" y="1693"/>
                  </a:lnTo>
                  <a:lnTo>
                    <a:pt x="3113" y="1668"/>
                  </a:lnTo>
                  <a:lnTo>
                    <a:pt x="3099" y="1646"/>
                  </a:lnTo>
                  <a:lnTo>
                    <a:pt x="3080" y="1626"/>
                  </a:lnTo>
                  <a:lnTo>
                    <a:pt x="3057" y="1609"/>
                  </a:lnTo>
                  <a:lnTo>
                    <a:pt x="3030" y="1595"/>
                  </a:lnTo>
                  <a:lnTo>
                    <a:pt x="3000" y="1584"/>
                  </a:lnTo>
                  <a:lnTo>
                    <a:pt x="2968" y="1576"/>
                  </a:lnTo>
                  <a:lnTo>
                    <a:pt x="2931" y="1572"/>
                  </a:lnTo>
                  <a:lnTo>
                    <a:pt x="2894" y="1571"/>
                  </a:lnTo>
                  <a:close/>
                  <a:moveTo>
                    <a:pt x="415" y="1571"/>
                  </a:moveTo>
                  <a:lnTo>
                    <a:pt x="377" y="1572"/>
                  </a:lnTo>
                  <a:lnTo>
                    <a:pt x="341" y="1576"/>
                  </a:lnTo>
                  <a:lnTo>
                    <a:pt x="309" y="1584"/>
                  </a:lnTo>
                  <a:lnTo>
                    <a:pt x="279" y="1595"/>
                  </a:lnTo>
                  <a:lnTo>
                    <a:pt x="252" y="1609"/>
                  </a:lnTo>
                  <a:lnTo>
                    <a:pt x="229" y="1626"/>
                  </a:lnTo>
                  <a:lnTo>
                    <a:pt x="210" y="1646"/>
                  </a:lnTo>
                  <a:lnTo>
                    <a:pt x="196" y="1668"/>
                  </a:lnTo>
                  <a:lnTo>
                    <a:pt x="187" y="1693"/>
                  </a:lnTo>
                  <a:lnTo>
                    <a:pt x="183" y="1720"/>
                  </a:lnTo>
                  <a:lnTo>
                    <a:pt x="185" y="1750"/>
                  </a:lnTo>
                  <a:lnTo>
                    <a:pt x="193" y="1780"/>
                  </a:lnTo>
                  <a:lnTo>
                    <a:pt x="207" y="1811"/>
                  </a:lnTo>
                  <a:lnTo>
                    <a:pt x="226" y="1839"/>
                  </a:lnTo>
                  <a:lnTo>
                    <a:pt x="250" y="1867"/>
                  </a:lnTo>
                  <a:lnTo>
                    <a:pt x="280" y="1893"/>
                  </a:lnTo>
                  <a:lnTo>
                    <a:pt x="312" y="1916"/>
                  </a:lnTo>
                  <a:lnTo>
                    <a:pt x="349" y="1938"/>
                  </a:lnTo>
                  <a:lnTo>
                    <a:pt x="389" y="1956"/>
                  </a:lnTo>
                  <a:lnTo>
                    <a:pt x="431" y="1971"/>
                  </a:lnTo>
                  <a:lnTo>
                    <a:pt x="476" y="1982"/>
                  </a:lnTo>
                  <a:lnTo>
                    <a:pt x="518" y="1989"/>
                  </a:lnTo>
                  <a:lnTo>
                    <a:pt x="557" y="1991"/>
                  </a:lnTo>
                  <a:lnTo>
                    <a:pt x="595" y="1990"/>
                  </a:lnTo>
                  <a:lnTo>
                    <a:pt x="631" y="1986"/>
                  </a:lnTo>
                  <a:lnTo>
                    <a:pt x="664" y="1978"/>
                  </a:lnTo>
                  <a:lnTo>
                    <a:pt x="693" y="1967"/>
                  </a:lnTo>
                  <a:lnTo>
                    <a:pt x="720" y="1953"/>
                  </a:lnTo>
                  <a:lnTo>
                    <a:pt x="743" y="1936"/>
                  </a:lnTo>
                  <a:lnTo>
                    <a:pt x="762" y="1915"/>
                  </a:lnTo>
                  <a:lnTo>
                    <a:pt x="776" y="1893"/>
                  </a:lnTo>
                  <a:lnTo>
                    <a:pt x="785" y="1869"/>
                  </a:lnTo>
                  <a:lnTo>
                    <a:pt x="789" y="1842"/>
                  </a:lnTo>
                  <a:lnTo>
                    <a:pt x="788" y="1812"/>
                  </a:lnTo>
                  <a:lnTo>
                    <a:pt x="780" y="1781"/>
                  </a:lnTo>
                  <a:lnTo>
                    <a:pt x="766" y="1751"/>
                  </a:lnTo>
                  <a:lnTo>
                    <a:pt x="746" y="1722"/>
                  </a:lnTo>
                  <a:lnTo>
                    <a:pt x="722" y="1695"/>
                  </a:lnTo>
                  <a:lnTo>
                    <a:pt x="693" y="1668"/>
                  </a:lnTo>
                  <a:lnTo>
                    <a:pt x="660" y="1645"/>
                  </a:lnTo>
                  <a:lnTo>
                    <a:pt x="623" y="1624"/>
                  </a:lnTo>
                  <a:lnTo>
                    <a:pt x="583" y="1606"/>
                  </a:lnTo>
                  <a:lnTo>
                    <a:pt x="541" y="1591"/>
                  </a:lnTo>
                  <a:lnTo>
                    <a:pt x="496" y="1580"/>
                  </a:lnTo>
                  <a:lnTo>
                    <a:pt x="455" y="1573"/>
                  </a:lnTo>
                  <a:lnTo>
                    <a:pt x="415" y="1571"/>
                  </a:lnTo>
                  <a:close/>
                  <a:moveTo>
                    <a:pt x="1654" y="145"/>
                  </a:moveTo>
                  <a:lnTo>
                    <a:pt x="1550" y="146"/>
                  </a:lnTo>
                  <a:lnTo>
                    <a:pt x="1443" y="148"/>
                  </a:lnTo>
                  <a:lnTo>
                    <a:pt x="1334" y="151"/>
                  </a:lnTo>
                  <a:lnTo>
                    <a:pt x="1223" y="155"/>
                  </a:lnTo>
                  <a:lnTo>
                    <a:pt x="1113" y="161"/>
                  </a:lnTo>
                  <a:lnTo>
                    <a:pt x="1002" y="169"/>
                  </a:lnTo>
                  <a:lnTo>
                    <a:pt x="892" y="179"/>
                  </a:lnTo>
                  <a:lnTo>
                    <a:pt x="784" y="192"/>
                  </a:lnTo>
                  <a:lnTo>
                    <a:pt x="677" y="208"/>
                  </a:lnTo>
                  <a:lnTo>
                    <a:pt x="573" y="226"/>
                  </a:lnTo>
                  <a:lnTo>
                    <a:pt x="472" y="248"/>
                  </a:lnTo>
                  <a:lnTo>
                    <a:pt x="460" y="252"/>
                  </a:lnTo>
                  <a:lnTo>
                    <a:pt x="451" y="259"/>
                  </a:lnTo>
                  <a:lnTo>
                    <a:pt x="445" y="266"/>
                  </a:lnTo>
                  <a:lnTo>
                    <a:pt x="441" y="274"/>
                  </a:lnTo>
                  <a:lnTo>
                    <a:pt x="438" y="281"/>
                  </a:lnTo>
                  <a:lnTo>
                    <a:pt x="437" y="286"/>
                  </a:lnTo>
                  <a:lnTo>
                    <a:pt x="437" y="288"/>
                  </a:lnTo>
                  <a:lnTo>
                    <a:pt x="406" y="1111"/>
                  </a:lnTo>
                  <a:lnTo>
                    <a:pt x="407" y="1126"/>
                  </a:lnTo>
                  <a:lnTo>
                    <a:pt x="408" y="1140"/>
                  </a:lnTo>
                  <a:lnTo>
                    <a:pt x="412" y="1154"/>
                  </a:lnTo>
                  <a:lnTo>
                    <a:pt x="417" y="1167"/>
                  </a:lnTo>
                  <a:lnTo>
                    <a:pt x="425" y="1179"/>
                  </a:lnTo>
                  <a:lnTo>
                    <a:pt x="434" y="1192"/>
                  </a:lnTo>
                  <a:lnTo>
                    <a:pt x="447" y="1204"/>
                  </a:lnTo>
                  <a:lnTo>
                    <a:pt x="462" y="1215"/>
                  </a:lnTo>
                  <a:lnTo>
                    <a:pt x="479" y="1225"/>
                  </a:lnTo>
                  <a:lnTo>
                    <a:pt x="501" y="1235"/>
                  </a:lnTo>
                  <a:lnTo>
                    <a:pt x="526" y="1244"/>
                  </a:lnTo>
                  <a:lnTo>
                    <a:pt x="553" y="1252"/>
                  </a:lnTo>
                  <a:lnTo>
                    <a:pt x="585" y="1261"/>
                  </a:lnTo>
                  <a:lnTo>
                    <a:pt x="621" y="1268"/>
                  </a:lnTo>
                  <a:lnTo>
                    <a:pt x="661" y="1275"/>
                  </a:lnTo>
                  <a:lnTo>
                    <a:pt x="705" y="1282"/>
                  </a:lnTo>
                  <a:lnTo>
                    <a:pt x="754" y="1288"/>
                  </a:lnTo>
                  <a:lnTo>
                    <a:pt x="808" y="1293"/>
                  </a:lnTo>
                  <a:lnTo>
                    <a:pt x="867" y="1298"/>
                  </a:lnTo>
                  <a:lnTo>
                    <a:pt x="930" y="1303"/>
                  </a:lnTo>
                  <a:lnTo>
                    <a:pt x="1000" y="1308"/>
                  </a:lnTo>
                  <a:lnTo>
                    <a:pt x="1075" y="1311"/>
                  </a:lnTo>
                  <a:lnTo>
                    <a:pt x="1155" y="1314"/>
                  </a:lnTo>
                  <a:lnTo>
                    <a:pt x="1242" y="1317"/>
                  </a:lnTo>
                  <a:lnTo>
                    <a:pt x="1336" y="1319"/>
                  </a:lnTo>
                  <a:lnTo>
                    <a:pt x="1435" y="1320"/>
                  </a:lnTo>
                  <a:lnTo>
                    <a:pt x="1541" y="1321"/>
                  </a:lnTo>
                  <a:lnTo>
                    <a:pt x="1654" y="1322"/>
                  </a:lnTo>
                  <a:lnTo>
                    <a:pt x="1768" y="1321"/>
                  </a:lnTo>
                  <a:lnTo>
                    <a:pt x="1874" y="1320"/>
                  </a:lnTo>
                  <a:lnTo>
                    <a:pt x="1973" y="1319"/>
                  </a:lnTo>
                  <a:lnTo>
                    <a:pt x="2067" y="1317"/>
                  </a:lnTo>
                  <a:lnTo>
                    <a:pt x="2153" y="1314"/>
                  </a:lnTo>
                  <a:lnTo>
                    <a:pt x="2234" y="1311"/>
                  </a:lnTo>
                  <a:lnTo>
                    <a:pt x="2309" y="1308"/>
                  </a:lnTo>
                  <a:lnTo>
                    <a:pt x="2378" y="1303"/>
                  </a:lnTo>
                  <a:lnTo>
                    <a:pt x="2442" y="1298"/>
                  </a:lnTo>
                  <a:lnTo>
                    <a:pt x="2501" y="1293"/>
                  </a:lnTo>
                  <a:lnTo>
                    <a:pt x="2555" y="1288"/>
                  </a:lnTo>
                  <a:lnTo>
                    <a:pt x="2603" y="1282"/>
                  </a:lnTo>
                  <a:lnTo>
                    <a:pt x="2648" y="1275"/>
                  </a:lnTo>
                  <a:lnTo>
                    <a:pt x="2688" y="1268"/>
                  </a:lnTo>
                  <a:lnTo>
                    <a:pt x="2724" y="1261"/>
                  </a:lnTo>
                  <a:lnTo>
                    <a:pt x="2755" y="1252"/>
                  </a:lnTo>
                  <a:lnTo>
                    <a:pt x="2783" y="1244"/>
                  </a:lnTo>
                  <a:lnTo>
                    <a:pt x="2808" y="1235"/>
                  </a:lnTo>
                  <a:lnTo>
                    <a:pt x="2828" y="1225"/>
                  </a:lnTo>
                  <a:lnTo>
                    <a:pt x="2847" y="1215"/>
                  </a:lnTo>
                  <a:lnTo>
                    <a:pt x="2862" y="1204"/>
                  </a:lnTo>
                  <a:lnTo>
                    <a:pt x="2875" y="1192"/>
                  </a:lnTo>
                  <a:lnTo>
                    <a:pt x="2884" y="1179"/>
                  </a:lnTo>
                  <a:lnTo>
                    <a:pt x="2892" y="1167"/>
                  </a:lnTo>
                  <a:lnTo>
                    <a:pt x="2897" y="1154"/>
                  </a:lnTo>
                  <a:lnTo>
                    <a:pt x="2901" y="1140"/>
                  </a:lnTo>
                  <a:lnTo>
                    <a:pt x="2903" y="1126"/>
                  </a:lnTo>
                  <a:lnTo>
                    <a:pt x="2903" y="1111"/>
                  </a:lnTo>
                  <a:lnTo>
                    <a:pt x="2872" y="288"/>
                  </a:lnTo>
                  <a:lnTo>
                    <a:pt x="2872" y="286"/>
                  </a:lnTo>
                  <a:lnTo>
                    <a:pt x="2871" y="281"/>
                  </a:lnTo>
                  <a:lnTo>
                    <a:pt x="2868" y="274"/>
                  </a:lnTo>
                  <a:lnTo>
                    <a:pt x="2864" y="266"/>
                  </a:lnTo>
                  <a:lnTo>
                    <a:pt x="2858" y="259"/>
                  </a:lnTo>
                  <a:lnTo>
                    <a:pt x="2849" y="252"/>
                  </a:lnTo>
                  <a:lnTo>
                    <a:pt x="2837" y="248"/>
                  </a:lnTo>
                  <a:lnTo>
                    <a:pt x="2736" y="226"/>
                  </a:lnTo>
                  <a:lnTo>
                    <a:pt x="2632" y="208"/>
                  </a:lnTo>
                  <a:lnTo>
                    <a:pt x="2525" y="192"/>
                  </a:lnTo>
                  <a:lnTo>
                    <a:pt x="2417" y="179"/>
                  </a:lnTo>
                  <a:lnTo>
                    <a:pt x="2307" y="169"/>
                  </a:lnTo>
                  <a:lnTo>
                    <a:pt x="2196" y="161"/>
                  </a:lnTo>
                  <a:lnTo>
                    <a:pt x="2085" y="155"/>
                  </a:lnTo>
                  <a:lnTo>
                    <a:pt x="1975" y="151"/>
                  </a:lnTo>
                  <a:lnTo>
                    <a:pt x="1866" y="148"/>
                  </a:lnTo>
                  <a:lnTo>
                    <a:pt x="1759" y="146"/>
                  </a:lnTo>
                  <a:lnTo>
                    <a:pt x="1654" y="145"/>
                  </a:lnTo>
                  <a:close/>
                  <a:moveTo>
                    <a:pt x="1660" y="0"/>
                  </a:moveTo>
                  <a:lnTo>
                    <a:pt x="1668" y="0"/>
                  </a:lnTo>
                  <a:lnTo>
                    <a:pt x="1683" y="1"/>
                  </a:lnTo>
                  <a:lnTo>
                    <a:pt x="1704" y="1"/>
                  </a:lnTo>
                  <a:lnTo>
                    <a:pt x="1733" y="1"/>
                  </a:lnTo>
                  <a:lnTo>
                    <a:pt x="1767" y="2"/>
                  </a:lnTo>
                  <a:lnTo>
                    <a:pt x="1806" y="3"/>
                  </a:lnTo>
                  <a:lnTo>
                    <a:pt x="1852" y="4"/>
                  </a:lnTo>
                  <a:lnTo>
                    <a:pt x="1900" y="6"/>
                  </a:lnTo>
                  <a:lnTo>
                    <a:pt x="1954" y="7"/>
                  </a:lnTo>
                  <a:lnTo>
                    <a:pt x="2010" y="10"/>
                  </a:lnTo>
                  <a:lnTo>
                    <a:pt x="2070" y="12"/>
                  </a:lnTo>
                  <a:lnTo>
                    <a:pt x="2131" y="15"/>
                  </a:lnTo>
                  <a:lnTo>
                    <a:pt x="2196" y="18"/>
                  </a:lnTo>
                  <a:lnTo>
                    <a:pt x="2261" y="22"/>
                  </a:lnTo>
                  <a:lnTo>
                    <a:pt x="2328" y="26"/>
                  </a:lnTo>
                  <a:lnTo>
                    <a:pt x="2396" y="31"/>
                  </a:lnTo>
                  <a:lnTo>
                    <a:pt x="2462" y="37"/>
                  </a:lnTo>
                  <a:lnTo>
                    <a:pt x="2530" y="42"/>
                  </a:lnTo>
                  <a:lnTo>
                    <a:pt x="2595" y="49"/>
                  </a:lnTo>
                  <a:lnTo>
                    <a:pt x="2661" y="56"/>
                  </a:lnTo>
                  <a:lnTo>
                    <a:pt x="2724" y="65"/>
                  </a:lnTo>
                  <a:lnTo>
                    <a:pt x="2784" y="73"/>
                  </a:lnTo>
                  <a:lnTo>
                    <a:pt x="2842" y="82"/>
                  </a:lnTo>
                  <a:lnTo>
                    <a:pt x="2896" y="92"/>
                  </a:lnTo>
                  <a:lnTo>
                    <a:pt x="2947" y="103"/>
                  </a:lnTo>
                  <a:lnTo>
                    <a:pt x="2993" y="114"/>
                  </a:lnTo>
                  <a:lnTo>
                    <a:pt x="3007" y="120"/>
                  </a:lnTo>
                  <a:lnTo>
                    <a:pt x="3018" y="128"/>
                  </a:lnTo>
                  <a:lnTo>
                    <a:pt x="3027" y="137"/>
                  </a:lnTo>
                  <a:lnTo>
                    <a:pt x="3033" y="147"/>
                  </a:lnTo>
                  <a:lnTo>
                    <a:pt x="3037" y="156"/>
                  </a:lnTo>
                  <a:lnTo>
                    <a:pt x="3040" y="164"/>
                  </a:lnTo>
                  <a:lnTo>
                    <a:pt x="3041" y="170"/>
                  </a:lnTo>
                  <a:lnTo>
                    <a:pt x="3042" y="172"/>
                  </a:lnTo>
                  <a:lnTo>
                    <a:pt x="3208" y="1309"/>
                  </a:lnTo>
                  <a:lnTo>
                    <a:pt x="3220" y="1339"/>
                  </a:lnTo>
                  <a:lnTo>
                    <a:pt x="3231" y="1370"/>
                  </a:lnTo>
                  <a:lnTo>
                    <a:pt x="3241" y="1404"/>
                  </a:lnTo>
                  <a:lnTo>
                    <a:pt x="3250" y="1441"/>
                  </a:lnTo>
                  <a:lnTo>
                    <a:pt x="3266" y="1506"/>
                  </a:lnTo>
                  <a:lnTo>
                    <a:pt x="3280" y="1575"/>
                  </a:lnTo>
                  <a:lnTo>
                    <a:pt x="3292" y="1648"/>
                  </a:lnTo>
                  <a:lnTo>
                    <a:pt x="3302" y="1725"/>
                  </a:lnTo>
                  <a:lnTo>
                    <a:pt x="3310" y="1805"/>
                  </a:lnTo>
                  <a:lnTo>
                    <a:pt x="3316" y="1887"/>
                  </a:lnTo>
                  <a:lnTo>
                    <a:pt x="3320" y="1973"/>
                  </a:lnTo>
                  <a:lnTo>
                    <a:pt x="3321" y="2061"/>
                  </a:lnTo>
                  <a:lnTo>
                    <a:pt x="3319" y="2152"/>
                  </a:lnTo>
                  <a:lnTo>
                    <a:pt x="3315" y="2242"/>
                  </a:lnTo>
                  <a:lnTo>
                    <a:pt x="3309" y="2329"/>
                  </a:lnTo>
                  <a:lnTo>
                    <a:pt x="3300" y="2412"/>
                  </a:lnTo>
                  <a:lnTo>
                    <a:pt x="3289" y="2492"/>
                  </a:lnTo>
                  <a:lnTo>
                    <a:pt x="3276" y="2568"/>
                  </a:lnTo>
                  <a:lnTo>
                    <a:pt x="3270" y="2625"/>
                  </a:lnTo>
                  <a:lnTo>
                    <a:pt x="3264" y="2676"/>
                  </a:lnTo>
                  <a:lnTo>
                    <a:pt x="3264" y="3026"/>
                  </a:lnTo>
                  <a:lnTo>
                    <a:pt x="3262" y="3057"/>
                  </a:lnTo>
                  <a:lnTo>
                    <a:pt x="3254" y="3085"/>
                  </a:lnTo>
                  <a:lnTo>
                    <a:pt x="3242" y="3110"/>
                  </a:lnTo>
                  <a:lnTo>
                    <a:pt x="3225" y="3133"/>
                  </a:lnTo>
                  <a:lnTo>
                    <a:pt x="3206" y="3153"/>
                  </a:lnTo>
                  <a:lnTo>
                    <a:pt x="3182" y="3170"/>
                  </a:lnTo>
                  <a:lnTo>
                    <a:pt x="3156" y="3183"/>
                  </a:lnTo>
                  <a:lnTo>
                    <a:pt x="3128" y="3191"/>
                  </a:lnTo>
                  <a:lnTo>
                    <a:pt x="3098" y="3193"/>
                  </a:lnTo>
                  <a:lnTo>
                    <a:pt x="2961" y="3193"/>
                  </a:lnTo>
                  <a:lnTo>
                    <a:pt x="2930" y="3191"/>
                  </a:lnTo>
                  <a:lnTo>
                    <a:pt x="2902" y="3183"/>
                  </a:lnTo>
                  <a:lnTo>
                    <a:pt x="2876" y="3170"/>
                  </a:lnTo>
                  <a:lnTo>
                    <a:pt x="2853" y="3153"/>
                  </a:lnTo>
                  <a:lnTo>
                    <a:pt x="2833" y="3133"/>
                  </a:lnTo>
                  <a:lnTo>
                    <a:pt x="2816" y="3110"/>
                  </a:lnTo>
                  <a:lnTo>
                    <a:pt x="2804" y="3085"/>
                  </a:lnTo>
                  <a:lnTo>
                    <a:pt x="2796" y="3057"/>
                  </a:lnTo>
                  <a:lnTo>
                    <a:pt x="2793" y="3026"/>
                  </a:lnTo>
                  <a:lnTo>
                    <a:pt x="2793" y="2858"/>
                  </a:lnTo>
                  <a:lnTo>
                    <a:pt x="2678" y="2866"/>
                  </a:lnTo>
                  <a:lnTo>
                    <a:pt x="2557" y="2872"/>
                  </a:lnTo>
                  <a:lnTo>
                    <a:pt x="2431" y="2877"/>
                  </a:lnTo>
                  <a:lnTo>
                    <a:pt x="2302" y="2881"/>
                  </a:lnTo>
                  <a:lnTo>
                    <a:pt x="2170" y="2884"/>
                  </a:lnTo>
                  <a:lnTo>
                    <a:pt x="2034" y="2886"/>
                  </a:lnTo>
                  <a:lnTo>
                    <a:pt x="1898" y="2888"/>
                  </a:lnTo>
                  <a:lnTo>
                    <a:pt x="1760" y="2889"/>
                  </a:lnTo>
                  <a:lnTo>
                    <a:pt x="1561" y="2889"/>
                  </a:lnTo>
                  <a:lnTo>
                    <a:pt x="1423" y="2888"/>
                  </a:lnTo>
                  <a:lnTo>
                    <a:pt x="1286" y="2886"/>
                  </a:lnTo>
                  <a:lnTo>
                    <a:pt x="1151" y="2884"/>
                  </a:lnTo>
                  <a:lnTo>
                    <a:pt x="1018" y="2881"/>
                  </a:lnTo>
                  <a:lnTo>
                    <a:pt x="889" y="2877"/>
                  </a:lnTo>
                  <a:lnTo>
                    <a:pt x="764" y="2872"/>
                  </a:lnTo>
                  <a:lnTo>
                    <a:pt x="643" y="2866"/>
                  </a:lnTo>
                  <a:lnTo>
                    <a:pt x="527" y="2858"/>
                  </a:lnTo>
                  <a:lnTo>
                    <a:pt x="527" y="3026"/>
                  </a:lnTo>
                  <a:lnTo>
                    <a:pt x="525" y="3057"/>
                  </a:lnTo>
                  <a:lnTo>
                    <a:pt x="517" y="3085"/>
                  </a:lnTo>
                  <a:lnTo>
                    <a:pt x="505" y="3110"/>
                  </a:lnTo>
                  <a:lnTo>
                    <a:pt x="488" y="3133"/>
                  </a:lnTo>
                  <a:lnTo>
                    <a:pt x="468" y="3153"/>
                  </a:lnTo>
                  <a:lnTo>
                    <a:pt x="444" y="3170"/>
                  </a:lnTo>
                  <a:lnTo>
                    <a:pt x="419" y="3183"/>
                  </a:lnTo>
                  <a:lnTo>
                    <a:pt x="391" y="3191"/>
                  </a:lnTo>
                  <a:lnTo>
                    <a:pt x="360" y="3193"/>
                  </a:lnTo>
                  <a:lnTo>
                    <a:pt x="223" y="3193"/>
                  </a:lnTo>
                  <a:lnTo>
                    <a:pt x="193" y="3191"/>
                  </a:lnTo>
                  <a:lnTo>
                    <a:pt x="164" y="3183"/>
                  </a:lnTo>
                  <a:lnTo>
                    <a:pt x="138" y="3170"/>
                  </a:lnTo>
                  <a:lnTo>
                    <a:pt x="115" y="3153"/>
                  </a:lnTo>
                  <a:lnTo>
                    <a:pt x="95" y="3133"/>
                  </a:lnTo>
                  <a:lnTo>
                    <a:pt x="79" y="3110"/>
                  </a:lnTo>
                  <a:lnTo>
                    <a:pt x="67" y="3085"/>
                  </a:lnTo>
                  <a:lnTo>
                    <a:pt x="59" y="3057"/>
                  </a:lnTo>
                  <a:lnTo>
                    <a:pt x="56" y="3026"/>
                  </a:lnTo>
                  <a:lnTo>
                    <a:pt x="56" y="2676"/>
                  </a:lnTo>
                  <a:lnTo>
                    <a:pt x="50" y="2625"/>
                  </a:lnTo>
                  <a:lnTo>
                    <a:pt x="44" y="2568"/>
                  </a:lnTo>
                  <a:lnTo>
                    <a:pt x="31" y="2492"/>
                  </a:lnTo>
                  <a:lnTo>
                    <a:pt x="20" y="2412"/>
                  </a:lnTo>
                  <a:lnTo>
                    <a:pt x="12" y="2329"/>
                  </a:lnTo>
                  <a:lnTo>
                    <a:pt x="5" y="2242"/>
                  </a:lnTo>
                  <a:lnTo>
                    <a:pt x="1" y="2152"/>
                  </a:lnTo>
                  <a:lnTo>
                    <a:pt x="0" y="2061"/>
                  </a:lnTo>
                  <a:lnTo>
                    <a:pt x="1" y="1973"/>
                  </a:lnTo>
                  <a:lnTo>
                    <a:pt x="5" y="1887"/>
                  </a:lnTo>
                  <a:lnTo>
                    <a:pt x="11" y="1805"/>
                  </a:lnTo>
                  <a:lnTo>
                    <a:pt x="18" y="1725"/>
                  </a:lnTo>
                  <a:lnTo>
                    <a:pt x="28" y="1648"/>
                  </a:lnTo>
                  <a:lnTo>
                    <a:pt x="40" y="1575"/>
                  </a:lnTo>
                  <a:lnTo>
                    <a:pt x="54" y="1506"/>
                  </a:lnTo>
                  <a:lnTo>
                    <a:pt x="70" y="1441"/>
                  </a:lnTo>
                  <a:lnTo>
                    <a:pt x="80" y="1404"/>
                  </a:lnTo>
                  <a:lnTo>
                    <a:pt x="90" y="1370"/>
                  </a:lnTo>
                  <a:lnTo>
                    <a:pt x="101" y="1339"/>
                  </a:lnTo>
                  <a:lnTo>
                    <a:pt x="113" y="1309"/>
                  </a:lnTo>
                  <a:lnTo>
                    <a:pt x="279" y="172"/>
                  </a:lnTo>
                  <a:lnTo>
                    <a:pt x="279" y="170"/>
                  </a:lnTo>
                  <a:lnTo>
                    <a:pt x="281" y="164"/>
                  </a:lnTo>
                  <a:lnTo>
                    <a:pt x="283" y="156"/>
                  </a:lnTo>
                  <a:lnTo>
                    <a:pt x="288" y="147"/>
                  </a:lnTo>
                  <a:lnTo>
                    <a:pt x="294" y="137"/>
                  </a:lnTo>
                  <a:lnTo>
                    <a:pt x="302" y="128"/>
                  </a:lnTo>
                  <a:lnTo>
                    <a:pt x="314" y="120"/>
                  </a:lnTo>
                  <a:lnTo>
                    <a:pt x="328" y="114"/>
                  </a:lnTo>
                  <a:lnTo>
                    <a:pt x="374" y="103"/>
                  </a:lnTo>
                  <a:lnTo>
                    <a:pt x="425" y="92"/>
                  </a:lnTo>
                  <a:lnTo>
                    <a:pt x="479" y="82"/>
                  </a:lnTo>
                  <a:lnTo>
                    <a:pt x="537" y="73"/>
                  </a:lnTo>
                  <a:lnTo>
                    <a:pt x="597" y="65"/>
                  </a:lnTo>
                  <a:lnTo>
                    <a:pt x="660" y="56"/>
                  </a:lnTo>
                  <a:lnTo>
                    <a:pt x="725" y="49"/>
                  </a:lnTo>
                  <a:lnTo>
                    <a:pt x="791" y="42"/>
                  </a:lnTo>
                  <a:lnTo>
                    <a:pt x="858" y="37"/>
                  </a:lnTo>
                  <a:lnTo>
                    <a:pt x="925" y="31"/>
                  </a:lnTo>
                  <a:lnTo>
                    <a:pt x="993" y="26"/>
                  </a:lnTo>
                  <a:lnTo>
                    <a:pt x="1060" y="22"/>
                  </a:lnTo>
                  <a:lnTo>
                    <a:pt x="1125" y="18"/>
                  </a:lnTo>
                  <a:lnTo>
                    <a:pt x="1189" y="15"/>
                  </a:lnTo>
                  <a:lnTo>
                    <a:pt x="1251" y="12"/>
                  </a:lnTo>
                  <a:lnTo>
                    <a:pt x="1311" y="10"/>
                  </a:lnTo>
                  <a:lnTo>
                    <a:pt x="1367" y="7"/>
                  </a:lnTo>
                  <a:lnTo>
                    <a:pt x="1421" y="6"/>
                  </a:lnTo>
                  <a:lnTo>
                    <a:pt x="1469" y="4"/>
                  </a:lnTo>
                  <a:lnTo>
                    <a:pt x="1514" y="3"/>
                  </a:lnTo>
                  <a:lnTo>
                    <a:pt x="1554" y="2"/>
                  </a:lnTo>
                  <a:lnTo>
                    <a:pt x="1587" y="1"/>
                  </a:lnTo>
                  <a:lnTo>
                    <a:pt x="1616" y="1"/>
                  </a:lnTo>
                  <a:lnTo>
                    <a:pt x="1638" y="1"/>
                  </a:lnTo>
                  <a:lnTo>
                    <a:pt x="1653" y="0"/>
                  </a:lnTo>
                  <a:lnTo>
                    <a:pt x="1660" y="0"/>
                  </a:lnTo>
                  <a:close/>
                </a:path>
              </a:pathLst>
            </a:custGeom>
            <a:solidFill>
              <a:schemeClr val="accent2">
                <a:lumMod val="60000"/>
                <a:lumOff val="40000"/>
              </a:schemeClr>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20" name="Freeform 329"/>
            <p:cNvSpPr>
              <a:spLocks noChangeArrowheads="1"/>
            </p:cNvSpPr>
            <p:nvPr/>
          </p:nvSpPr>
          <p:spPr bwMode="auto">
            <a:xfrm>
              <a:off x="4066060" y="1809320"/>
              <a:ext cx="429740" cy="392327"/>
            </a:xfrm>
            <a:custGeom>
              <a:avLst/>
              <a:gdLst>
                <a:gd name="T0" fmla="*/ 2147483647 w 3321"/>
                <a:gd name="T1" fmla="*/ 2147483647 h 3193"/>
                <a:gd name="T2" fmla="*/ 2147483647 w 3321"/>
                <a:gd name="T3" fmla="*/ 2147483647 h 3193"/>
                <a:gd name="T4" fmla="*/ 2147483647 w 3321"/>
                <a:gd name="T5" fmla="*/ 2147483647 h 3193"/>
                <a:gd name="T6" fmla="*/ 2147483647 w 3321"/>
                <a:gd name="T7" fmla="*/ 2147483647 h 3193"/>
                <a:gd name="T8" fmla="*/ 2147483647 w 3321"/>
                <a:gd name="T9" fmla="*/ 2147483647 h 3193"/>
                <a:gd name="T10" fmla="*/ 2147483647 w 3321"/>
                <a:gd name="T11" fmla="*/ 2147483647 h 3193"/>
                <a:gd name="T12" fmla="*/ 2147483647 w 3321"/>
                <a:gd name="T13" fmla="*/ 2147483647 h 3193"/>
                <a:gd name="T14" fmla="*/ 2147483647 w 3321"/>
                <a:gd name="T15" fmla="*/ 2147483647 h 3193"/>
                <a:gd name="T16" fmla="*/ 2147483647 w 3321"/>
                <a:gd name="T17" fmla="*/ 2147483647 h 3193"/>
                <a:gd name="T18" fmla="*/ 2147483647 w 3321"/>
                <a:gd name="T19" fmla="*/ 2147483647 h 3193"/>
                <a:gd name="T20" fmla="*/ 2147483647 w 3321"/>
                <a:gd name="T21" fmla="*/ 2147483647 h 3193"/>
                <a:gd name="T22" fmla="*/ 2147483647 w 3321"/>
                <a:gd name="T23" fmla="*/ 2147483647 h 3193"/>
                <a:gd name="T24" fmla="*/ 2147483647 w 3321"/>
                <a:gd name="T25" fmla="*/ 2147483647 h 3193"/>
                <a:gd name="T26" fmla="*/ 2147483647 w 3321"/>
                <a:gd name="T27" fmla="*/ 2147483647 h 3193"/>
                <a:gd name="T28" fmla="*/ 2147483647 w 3321"/>
                <a:gd name="T29" fmla="*/ 2147483647 h 3193"/>
                <a:gd name="T30" fmla="*/ 2147483647 w 3321"/>
                <a:gd name="T31" fmla="*/ 2147483647 h 3193"/>
                <a:gd name="T32" fmla="*/ 2147483647 w 3321"/>
                <a:gd name="T33" fmla="*/ 2147483647 h 3193"/>
                <a:gd name="T34" fmla="*/ 2147483647 w 3321"/>
                <a:gd name="T35" fmla="*/ 2147483647 h 3193"/>
                <a:gd name="T36" fmla="*/ 2147483647 w 3321"/>
                <a:gd name="T37" fmla="*/ 2147483647 h 3193"/>
                <a:gd name="T38" fmla="*/ 2147483647 w 3321"/>
                <a:gd name="T39" fmla="*/ 2147483647 h 3193"/>
                <a:gd name="T40" fmla="*/ 2147483647 w 3321"/>
                <a:gd name="T41" fmla="*/ 2147483647 h 3193"/>
                <a:gd name="T42" fmla="*/ 2147483647 w 3321"/>
                <a:gd name="T43" fmla="*/ 2147483647 h 3193"/>
                <a:gd name="T44" fmla="*/ 2147483647 w 3321"/>
                <a:gd name="T45" fmla="*/ 2147483647 h 3193"/>
                <a:gd name="T46" fmla="*/ 2147483647 w 3321"/>
                <a:gd name="T47" fmla="*/ 2147483647 h 3193"/>
                <a:gd name="T48" fmla="*/ 2147483647 w 3321"/>
                <a:gd name="T49" fmla="*/ 2147483647 h 3193"/>
                <a:gd name="T50" fmla="*/ 2147483647 w 3321"/>
                <a:gd name="T51" fmla="*/ 2147483647 h 3193"/>
                <a:gd name="T52" fmla="*/ 2147483647 w 3321"/>
                <a:gd name="T53" fmla="*/ 2147483647 h 3193"/>
                <a:gd name="T54" fmla="*/ 2147483647 w 3321"/>
                <a:gd name="T55" fmla="*/ 2147483647 h 3193"/>
                <a:gd name="T56" fmla="*/ 2147483647 w 3321"/>
                <a:gd name="T57" fmla="*/ 2147483647 h 3193"/>
                <a:gd name="T58" fmla="*/ 2147483647 w 3321"/>
                <a:gd name="T59" fmla="*/ 2147483647 h 3193"/>
                <a:gd name="T60" fmla="*/ 2147483647 w 3321"/>
                <a:gd name="T61" fmla="*/ 2147483647 h 3193"/>
                <a:gd name="T62" fmla="*/ 2147483647 w 3321"/>
                <a:gd name="T63" fmla="*/ 2147483647 h 3193"/>
                <a:gd name="T64" fmla="*/ 2147483647 w 3321"/>
                <a:gd name="T65" fmla="*/ 2147483647 h 3193"/>
                <a:gd name="T66" fmla="*/ 2147483647 w 3321"/>
                <a:gd name="T67" fmla="*/ 2147483647 h 3193"/>
                <a:gd name="T68" fmla="*/ 2147483647 w 3321"/>
                <a:gd name="T69" fmla="*/ 2147483647 h 3193"/>
                <a:gd name="T70" fmla="*/ 2147483647 w 3321"/>
                <a:gd name="T71" fmla="*/ 2147483647 h 3193"/>
                <a:gd name="T72" fmla="*/ 2147483647 w 3321"/>
                <a:gd name="T73" fmla="*/ 2147483647 h 3193"/>
                <a:gd name="T74" fmla="*/ 2147483647 w 3321"/>
                <a:gd name="T75" fmla="*/ 2147483647 h 3193"/>
                <a:gd name="T76" fmla="*/ 2147483647 w 3321"/>
                <a:gd name="T77" fmla="*/ 2147483647 h 3193"/>
                <a:gd name="T78" fmla="*/ 2147483647 w 3321"/>
                <a:gd name="T79" fmla="*/ 2147483647 h 3193"/>
                <a:gd name="T80" fmla="*/ 2147483647 w 3321"/>
                <a:gd name="T81" fmla="*/ 2147483647 h 3193"/>
                <a:gd name="T82" fmla="*/ 2147483647 w 3321"/>
                <a:gd name="T83" fmla="*/ 2147483647 h 3193"/>
                <a:gd name="T84" fmla="*/ 2147483647 w 3321"/>
                <a:gd name="T85" fmla="*/ 2147483647 h 3193"/>
                <a:gd name="T86" fmla="*/ 2147483647 w 3321"/>
                <a:gd name="T87" fmla="*/ 2147483647 h 3193"/>
                <a:gd name="T88" fmla="*/ 2147483647 w 3321"/>
                <a:gd name="T89" fmla="*/ 2147483647 h 3193"/>
                <a:gd name="T90" fmla="*/ 2147483647 w 3321"/>
                <a:gd name="T91" fmla="*/ 2147483647 h 3193"/>
                <a:gd name="T92" fmla="*/ 2147483647 w 3321"/>
                <a:gd name="T93" fmla="*/ 2147483647 h 3193"/>
                <a:gd name="T94" fmla="*/ 2147483647 w 3321"/>
                <a:gd name="T95" fmla="*/ 2147483647 h 3193"/>
                <a:gd name="T96" fmla="*/ 2147483647 w 3321"/>
                <a:gd name="T97" fmla="*/ 2147483647 h 3193"/>
                <a:gd name="T98" fmla="*/ 2147483647 w 3321"/>
                <a:gd name="T99" fmla="*/ 2147483647 h 3193"/>
                <a:gd name="T100" fmla="*/ 2147483647 w 3321"/>
                <a:gd name="T101" fmla="*/ 2147483647 h 3193"/>
                <a:gd name="T102" fmla="*/ 0 w 3321"/>
                <a:gd name="T103" fmla="*/ 2147483647 h 3193"/>
                <a:gd name="T104" fmla="*/ 2147483647 w 3321"/>
                <a:gd name="T105" fmla="*/ 2147483647 h 3193"/>
                <a:gd name="T106" fmla="*/ 2147483647 w 3321"/>
                <a:gd name="T107" fmla="*/ 2147483647 h 3193"/>
                <a:gd name="T108" fmla="*/ 2147483647 w 3321"/>
                <a:gd name="T109" fmla="*/ 2147483647 h 3193"/>
                <a:gd name="T110" fmla="*/ 2147483647 w 3321"/>
                <a:gd name="T111" fmla="*/ 2147483647 h 3193"/>
                <a:gd name="T112" fmla="*/ 2147483647 w 3321"/>
                <a:gd name="T113" fmla="*/ 2147483647 h 3193"/>
                <a:gd name="T114" fmla="*/ 2147483647 w 3321"/>
                <a:gd name="T115" fmla="*/ 2147483647 h 3193"/>
                <a:gd name="T116" fmla="*/ 2147483647 w 3321"/>
                <a:gd name="T117" fmla="*/ 2147483647 h 31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21"/>
                <a:gd name="T178" fmla="*/ 0 h 3193"/>
                <a:gd name="T179" fmla="*/ 3321 w 3321"/>
                <a:gd name="T180" fmla="*/ 3193 h 31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21" h="3193">
                  <a:moveTo>
                    <a:pt x="2894" y="1571"/>
                  </a:moveTo>
                  <a:lnTo>
                    <a:pt x="2854" y="1573"/>
                  </a:lnTo>
                  <a:lnTo>
                    <a:pt x="2812" y="1580"/>
                  </a:lnTo>
                  <a:lnTo>
                    <a:pt x="2768" y="1591"/>
                  </a:lnTo>
                  <a:lnTo>
                    <a:pt x="2726" y="1606"/>
                  </a:lnTo>
                  <a:lnTo>
                    <a:pt x="2685" y="1624"/>
                  </a:lnTo>
                  <a:lnTo>
                    <a:pt x="2649" y="1645"/>
                  </a:lnTo>
                  <a:lnTo>
                    <a:pt x="2616" y="1668"/>
                  </a:lnTo>
                  <a:lnTo>
                    <a:pt x="2587" y="1695"/>
                  </a:lnTo>
                  <a:lnTo>
                    <a:pt x="2562" y="1722"/>
                  </a:lnTo>
                  <a:lnTo>
                    <a:pt x="2543" y="1751"/>
                  </a:lnTo>
                  <a:lnTo>
                    <a:pt x="2529" y="1781"/>
                  </a:lnTo>
                  <a:lnTo>
                    <a:pt x="2521" y="1812"/>
                  </a:lnTo>
                  <a:lnTo>
                    <a:pt x="2519" y="1842"/>
                  </a:lnTo>
                  <a:lnTo>
                    <a:pt x="2524" y="1869"/>
                  </a:lnTo>
                  <a:lnTo>
                    <a:pt x="2533" y="1893"/>
                  </a:lnTo>
                  <a:lnTo>
                    <a:pt x="2547" y="1915"/>
                  </a:lnTo>
                  <a:lnTo>
                    <a:pt x="2566" y="1936"/>
                  </a:lnTo>
                  <a:lnTo>
                    <a:pt x="2588" y="1953"/>
                  </a:lnTo>
                  <a:lnTo>
                    <a:pt x="2616" y="1967"/>
                  </a:lnTo>
                  <a:lnTo>
                    <a:pt x="2645" y="1978"/>
                  </a:lnTo>
                  <a:lnTo>
                    <a:pt x="2678" y="1986"/>
                  </a:lnTo>
                  <a:lnTo>
                    <a:pt x="2713" y="1990"/>
                  </a:lnTo>
                  <a:lnTo>
                    <a:pt x="2752" y="1991"/>
                  </a:lnTo>
                  <a:lnTo>
                    <a:pt x="2791" y="1989"/>
                  </a:lnTo>
                  <a:lnTo>
                    <a:pt x="2833" y="1982"/>
                  </a:lnTo>
                  <a:lnTo>
                    <a:pt x="2878" y="1971"/>
                  </a:lnTo>
                  <a:lnTo>
                    <a:pt x="2920" y="1956"/>
                  </a:lnTo>
                  <a:lnTo>
                    <a:pt x="2960" y="1938"/>
                  </a:lnTo>
                  <a:lnTo>
                    <a:pt x="2997" y="1916"/>
                  </a:lnTo>
                  <a:lnTo>
                    <a:pt x="3029" y="1893"/>
                  </a:lnTo>
                  <a:lnTo>
                    <a:pt x="3059" y="1867"/>
                  </a:lnTo>
                  <a:lnTo>
                    <a:pt x="3083" y="1839"/>
                  </a:lnTo>
                  <a:lnTo>
                    <a:pt x="3103" y="1811"/>
                  </a:lnTo>
                  <a:lnTo>
                    <a:pt x="3116" y="1780"/>
                  </a:lnTo>
                  <a:lnTo>
                    <a:pt x="3124" y="1750"/>
                  </a:lnTo>
                  <a:lnTo>
                    <a:pt x="3126" y="1720"/>
                  </a:lnTo>
                  <a:lnTo>
                    <a:pt x="3122" y="1693"/>
                  </a:lnTo>
                  <a:lnTo>
                    <a:pt x="3113" y="1668"/>
                  </a:lnTo>
                  <a:lnTo>
                    <a:pt x="3099" y="1646"/>
                  </a:lnTo>
                  <a:lnTo>
                    <a:pt x="3080" y="1626"/>
                  </a:lnTo>
                  <a:lnTo>
                    <a:pt x="3057" y="1609"/>
                  </a:lnTo>
                  <a:lnTo>
                    <a:pt x="3030" y="1595"/>
                  </a:lnTo>
                  <a:lnTo>
                    <a:pt x="3000" y="1584"/>
                  </a:lnTo>
                  <a:lnTo>
                    <a:pt x="2968" y="1576"/>
                  </a:lnTo>
                  <a:lnTo>
                    <a:pt x="2931" y="1572"/>
                  </a:lnTo>
                  <a:lnTo>
                    <a:pt x="2894" y="1571"/>
                  </a:lnTo>
                  <a:close/>
                  <a:moveTo>
                    <a:pt x="415" y="1571"/>
                  </a:moveTo>
                  <a:lnTo>
                    <a:pt x="377" y="1572"/>
                  </a:lnTo>
                  <a:lnTo>
                    <a:pt x="341" y="1576"/>
                  </a:lnTo>
                  <a:lnTo>
                    <a:pt x="309" y="1584"/>
                  </a:lnTo>
                  <a:lnTo>
                    <a:pt x="279" y="1595"/>
                  </a:lnTo>
                  <a:lnTo>
                    <a:pt x="252" y="1609"/>
                  </a:lnTo>
                  <a:lnTo>
                    <a:pt x="229" y="1626"/>
                  </a:lnTo>
                  <a:lnTo>
                    <a:pt x="210" y="1646"/>
                  </a:lnTo>
                  <a:lnTo>
                    <a:pt x="196" y="1668"/>
                  </a:lnTo>
                  <a:lnTo>
                    <a:pt x="187" y="1693"/>
                  </a:lnTo>
                  <a:lnTo>
                    <a:pt x="183" y="1720"/>
                  </a:lnTo>
                  <a:lnTo>
                    <a:pt x="185" y="1750"/>
                  </a:lnTo>
                  <a:lnTo>
                    <a:pt x="193" y="1780"/>
                  </a:lnTo>
                  <a:lnTo>
                    <a:pt x="207" y="1811"/>
                  </a:lnTo>
                  <a:lnTo>
                    <a:pt x="226" y="1839"/>
                  </a:lnTo>
                  <a:lnTo>
                    <a:pt x="250" y="1867"/>
                  </a:lnTo>
                  <a:lnTo>
                    <a:pt x="280" y="1893"/>
                  </a:lnTo>
                  <a:lnTo>
                    <a:pt x="312" y="1916"/>
                  </a:lnTo>
                  <a:lnTo>
                    <a:pt x="349" y="1938"/>
                  </a:lnTo>
                  <a:lnTo>
                    <a:pt x="389" y="1956"/>
                  </a:lnTo>
                  <a:lnTo>
                    <a:pt x="431" y="1971"/>
                  </a:lnTo>
                  <a:lnTo>
                    <a:pt x="476" y="1982"/>
                  </a:lnTo>
                  <a:lnTo>
                    <a:pt x="518" y="1989"/>
                  </a:lnTo>
                  <a:lnTo>
                    <a:pt x="557" y="1991"/>
                  </a:lnTo>
                  <a:lnTo>
                    <a:pt x="595" y="1990"/>
                  </a:lnTo>
                  <a:lnTo>
                    <a:pt x="631" y="1986"/>
                  </a:lnTo>
                  <a:lnTo>
                    <a:pt x="664" y="1978"/>
                  </a:lnTo>
                  <a:lnTo>
                    <a:pt x="693" y="1967"/>
                  </a:lnTo>
                  <a:lnTo>
                    <a:pt x="720" y="1953"/>
                  </a:lnTo>
                  <a:lnTo>
                    <a:pt x="743" y="1936"/>
                  </a:lnTo>
                  <a:lnTo>
                    <a:pt x="762" y="1915"/>
                  </a:lnTo>
                  <a:lnTo>
                    <a:pt x="776" y="1893"/>
                  </a:lnTo>
                  <a:lnTo>
                    <a:pt x="785" y="1869"/>
                  </a:lnTo>
                  <a:lnTo>
                    <a:pt x="789" y="1842"/>
                  </a:lnTo>
                  <a:lnTo>
                    <a:pt x="788" y="1812"/>
                  </a:lnTo>
                  <a:lnTo>
                    <a:pt x="780" y="1781"/>
                  </a:lnTo>
                  <a:lnTo>
                    <a:pt x="766" y="1751"/>
                  </a:lnTo>
                  <a:lnTo>
                    <a:pt x="746" y="1722"/>
                  </a:lnTo>
                  <a:lnTo>
                    <a:pt x="722" y="1695"/>
                  </a:lnTo>
                  <a:lnTo>
                    <a:pt x="693" y="1668"/>
                  </a:lnTo>
                  <a:lnTo>
                    <a:pt x="660" y="1645"/>
                  </a:lnTo>
                  <a:lnTo>
                    <a:pt x="623" y="1624"/>
                  </a:lnTo>
                  <a:lnTo>
                    <a:pt x="583" y="1606"/>
                  </a:lnTo>
                  <a:lnTo>
                    <a:pt x="541" y="1591"/>
                  </a:lnTo>
                  <a:lnTo>
                    <a:pt x="496" y="1580"/>
                  </a:lnTo>
                  <a:lnTo>
                    <a:pt x="455" y="1573"/>
                  </a:lnTo>
                  <a:lnTo>
                    <a:pt x="415" y="1571"/>
                  </a:lnTo>
                  <a:close/>
                  <a:moveTo>
                    <a:pt x="1654" y="145"/>
                  </a:moveTo>
                  <a:lnTo>
                    <a:pt x="1550" y="146"/>
                  </a:lnTo>
                  <a:lnTo>
                    <a:pt x="1443" y="148"/>
                  </a:lnTo>
                  <a:lnTo>
                    <a:pt x="1334" y="151"/>
                  </a:lnTo>
                  <a:lnTo>
                    <a:pt x="1223" y="155"/>
                  </a:lnTo>
                  <a:lnTo>
                    <a:pt x="1113" y="161"/>
                  </a:lnTo>
                  <a:lnTo>
                    <a:pt x="1002" y="169"/>
                  </a:lnTo>
                  <a:lnTo>
                    <a:pt x="892" y="179"/>
                  </a:lnTo>
                  <a:lnTo>
                    <a:pt x="784" y="192"/>
                  </a:lnTo>
                  <a:lnTo>
                    <a:pt x="677" y="208"/>
                  </a:lnTo>
                  <a:lnTo>
                    <a:pt x="573" y="226"/>
                  </a:lnTo>
                  <a:lnTo>
                    <a:pt x="472" y="248"/>
                  </a:lnTo>
                  <a:lnTo>
                    <a:pt x="460" y="252"/>
                  </a:lnTo>
                  <a:lnTo>
                    <a:pt x="451" y="259"/>
                  </a:lnTo>
                  <a:lnTo>
                    <a:pt x="445" y="266"/>
                  </a:lnTo>
                  <a:lnTo>
                    <a:pt x="441" y="274"/>
                  </a:lnTo>
                  <a:lnTo>
                    <a:pt x="438" y="281"/>
                  </a:lnTo>
                  <a:lnTo>
                    <a:pt x="437" y="286"/>
                  </a:lnTo>
                  <a:lnTo>
                    <a:pt x="437" y="288"/>
                  </a:lnTo>
                  <a:lnTo>
                    <a:pt x="406" y="1111"/>
                  </a:lnTo>
                  <a:lnTo>
                    <a:pt x="407" y="1126"/>
                  </a:lnTo>
                  <a:lnTo>
                    <a:pt x="408" y="1140"/>
                  </a:lnTo>
                  <a:lnTo>
                    <a:pt x="412" y="1154"/>
                  </a:lnTo>
                  <a:lnTo>
                    <a:pt x="417" y="1167"/>
                  </a:lnTo>
                  <a:lnTo>
                    <a:pt x="425" y="1179"/>
                  </a:lnTo>
                  <a:lnTo>
                    <a:pt x="434" y="1192"/>
                  </a:lnTo>
                  <a:lnTo>
                    <a:pt x="447" y="1204"/>
                  </a:lnTo>
                  <a:lnTo>
                    <a:pt x="462" y="1215"/>
                  </a:lnTo>
                  <a:lnTo>
                    <a:pt x="479" y="1225"/>
                  </a:lnTo>
                  <a:lnTo>
                    <a:pt x="501" y="1235"/>
                  </a:lnTo>
                  <a:lnTo>
                    <a:pt x="526" y="1244"/>
                  </a:lnTo>
                  <a:lnTo>
                    <a:pt x="553" y="1252"/>
                  </a:lnTo>
                  <a:lnTo>
                    <a:pt x="585" y="1261"/>
                  </a:lnTo>
                  <a:lnTo>
                    <a:pt x="621" y="1268"/>
                  </a:lnTo>
                  <a:lnTo>
                    <a:pt x="661" y="1275"/>
                  </a:lnTo>
                  <a:lnTo>
                    <a:pt x="705" y="1282"/>
                  </a:lnTo>
                  <a:lnTo>
                    <a:pt x="754" y="1288"/>
                  </a:lnTo>
                  <a:lnTo>
                    <a:pt x="808" y="1293"/>
                  </a:lnTo>
                  <a:lnTo>
                    <a:pt x="867" y="1298"/>
                  </a:lnTo>
                  <a:lnTo>
                    <a:pt x="930" y="1303"/>
                  </a:lnTo>
                  <a:lnTo>
                    <a:pt x="1000" y="1308"/>
                  </a:lnTo>
                  <a:lnTo>
                    <a:pt x="1075" y="1311"/>
                  </a:lnTo>
                  <a:lnTo>
                    <a:pt x="1155" y="1314"/>
                  </a:lnTo>
                  <a:lnTo>
                    <a:pt x="1242" y="1317"/>
                  </a:lnTo>
                  <a:lnTo>
                    <a:pt x="1336" y="1319"/>
                  </a:lnTo>
                  <a:lnTo>
                    <a:pt x="1435" y="1320"/>
                  </a:lnTo>
                  <a:lnTo>
                    <a:pt x="1541" y="1321"/>
                  </a:lnTo>
                  <a:lnTo>
                    <a:pt x="1654" y="1322"/>
                  </a:lnTo>
                  <a:lnTo>
                    <a:pt x="1768" y="1321"/>
                  </a:lnTo>
                  <a:lnTo>
                    <a:pt x="1874" y="1320"/>
                  </a:lnTo>
                  <a:lnTo>
                    <a:pt x="1973" y="1319"/>
                  </a:lnTo>
                  <a:lnTo>
                    <a:pt x="2067" y="1317"/>
                  </a:lnTo>
                  <a:lnTo>
                    <a:pt x="2153" y="1314"/>
                  </a:lnTo>
                  <a:lnTo>
                    <a:pt x="2234" y="1311"/>
                  </a:lnTo>
                  <a:lnTo>
                    <a:pt x="2309" y="1308"/>
                  </a:lnTo>
                  <a:lnTo>
                    <a:pt x="2378" y="1303"/>
                  </a:lnTo>
                  <a:lnTo>
                    <a:pt x="2442" y="1298"/>
                  </a:lnTo>
                  <a:lnTo>
                    <a:pt x="2501" y="1293"/>
                  </a:lnTo>
                  <a:lnTo>
                    <a:pt x="2555" y="1288"/>
                  </a:lnTo>
                  <a:lnTo>
                    <a:pt x="2603" y="1282"/>
                  </a:lnTo>
                  <a:lnTo>
                    <a:pt x="2648" y="1275"/>
                  </a:lnTo>
                  <a:lnTo>
                    <a:pt x="2688" y="1268"/>
                  </a:lnTo>
                  <a:lnTo>
                    <a:pt x="2724" y="1261"/>
                  </a:lnTo>
                  <a:lnTo>
                    <a:pt x="2755" y="1252"/>
                  </a:lnTo>
                  <a:lnTo>
                    <a:pt x="2783" y="1244"/>
                  </a:lnTo>
                  <a:lnTo>
                    <a:pt x="2808" y="1235"/>
                  </a:lnTo>
                  <a:lnTo>
                    <a:pt x="2828" y="1225"/>
                  </a:lnTo>
                  <a:lnTo>
                    <a:pt x="2847" y="1215"/>
                  </a:lnTo>
                  <a:lnTo>
                    <a:pt x="2862" y="1204"/>
                  </a:lnTo>
                  <a:lnTo>
                    <a:pt x="2875" y="1192"/>
                  </a:lnTo>
                  <a:lnTo>
                    <a:pt x="2884" y="1179"/>
                  </a:lnTo>
                  <a:lnTo>
                    <a:pt x="2892" y="1167"/>
                  </a:lnTo>
                  <a:lnTo>
                    <a:pt x="2897" y="1154"/>
                  </a:lnTo>
                  <a:lnTo>
                    <a:pt x="2901" y="1140"/>
                  </a:lnTo>
                  <a:lnTo>
                    <a:pt x="2903" y="1126"/>
                  </a:lnTo>
                  <a:lnTo>
                    <a:pt x="2903" y="1111"/>
                  </a:lnTo>
                  <a:lnTo>
                    <a:pt x="2872" y="288"/>
                  </a:lnTo>
                  <a:lnTo>
                    <a:pt x="2872" y="286"/>
                  </a:lnTo>
                  <a:lnTo>
                    <a:pt x="2871" y="281"/>
                  </a:lnTo>
                  <a:lnTo>
                    <a:pt x="2868" y="274"/>
                  </a:lnTo>
                  <a:lnTo>
                    <a:pt x="2864" y="266"/>
                  </a:lnTo>
                  <a:lnTo>
                    <a:pt x="2858" y="259"/>
                  </a:lnTo>
                  <a:lnTo>
                    <a:pt x="2849" y="252"/>
                  </a:lnTo>
                  <a:lnTo>
                    <a:pt x="2837" y="248"/>
                  </a:lnTo>
                  <a:lnTo>
                    <a:pt x="2736" y="226"/>
                  </a:lnTo>
                  <a:lnTo>
                    <a:pt x="2632" y="208"/>
                  </a:lnTo>
                  <a:lnTo>
                    <a:pt x="2525" y="192"/>
                  </a:lnTo>
                  <a:lnTo>
                    <a:pt x="2417" y="179"/>
                  </a:lnTo>
                  <a:lnTo>
                    <a:pt x="2307" y="169"/>
                  </a:lnTo>
                  <a:lnTo>
                    <a:pt x="2196" y="161"/>
                  </a:lnTo>
                  <a:lnTo>
                    <a:pt x="2085" y="155"/>
                  </a:lnTo>
                  <a:lnTo>
                    <a:pt x="1975" y="151"/>
                  </a:lnTo>
                  <a:lnTo>
                    <a:pt x="1866" y="148"/>
                  </a:lnTo>
                  <a:lnTo>
                    <a:pt x="1759" y="146"/>
                  </a:lnTo>
                  <a:lnTo>
                    <a:pt x="1654" y="145"/>
                  </a:lnTo>
                  <a:close/>
                  <a:moveTo>
                    <a:pt x="1660" y="0"/>
                  </a:moveTo>
                  <a:lnTo>
                    <a:pt x="1668" y="0"/>
                  </a:lnTo>
                  <a:lnTo>
                    <a:pt x="1683" y="1"/>
                  </a:lnTo>
                  <a:lnTo>
                    <a:pt x="1704" y="1"/>
                  </a:lnTo>
                  <a:lnTo>
                    <a:pt x="1733" y="1"/>
                  </a:lnTo>
                  <a:lnTo>
                    <a:pt x="1767" y="2"/>
                  </a:lnTo>
                  <a:lnTo>
                    <a:pt x="1806" y="3"/>
                  </a:lnTo>
                  <a:lnTo>
                    <a:pt x="1852" y="4"/>
                  </a:lnTo>
                  <a:lnTo>
                    <a:pt x="1900" y="6"/>
                  </a:lnTo>
                  <a:lnTo>
                    <a:pt x="1954" y="7"/>
                  </a:lnTo>
                  <a:lnTo>
                    <a:pt x="2010" y="10"/>
                  </a:lnTo>
                  <a:lnTo>
                    <a:pt x="2070" y="12"/>
                  </a:lnTo>
                  <a:lnTo>
                    <a:pt x="2131" y="15"/>
                  </a:lnTo>
                  <a:lnTo>
                    <a:pt x="2196" y="18"/>
                  </a:lnTo>
                  <a:lnTo>
                    <a:pt x="2261" y="22"/>
                  </a:lnTo>
                  <a:lnTo>
                    <a:pt x="2328" y="26"/>
                  </a:lnTo>
                  <a:lnTo>
                    <a:pt x="2396" y="31"/>
                  </a:lnTo>
                  <a:lnTo>
                    <a:pt x="2462" y="37"/>
                  </a:lnTo>
                  <a:lnTo>
                    <a:pt x="2530" y="42"/>
                  </a:lnTo>
                  <a:lnTo>
                    <a:pt x="2595" y="49"/>
                  </a:lnTo>
                  <a:lnTo>
                    <a:pt x="2661" y="56"/>
                  </a:lnTo>
                  <a:lnTo>
                    <a:pt x="2724" y="65"/>
                  </a:lnTo>
                  <a:lnTo>
                    <a:pt x="2784" y="73"/>
                  </a:lnTo>
                  <a:lnTo>
                    <a:pt x="2842" y="82"/>
                  </a:lnTo>
                  <a:lnTo>
                    <a:pt x="2896" y="92"/>
                  </a:lnTo>
                  <a:lnTo>
                    <a:pt x="2947" y="103"/>
                  </a:lnTo>
                  <a:lnTo>
                    <a:pt x="2993" y="114"/>
                  </a:lnTo>
                  <a:lnTo>
                    <a:pt x="3007" y="120"/>
                  </a:lnTo>
                  <a:lnTo>
                    <a:pt x="3018" y="128"/>
                  </a:lnTo>
                  <a:lnTo>
                    <a:pt x="3027" y="137"/>
                  </a:lnTo>
                  <a:lnTo>
                    <a:pt x="3033" y="147"/>
                  </a:lnTo>
                  <a:lnTo>
                    <a:pt x="3037" y="156"/>
                  </a:lnTo>
                  <a:lnTo>
                    <a:pt x="3040" y="164"/>
                  </a:lnTo>
                  <a:lnTo>
                    <a:pt x="3041" y="170"/>
                  </a:lnTo>
                  <a:lnTo>
                    <a:pt x="3042" y="172"/>
                  </a:lnTo>
                  <a:lnTo>
                    <a:pt x="3208" y="1309"/>
                  </a:lnTo>
                  <a:lnTo>
                    <a:pt x="3220" y="1339"/>
                  </a:lnTo>
                  <a:lnTo>
                    <a:pt x="3231" y="1370"/>
                  </a:lnTo>
                  <a:lnTo>
                    <a:pt x="3241" y="1404"/>
                  </a:lnTo>
                  <a:lnTo>
                    <a:pt x="3250" y="1441"/>
                  </a:lnTo>
                  <a:lnTo>
                    <a:pt x="3266" y="1506"/>
                  </a:lnTo>
                  <a:lnTo>
                    <a:pt x="3280" y="1575"/>
                  </a:lnTo>
                  <a:lnTo>
                    <a:pt x="3292" y="1648"/>
                  </a:lnTo>
                  <a:lnTo>
                    <a:pt x="3302" y="1725"/>
                  </a:lnTo>
                  <a:lnTo>
                    <a:pt x="3310" y="1805"/>
                  </a:lnTo>
                  <a:lnTo>
                    <a:pt x="3316" y="1887"/>
                  </a:lnTo>
                  <a:lnTo>
                    <a:pt x="3320" y="1973"/>
                  </a:lnTo>
                  <a:lnTo>
                    <a:pt x="3321" y="2061"/>
                  </a:lnTo>
                  <a:lnTo>
                    <a:pt x="3319" y="2152"/>
                  </a:lnTo>
                  <a:lnTo>
                    <a:pt x="3315" y="2242"/>
                  </a:lnTo>
                  <a:lnTo>
                    <a:pt x="3309" y="2329"/>
                  </a:lnTo>
                  <a:lnTo>
                    <a:pt x="3300" y="2412"/>
                  </a:lnTo>
                  <a:lnTo>
                    <a:pt x="3289" y="2492"/>
                  </a:lnTo>
                  <a:lnTo>
                    <a:pt x="3276" y="2568"/>
                  </a:lnTo>
                  <a:lnTo>
                    <a:pt x="3270" y="2625"/>
                  </a:lnTo>
                  <a:lnTo>
                    <a:pt x="3264" y="2676"/>
                  </a:lnTo>
                  <a:lnTo>
                    <a:pt x="3264" y="3026"/>
                  </a:lnTo>
                  <a:lnTo>
                    <a:pt x="3262" y="3057"/>
                  </a:lnTo>
                  <a:lnTo>
                    <a:pt x="3254" y="3085"/>
                  </a:lnTo>
                  <a:lnTo>
                    <a:pt x="3242" y="3110"/>
                  </a:lnTo>
                  <a:lnTo>
                    <a:pt x="3225" y="3133"/>
                  </a:lnTo>
                  <a:lnTo>
                    <a:pt x="3206" y="3153"/>
                  </a:lnTo>
                  <a:lnTo>
                    <a:pt x="3182" y="3170"/>
                  </a:lnTo>
                  <a:lnTo>
                    <a:pt x="3156" y="3183"/>
                  </a:lnTo>
                  <a:lnTo>
                    <a:pt x="3128" y="3191"/>
                  </a:lnTo>
                  <a:lnTo>
                    <a:pt x="3098" y="3193"/>
                  </a:lnTo>
                  <a:lnTo>
                    <a:pt x="2961" y="3193"/>
                  </a:lnTo>
                  <a:lnTo>
                    <a:pt x="2930" y="3191"/>
                  </a:lnTo>
                  <a:lnTo>
                    <a:pt x="2902" y="3183"/>
                  </a:lnTo>
                  <a:lnTo>
                    <a:pt x="2876" y="3170"/>
                  </a:lnTo>
                  <a:lnTo>
                    <a:pt x="2853" y="3153"/>
                  </a:lnTo>
                  <a:lnTo>
                    <a:pt x="2833" y="3133"/>
                  </a:lnTo>
                  <a:lnTo>
                    <a:pt x="2816" y="3110"/>
                  </a:lnTo>
                  <a:lnTo>
                    <a:pt x="2804" y="3085"/>
                  </a:lnTo>
                  <a:lnTo>
                    <a:pt x="2796" y="3057"/>
                  </a:lnTo>
                  <a:lnTo>
                    <a:pt x="2793" y="3026"/>
                  </a:lnTo>
                  <a:lnTo>
                    <a:pt x="2793" y="2858"/>
                  </a:lnTo>
                  <a:lnTo>
                    <a:pt x="2678" y="2866"/>
                  </a:lnTo>
                  <a:lnTo>
                    <a:pt x="2557" y="2872"/>
                  </a:lnTo>
                  <a:lnTo>
                    <a:pt x="2431" y="2877"/>
                  </a:lnTo>
                  <a:lnTo>
                    <a:pt x="2302" y="2881"/>
                  </a:lnTo>
                  <a:lnTo>
                    <a:pt x="2170" y="2884"/>
                  </a:lnTo>
                  <a:lnTo>
                    <a:pt x="2034" y="2886"/>
                  </a:lnTo>
                  <a:lnTo>
                    <a:pt x="1898" y="2888"/>
                  </a:lnTo>
                  <a:lnTo>
                    <a:pt x="1760" y="2889"/>
                  </a:lnTo>
                  <a:lnTo>
                    <a:pt x="1561" y="2889"/>
                  </a:lnTo>
                  <a:lnTo>
                    <a:pt x="1423" y="2888"/>
                  </a:lnTo>
                  <a:lnTo>
                    <a:pt x="1286" y="2886"/>
                  </a:lnTo>
                  <a:lnTo>
                    <a:pt x="1151" y="2884"/>
                  </a:lnTo>
                  <a:lnTo>
                    <a:pt x="1018" y="2881"/>
                  </a:lnTo>
                  <a:lnTo>
                    <a:pt x="889" y="2877"/>
                  </a:lnTo>
                  <a:lnTo>
                    <a:pt x="764" y="2872"/>
                  </a:lnTo>
                  <a:lnTo>
                    <a:pt x="643" y="2866"/>
                  </a:lnTo>
                  <a:lnTo>
                    <a:pt x="527" y="2858"/>
                  </a:lnTo>
                  <a:lnTo>
                    <a:pt x="527" y="3026"/>
                  </a:lnTo>
                  <a:lnTo>
                    <a:pt x="525" y="3057"/>
                  </a:lnTo>
                  <a:lnTo>
                    <a:pt x="517" y="3085"/>
                  </a:lnTo>
                  <a:lnTo>
                    <a:pt x="505" y="3110"/>
                  </a:lnTo>
                  <a:lnTo>
                    <a:pt x="488" y="3133"/>
                  </a:lnTo>
                  <a:lnTo>
                    <a:pt x="468" y="3153"/>
                  </a:lnTo>
                  <a:lnTo>
                    <a:pt x="444" y="3170"/>
                  </a:lnTo>
                  <a:lnTo>
                    <a:pt x="419" y="3183"/>
                  </a:lnTo>
                  <a:lnTo>
                    <a:pt x="391" y="3191"/>
                  </a:lnTo>
                  <a:lnTo>
                    <a:pt x="360" y="3193"/>
                  </a:lnTo>
                  <a:lnTo>
                    <a:pt x="223" y="3193"/>
                  </a:lnTo>
                  <a:lnTo>
                    <a:pt x="193" y="3191"/>
                  </a:lnTo>
                  <a:lnTo>
                    <a:pt x="164" y="3183"/>
                  </a:lnTo>
                  <a:lnTo>
                    <a:pt x="138" y="3170"/>
                  </a:lnTo>
                  <a:lnTo>
                    <a:pt x="115" y="3153"/>
                  </a:lnTo>
                  <a:lnTo>
                    <a:pt x="95" y="3133"/>
                  </a:lnTo>
                  <a:lnTo>
                    <a:pt x="79" y="3110"/>
                  </a:lnTo>
                  <a:lnTo>
                    <a:pt x="67" y="3085"/>
                  </a:lnTo>
                  <a:lnTo>
                    <a:pt x="59" y="3057"/>
                  </a:lnTo>
                  <a:lnTo>
                    <a:pt x="56" y="3026"/>
                  </a:lnTo>
                  <a:lnTo>
                    <a:pt x="56" y="2676"/>
                  </a:lnTo>
                  <a:lnTo>
                    <a:pt x="50" y="2625"/>
                  </a:lnTo>
                  <a:lnTo>
                    <a:pt x="44" y="2568"/>
                  </a:lnTo>
                  <a:lnTo>
                    <a:pt x="31" y="2492"/>
                  </a:lnTo>
                  <a:lnTo>
                    <a:pt x="20" y="2412"/>
                  </a:lnTo>
                  <a:lnTo>
                    <a:pt x="12" y="2329"/>
                  </a:lnTo>
                  <a:lnTo>
                    <a:pt x="5" y="2242"/>
                  </a:lnTo>
                  <a:lnTo>
                    <a:pt x="1" y="2152"/>
                  </a:lnTo>
                  <a:lnTo>
                    <a:pt x="0" y="2061"/>
                  </a:lnTo>
                  <a:lnTo>
                    <a:pt x="1" y="1973"/>
                  </a:lnTo>
                  <a:lnTo>
                    <a:pt x="5" y="1887"/>
                  </a:lnTo>
                  <a:lnTo>
                    <a:pt x="11" y="1805"/>
                  </a:lnTo>
                  <a:lnTo>
                    <a:pt x="18" y="1725"/>
                  </a:lnTo>
                  <a:lnTo>
                    <a:pt x="28" y="1648"/>
                  </a:lnTo>
                  <a:lnTo>
                    <a:pt x="40" y="1575"/>
                  </a:lnTo>
                  <a:lnTo>
                    <a:pt x="54" y="1506"/>
                  </a:lnTo>
                  <a:lnTo>
                    <a:pt x="70" y="1441"/>
                  </a:lnTo>
                  <a:lnTo>
                    <a:pt x="80" y="1404"/>
                  </a:lnTo>
                  <a:lnTo>
                    <a:pt x="90" y="1370"/>
                  </a:lnTo>
                  <a:lnTo>
                    <a:pt x="101" y="1339"/>
                  </a:lnTo>
                  <a:lnTo>
                    <a:pt x="113" y="1309"/>
                  </a:lnTo>
                  <a:lnTo>
                    <a:pt x="279" y="172"/>
                  </a:lnTo>
                  <a:lnTo>
                    <a:pt x="279" y="170"/>
                  </a:lnTo>
                  <a:lnTo>
                    <a:pt x="281" y="164"/>
                  </a:lnTo>
                  <a:lnTo>
                    <a:pt x="283" y="156"/>
                  </a:lnTo>
                  <a:lnTo>
                    <a:pt x="288" y="147"/>
                  </a:lnTo>
                  <a:lnTo>
                    <a:pt x="294" y="137"/>
                  </a:lnTo>
                  <a:lnTo>
                    <a:pt x="302" y="128"/>
                  </a:lnTo>
                  <a:lnTo>
                    <a:pt x="314" y="120"/>
                  </a:lnTo>
                  <a:lnTo>
                    <a:pt x="328" y="114"/>
                  </a:lnTo>
                  <a:lnTo>
                    <a:pt x="374" y="103"/>
                  </a:lnTo>
                  <a:lnTo>
                    <a:pt x="425" y="92"/>
                  </a:lnTo>
                  <a:lnTo>
                    <a:pt x="479" y="82"/>
                  </a:lnTo>
                  <a:lnTo>
                    <a:pt x="537" y="73"/>
                  </a:lnTo>
                  <a:lnTo>
                    <a:pt x="597" y="65"/>
                  </a:lnTo>
                  <a:lnTo>
                    <a:pt x="660" y="56"/>
                  </a:lnTo>
                  <a:lnTo>
                    <a:pt x="725" y="49"/>
                  </a:lnTo>
                  <a:lnTo>
                    <a:pt x="791" y="42"/>
                  </a:lnTo>
                  <a:lnTo>
                    <a:pt x="858" y="37"/>
                  </a:lnTo>
                  <a:lnTo>
                    <a:pt x="925" y="31"/>
                  </a:lnTo>
                  <a:lnTo>
                    <a:pt x="993" y="26"/>
                  </a:lnTo>
                  <a:lnTo>
                    <a:pt x="1060" y="22"/>
                  </a:lnTo>
                  <a:lnTo>
                    <a:pt x="1125" y="18"/>
                  </a:lnTo>
                  <a:lnTo>
                    <a:pt x="1189" y="15"/>
                  </a:lnTo>
                  <a:lnTo>
                    <a:pt x="1251" y="12"/>
                  </a:lnTo>
                  <a:lnTo>
                    <a:pt x="1311" y="10"/>
                  </a:lnTo>
                  <a:lnTo>
                    <a:pt x="1367" y="7"/>
                  </a:lnTo>
                  <a:lnTo>
                    <a:pt x="1421" y="6"/>
                  </a:lnTo>
                  <a:lnTo>
                    <a:pt x="1469" y="4"/>
                  </a:lnTo>
                  <a:lnTo>
                    <a:pt x="1514" y="3"/>
                  </a:lnTo>
                  <a:lnTo>
                    <a:pt x="1554" y="2"/>
                  </a:lnTo>
                  <a:lnTo>
                    <a:pt x="1587" y="1"/>
                  </a:lnTo>
                  <a:lnTo>
                    <a:pt x="1616" y="1"/>
                  </a:lnTo>
                  <a:lnTo>
                    <a:pt x="1638" y="1"/>
                  </a:lnTo>
                  <a:lnTo>
                    <a:pt x="1653" y="0"/>
                  </a:lnTo>
                  <a:lnTo>
                    <a:pt x="1660" y="0"/>
                  </a:lnTo>
                  <a:close/>
                </a:path>
              </a:pathLst>
            </a:custGeom>
            <a:solidFill>
              <a:schemeClr val="accent2">
                <a:lumMod val="75000"/>
              </a:schemeClr>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9" name="Freeform 329"/>
            <p:cNvSpPr>
              <a:spLocks noChangeArrowheads="1"/>
            </p:cNvSpPr>
            <p:nvPr/>
          </p:nvSpPr>
          <p:spPr bwMode="auto">
            <a:xfrm>
              <a:off x="3850160" y="1855573"/>
              <a:ext cx="429740" cy="392327"/>
            </a:xfrm>
            <a:custGeom>
              <a:avLst/>
              <a:gdLst>
                <a:gd name="T0" fmla="*/ 2147483647 w 3321"/>
                <a:gd name="T1" fmla="*/ 2147483647 h 3193"/>
                <a:gd name="T2" fmla="*/ 2147483647 w 3321"/>
                <a:gd name="T3" fmla="*/ 2147483647 h 3193"/>
                <a:gd name="T4" fmla="*/ 2147483647 w 3321"/>
                <a:gd name="T5" fmla="*/ 2147483647 h 3193"/>
                <a:gd name="T6" fmla="*/ 2147483647 w 3321"/>
                <a:gd name="T7" fmla="*/ 2147483647 h 3193"/>
                <a:gd name="T8" fmla="*/ 2147483647 w 3321"/>
                <a:gd name="T9" fmla="*/ 2147483647 h 3193"/>
                <a:gd name="T10" fmla="*/ 2147483647 w 3321"/>
                <a:gd name="T11" fmla="*/ 2147483647 h 3193"/>
                <a:gd name="T12" fmla="*/ 2147483647 w 3321"/>
                <a:gd name="T13" fmla="*/ 2147483647 h 3193"/>
                <a:gd name="T14" fmla="*/ 2147483647 w 3321"/>
                <a:gd name="T15" fmla="*/ 2147483647 h 3193"/>
                <a:gd name="T16" fmla="*/ 2147483647 w 3321"/>
                <a:gd name="T17" fmla="*/ 2147483647 h 3193"/>
                <a:gd name="T18" fmla="*/ 2147483647 w 3321"/>
                <a:gd name="T19" fmla="*/ 2147483647 h 3193"/>
                <a:gd name="T20" fmla="*/ 2147483647 w 3321"/>
                <a:gd name="T21" fmla="*/ 2147483647 h 3193"/>
                <a:gd name="T22" fmla="*/ 2147483647 w 3321"/>
                <a:gd name="T23" fmla="*/ 2147483647 h 3193"/>
                <a:gd name="T24" fmla="*/ 2147483647 w 3321"/>
                <a:gd name="T25" fmla="*/ 2147483647 h 3193"/>
                <a:gd name="T26" fmla="*/ 2147483647 w 3321"/>
                <a:gd name="T27" fmla="*/ 2147483647 h 3193"/>
                <a:gd name="T28" fmla="*/ 2147483647 w 3321"/>
                <a:gd name="T29" fmla="*/ 2147483647 h 3193"/>
                <a:gd name="T30" fmla="*/ 2147483647 w 3321"/>
                <a:gd name="T31" fmla="*/ 2147483647 h 3193"/>
                <a:gd name="T32" fmla="*/ 2147483647 w 3321"/>
                <a:gd name="T33" fmla="*/ 2147483647 h 3193"/>
                <a:gd name="T34" fmla="*/ 2147483647 w 3321"/>
                <a:gd name="T35" fmla="*/ 2147483647 h 3193"/>
                <a:gd name="T36" fmla="*/ 2147483647 w 3321"/>
                <a:gd name="T37" fmla="*/ 2147483647 h 3193"/>
                <a:gd name="T38" fmla="*/ 2147483647 w 3321"/>
                <a:gd name="T39" fmla="*/ 2147483647 h 3193"/>
                <a:gd name="T40" fmla="*/ 2147483647 w 3321"/>
                <a:gd name="T41" fmla="*/ 2147483647 h 3193"/>
                <a:gd name="T42" fmla="*/ 2147483647 w 3321"/>
                <a:gd name="T43" fmla="*/ 2147483647 h 3193"/>
                <a:gd name="T44" fmla="*/ 2147483647 w 3321"/>
                <a:gd name="T45" fmla="*/ 2147483647 h 3193"/>
                <a:gd name="T46" fmla="*/ 2147483647 w 3321"/>
                <a:gd name="T47" fmla="*/ 2147483647 h 3193"/>
                <a:gd name="T48" fmla="*/ 2147483647 w 3321"/>
                <a:gd name="T49" fmla="*/ 2147483647 h 3193"/>
                <a:gd name="T50" fmla="*/ 2147483647 w 3321"/>
                <a:gd name="T51" fmla="*/ 2147483647 h 3193"/>
                <a:gd name="T52" fmla="*/ 2147483647 w 3321"/>
                <a:gd name="T53" fmla="*/ 2147483647 h 3193"/>
                <a:gd name="T54" fmla="*/ 2147483647 w 3321"/>
                <a:gd name="T55" fmla="*/ 2147483647 h 3193"/>
                <a:gd name="T56" fmla="*/ 2147483647 w 3321"/>
                <a:gd name="T57" fmla="*/ 2147483647 h 3193"/>
                <a:gd name="T58" fmla="*/ 2147483647 w 3321"/>
                <a:gd name="T59" fmla="*/ 2147483647 h 3193"/>
                <a:gd name="T60" fmla="*/ 2147483647 w 3321"/>
                <a:gd name="T61" fmla="*/ 2147483647 h 3193"/>
                <a:gd name="T62" fmla="*/ 2147483647 w 3321"/>
                <a:gd name="T63" fmla="*/ 2147483647 h 3193"/>
                <a:gd name="T64" fmla="*/ 2147483647 w 3321"/>
                <a:gd name="T65" fmla="*/ 2147483647 h 3193"/>
                <a:gd name="T66" fmla="*/ 2147483647 w 3321"/>
                <a:gd name="T67" fmla="*/ 2147483647 h 3193"/>
                <a:gd name="T68" fmla="*/ 2147483647 w 3321"/>
                <a:gd name="T69" fmla="*/ 2147483647 h 3193"/>
                <a:gd name="T70" fmla="*/ 2147483647 w 3321"/>
                <a:gd name="T71" fmla="*/ 2147483647 h 3193"/>
                <a:gd name="T72" fmla="*/ 2147483647 w 3321"/>
                <a:gd name="T73" fmla="*/ 2147483647 h 3193"/>
                <a:gd name="T74" fmla="*/ 2147483647 w 3321"/>
                <a:gd name="T75" fmla="*/ 2147483647 h 3193"/>
                <a:gd name="T76" fmla="*/ 2147483647 w 3321"/>
                <a:gd name="T77" fmla="*/ 2147483647 h 3193"/>
                <a:gd name="T78" fmla="*/ 2147483647 w 3321"/>
                <a:gd name="T79" fmla="*/ 2147483647 h 3193"/>
                <a:gd name="T80" fmla="*/ 2147483647 w 3321"/>
                <a:gd name="T81" fmla="*/ 2147483647 h 3193"/>
                <a:gd name="T82" fmla="*/ 2147483647 w 3321"/>
                <a:gd name="T83" fmla="*/ 2147483647 h 3193"/>
                <a:gd name="T84" fmla="*/ 2147483647 w 3321"/>
                <a:gd name="T85" fmla="*/ 2147483647 h 3193"/>
                <a:gd name="T86" fmla="*/ 2147483647 w 3321"/>
                <a:gd name="T87" fmla="*/ 2147483647 h 3193"/>
                <a:gd name="T88" fmla="*/ 2147483647 w 3321"/>
                <a:gd name="T89" fmla="*/ 2147483647 h 3193"/>
                <a:gd name="T90" fmla="*/ 2147483647 w 3321"/>
                <a:gd name="T91" fmla="*/ 2147483647 h 3193"/>
                <a:gd name="T92" fmla="*/ 2147483647 w 3321"/>
                <a:gd name="T93" fmla="*/ 2147483647 h 3193"/>
                <a:gd name="T94" fmla="*/ 2147483647 w 3321"/>
                <a:gd name="T95" fmla="*/ 2147483647 h 3193"/>
                <a:gd name="T96" fmla="*/ 2147483647 w 3321"/>
                <a:gd name="T97" fmla="*/ 2147483647 h 3193"/>
                <a:gd name="T98" fmla="*/ 2147483647 w 3321"/>
                <a:gd name="T99" fmla="*/ 2147483647 h 3193"/>
                <a:gd name="T100" fmla="*/ 2147483647 w 3321"/>
                <a:gd name="T101" fmla="*/ 2147483647 h 3193"/>
                <a:gd name="T102" fmla="*/ 0 w 3321"/>
                <a:gd name="T103" fmla="*/ 2147483647 h 3193"/>
                <a:gd name="T104" fmla="*/ 2147483647 w 3321"/>
                <a:gd name="T105" fmla="*/ 2147483647 h 3193"/>
                <a:gd name="T106" fmla="*/ 2147483647 w 3321"/>
                <a:gd name="T107" fmla="*/ 2147483647 h 3193"/>
                <a:gd name="T108" fmla="*/ 2147483647 w 3321"/>
                <a:gd name="T109" fmla="*/ 2147483647 h 3193"/>
                <a:gd name="T110" fmla="*/ 2147483647 w 3321"/>
                <a:gd name="T111" fmla="*/ 2147483647 h 3193"/>
                <a:gd name="T112" fmla="*/ 2147483647 w 3321"/>
                <a:gd name="T113" fmla="*/ 2147483647 h 3193"/>
                <a:gd name="T114" fmla="*/ 2147483647 w 3321"/>
                <a:gd name="T115" fmla="*/ 2147483647 h 3193"/>
                <a:gd name="T116" fmla="*/ 2147483647 w 3321"/>
                <a:gd name="T117" fmla="*/ 2147483647 h 31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21"/>
                <a:gd name="T178" fmla="*/ 0 h 3193"/>
                <a:gd name="T179" fmla="*/ 3321 w 3321"/>
                <a:gd name="T180" fmla="*/ 3193 h 31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21" h="3193">
                  <a:moveTo>
                    <a:pt x="2894" y="1571"/>
                  </a:moveTo>
                  <a:lnTo>
                    <a:pt x="2854" y="1573"/>
                  </a:lnTo>
                  <a:lnTo>
                    <a:pt x="2812" y="1580"/>
                  </a:lnTo>
                  <a:lnTo>
                    <a:pt x="2768" y="1591"/>
                  </a:lnTo>
                  <a:lnTo>
                    <a:pt x="2726" y="1606"/>
                  </a:lnTo>
                  <a:lnTo>
                    <a:pt x="2685" y="1624"/>
                  </a:lnTo>
                  <a:lnTo>
                    <a:pt x="2649" y="1645"/>
                  </a:lnTo>
                  <a:lnTo>
                    <a:pt x="2616" y="1668"/>
                  </a:lnTo>
                  <a:lnTo>
                    <a:pt x="2587" y="1695"/>
                  </a:lnTo>
                  <a:lnTo>
                    <a:pt x="2562" y="1722"/>
                  </a:lnTo>
                  <a:lnTo>
                    <a:pt x="2543" y="1751"/>
                  </a:lnTo>
                  <a:lnTo>
                    <a:pt x="2529" y="1781"/>
                  </a:lnTo>
                  <a:lnTo>
                    <a:pt x="2521" y="1812"/>
                  </a:lnTo>
                  <a:lnTo>
                    <a:pt x="2519" y="1842"/>
                  </a:lnTo>
                  <a:lnTo>
                    <a:pt x="2524" y="1869"/>
                  </a:lnTo>
                  <a:lnTo>
                    <a:pt x="2533" y="1893"/>
                  </a:lnTo>
                  <a:lnTo>
                    <a:pt x="2547" y="1915"/>
                  </a:lnTo>
                  <a:lnTo>
                    <a:pt x="2566" y="1936"/>
                  </a:lnTo>
                  <a:lnTo>
                    <a:pt x="2588" y="1953"/>
                  </a:lnTo>
                  <a:lnTo>
                    <a:pt x="2616" y="1967"/>
                  </a:lnTo>
                  <a:lnTo>
                    <a:pt x="2645" y="1978"/>
                  </a:lnTo>
                  <a:lnTo>
                    <a:pt x="2678" y="1986"/>
                  </a:lnTo>
                  <a:lnTo>
                    <a:pt x="2713" y="1990"/>
                  </a:lnTo>
                  <a:lnTo>
                    <a:pt x="2752" y="1991"/>
                  </a:lnTo>
                  <a:lnTo>
                    <a:pt x="2791" y="1989"/>
                  </a:lnTo>
                  <a:lnTo>
                    <a:pt x="2833" y="1982"/>
                  </a:lnTo>
                  <a:lnTo>
                    <a:pt x="2878" y="1971"/>
                  </a:lnTo>
                  <a:lnTo>
                    <a:pt x="2920" y="1956"/>
                  </a:lnTo>
                  <a:lnTo>
                    <a:pt x="2960" y="1938"/>
                  </a:lnTo>
                  <a:lnTo>
                    <a:pt x="2997" y="1916"/>
                  </a:lnTo>
                  <a:lnTo>
                    <a:pt x="3029" y="1893"/>
                  </a:lnTo>
                  <a:lnTo>
                    <a:pt x="3059" y="1867"/>
                  </a:lnTo>
                  <a:lnTo>
                    <a:pt x="3083" y="1839"/>
                  </a:lnTo>
                  <a:lnTo>
                    <a:pt x="3103" y="1811"/>
                  </a:lnTo>
                  <a:lnTo>
                    <a:pt x="3116" y="1780"/>
                  </a:lnTo>
                  <a:lnTo>
                    <a:pt x="3124" y="1750"/>
                  </a:lnTo>
                  <a:lnTo>
                    <a:pt x="3126" y="1720"/>
                  </a:lnTo>
                  <a:lnTo>
                    <a:pt x="3122" y="1693"/>
                  </a:lnTo>
                  <a:lnTo>
                    <a:pt x="3113" y="1668"/>
                  </a:lnTo>
                  <a:lnTo>
                    <a:pt x="3099" y="1646"/>
                  </a:lnTo>
                  <a:lnTo>
                    <a:pt x="3080" y="1626"/>
                  </a:lnTo>
                  <a:lnTo>
                    <a:pt x="3057" y="1609"/>
                  </a:lnTo>
                  <a:lnTo>
                    <a:pt x="3030" y="1595"/>
                  </a:lnTo>
                  <a:lnTo>
                    <a:pt x="3000" y="1584"/>
                  </a:lnTo>
                  <a:lnTo>
                    <a:pt x="2968" y="1576"/>
                  </a:lnTo>
                  <a:lnTo>
                    <a:pt x="2931" y="1572"/>
                  </a:lnTo>
                  <a:lnTo>
                    <a:pt x="2894" y="1571"/>
                  </a:lnTo>
                  <a:close/>
                  <a:moveTo>
                    <a:pt x="415" y="1571"/>
                  </a:moveTo>
                  <a:lnTo>
                    <a:pt x="377" y="1572"/>
                  </a:lnTo>
                  <a:lnTo>
                    <a:pt x="341" y="1576"/>
                  </a:lnTo>
                  <a:lnTo>
                    <a:pt x="309" y="1584"/>
                  </a:lnTo>
                  <a:lnTo>
                    <a:pt x="279" y="1595"/>
                  </a:lnTo>
                  <a:lnTo>
                    <a:pt x="252" y="1609"/>
                  </a:lnTo>
                  <a:lnTo>
                    <a:pt x="229" y="1626"/>
                  </a:lnTo>
                  <a:lnTo>
                    <a:pt x="210" y="1646"/>
                  </a:lnTo>
                  <a:lnTo>
                    <a:pt x="196" y="1668"/>
                  </a:lnTo>
                  <a:lnTo>
                    <a:pt x="187" y="1693"/>
                  </a:lnTo>
                  <a:lnTo>
                    <a:pt x="183" y="1720"/>
                  </a:lnTo>
                  <a:lnTo>
                    <a:pt x="185" y="1750"/>
                  </a:lnTo>
                  <a:lnTo>
                    <a:pt x="193" y="1780"/>
                  </a:lnTo>
                  <a:lnTo>
                    <a:pt x="207" y="1811"/>
                  </a:lnTo>
                  <a:lnTo>
                    <a:pt x="226" y="1839"/>
                  </a:lnTo>
                  <a:lnTo>
                    <a:pt x="250" y="1867"/>
                  </a:lnTo>
                  <a:lnTo>
                    <a:pt x="280" y="1893"/>
                  </a:lnTo>
                  <a:lnTo>
                    <a:pt x="312" y="1916"/>
                  </a:lnTo>
                  <a:lnTo>
                    <a:pt x="349" y="1938"/>
                  </a:lnTo>
                  <a:lnTo>
                    <a:pt x="389" y="1956"/>
                  </a:lnTo>
                  <a:lnTo>
                    <a:pt x="431" y="1971"/>
                  </a:lnTo>
                  <a:lnTo>
                    <a:pt x="476" y="1982"/>
                  </a:lnTo>
                  <a:lnTo>
                    <a:pt x="518" y="1989"/>
                  </a:lnTo>
                  <a:lnTo>
                    <a:pt x="557" y="1991"/>
                  </a:lnTo>
                  <a:lnTo>
                    <a:pt x="595" y="1990"/>
                  </a:lnTo>
                  <a:lnTo>
                    <a:pt x="631" y="1986"/>
                  </a:lnTo>
                  <a:lnTo>
                    <a:pt x="664" y="1978"/>
                  </a:lnTo>
                  <a:lnTo>
                    <a:pt x="693" y="1967"/>
                  </a:lnTo>
                  <a:lnTo>
                    <a:pt x="720" y="1953"/>
                  </a:lnTo>
                  <a:lnTo>
                    <a:pt x="743" y="1936"/>
                  </a:lnTo>
                  <a:lnTo>
                    <a:pt x="762" y="1915"/>
                  </a:lnTo>
                  <a:lnTo>
                    <a:pt x="776" y="1893"/>
                  </a:lnTo>
                  <a:lnTo>
                    <a:pt x="785" y="1869"/>
                  </a:lnTo>
                  <a:lnTo>
                    <a:pt x="789" y="1842"/>
                  </a:lnTo>
                  <a:lnTo>
                    <a:pt x="788" y="1812"/>
                  </a:lnTo>
                  <a:lnTo>
                    <a:pt x="780" y="1781"/>
                  </a:lnTo>
                  <a:lnTo>
                    <a:pt x="766" y="1751"/>
                  </a:lnTo>
                  <a:lnTo>
                    <a:pt x="746" y="1722"/>
                  </a:lnTo>
                  <a:lnTo>
                    <a:pt x="722" y="1695"/>
                  </a:lnTo>
                  <a:lnTo>
                    <a:pt x="693" y="1668"/>
                  </a:lnTo>
                  <a:lnTo>
                    <a:pt x="660" y="1645"/>
                  </a:lnTo>
                  <a:lnTo>
                    <a:pt x="623" y="1624"/>
                  </a:lnTo>
                  <a:lnTo>
                    <a:pt x="583" y="1606"/>
                  </a:lnTo>
                  <a:lnTo>
                    <a:pt x="541" y="1591"/>
                  </a:lnTo>
                  <a:lnTo>
                    <a:pt x="496" y="1580"/>
                  </a:lnTo>
                  <a:lnTo>
                    <a:pt x="455" y="1573"/>
                  </a:lnTo>
                  <a:lnTo>
                    <a:pt x="415" y="1571"/>
                  </a:lnTo>
                  <a:close/>
                  <a:moveTo>
                    <a:pt x="1654" y="145"/>
                  </a:moveTo>
                  <a:lnTo>
                    <a:pt x="1550" y="146"/>
                  </a:lnTo>
                  <a:lnTo>
                    <a:pt x="1443" y="148"/>
                  </a:lnTo>
                  <a:lnTo>
                    <a:pt x="1334" y="151"/>
                  </a:lnTo>
                  <a:lnTo>
                    <a:pt x="1223" y="155"/>
                  </a:lnTo>
                  <a:lnTo>
                    <a:pt x="1113" y="161"/>
                  </a:lnTo>
                  <a:lnTo>
                    <a:pt x="1002" y="169"/>
                  </a:lnTo>
                  <a:lnTo>
                    <a:pt x="892" y="179"/>
                  </a:lnTo>
                  <a:lnTo>
                    <a:pt x="784" y="192"/>
                  </a:lnTo>
                  <a:lnTo>
                    <a:pt x="677" y="208"/>
                  </a:lnTo>
                  <a:lnTo>
                    <a:pt x="573" y="226"/>
                  </a:lnTo>
                  <a:lnTo>
                    <a:pt x="472" y="248"/>
                  </a:lnTo>
                  <a:lnTo>
                    <a:pt x="460" y="252"/>
                  </a:lnTo>
                  <a:lnTo>
                    <a:pt x="451" y="259"/>
                  </a:lnTo>
                  <a:lnTo>
                    <a:pt x="445" y="266"/>
                  </a:lnTo>
                  <a:lnTo>
                    <a:pt x="441" y="274"/>
                  </a:lnTo>
                  <a:lnTo>
                    <a:pt x="438" y="281"/>
                  </a:lnTo>
                  <a:lnTo>
                    <a:pt x="437" y="286"/>
                  </a:lnTo>
                  <a:lnTo>
                    <a:pt x="437" y="288"/>
                  </a:lnTo>
                  <a:lnTo>
                    <a:pt x="406" y="1111"/>
                  </a:lnTo>
                  <a:lnTo>
                    <a:pt x="407" y="1126"/>
                  </a:lnTo>
                  <a:lnTo>
                    <a:pt x="408" y="1140"/>
                  </a:lnTo>
                  <a:lnTo>
                    <a:pt x="412" y="1154"/>
                  </a:lnTo>
                  <a:lnTo>
                    <a:pt x="417" y="1167"/>
                  </a:lnTo>
                  <a:lnTo>
                    <a:pt x="425" y="1179"/>
                  </a:lnTo>
                  <a:lnTo>
                    <a:pt x="434" y="1192"/>
                  </a:lnTo>
                  <a:lnTo>
                    <a:pt x="447" y="1204"/>
                  </a:lnTo>
                  <a:lnTo>
                    <a:pt x="462" y="1215"/>
                  </a:lnTo>
                  <a:lnTo>
                    <a:pt x="479" y="1225"/>
                  </a:lnTo>
                  <a:lnTo>
                    <a:pt x="501" y="1235"/>
                  </a:lnTo>
                  <a:lnTo>
                    <a:pt x="526" y="1244"/>
                  </a:lnTo>
                  <a:lnTo>
                    <a:pt x="553" y="1252"/>
                  </a:lnTo>
                  <a:lnTo>
                    <a:pt x="585" y="1261"/>
                  </a:lnTo>
                  <a:lnTo>
                    <a:pt x="621" y="1268"/>
                  </a:lnTo>
                  <a:lnTo>
                    <a:pt x="661" y="1275"/>
                  </a:lnTo>
                  <a:lnTo>
                    <a:pt x="705" y="1282"/>
                  </a:lnTo>
                  <a:lnTo>
                    <a:pt x="754" y="1288"/>
                  </a:lnTo>
                  <a:lnTo>
                    <a:pt x="808" y="1293"/>
                  </a:lnTo>
                  <a:lnTo>
                    <a:pt x="867" y="1298"/>
                  </a:lnTo>
                  <a:lnTo>
                    <a:pt x="930" y="1303"/>
                  </a:lnTo>
                  <a:lnTo>
                    <a:pt x="1000" y="1308"/>
                  </a:lnTo>
                  <a:lnTo>
                    <a:pt x="1075" y="1311"/>
                  </a:lnTo>
                  <a:lnTo>
                    <a:pt x="1155" y="1314"/>
                  </a:lnTo>
                  <a:lnTo>
                    <a:pt x="1242" y="1317"/>
                  </a:lnTo>
                  <a:lnTo>
                    <a:pt x="1336" y="1319"/>
                  </a:lnTo>
                  <a:lnTo>
                    <a:pt x="1435" y="1320"/>
                  </a:lnTo>
                  <a:lnTo>
                    <a:pt x="1541" y="1321"/>
                  </a:lnTo>
                  <a:lnTo>
                    <a:pt x="1654" y="1322"/>
                  </a:lnTo>
                  <a:lnTo>
                    <a:pt x="1768" y="1321"/>
                  </a:lnTo>
                  <a:lnTo>
                    <a:pt x="1874" y="1320"/>
                  </a:lnTo>
                  <a:lnTo>
                    <a:pt x="1973" y="1319"/>
                  </a:lnTo>
                  <a:lnTo>
                    <a:pt x="2067" y="1317"/>
                  </a:lnTo>
                  <a:lnTo>
                    <a:pt x="2153" y="1314"/>
                  </a:lnTo>
                  <a:lnTo>
                    <a:pt x="2234" y="1311"/>
                  </a:lnTo>
                  <a:lnTo>
                    <a:pt x="2309" y="1308"/>
                  </a:lnTo>
                  <a:lnTo>
                    <a:pt x="2378" y="1303"/>
                  </a:lnTo>
                  <a:lnTo>
                    <a:pt x="2442" y="1298"/>
                  </a:lnTo>
                  <a:lnTo>
                    <a:pt x="2501" y="1293"/>
                  </a:lnTo>
                  <a:lnTo>
                    <a:pt x="2555" y="1288"/>
                  </a:lnTo>
                  <a:lnTo>
                    <a:pt x="2603" y="1282"/>
                  </a:lnTo>
                  <a:lnTo>
                    <a:pt x="2648" y="1275"/>
                  </a:lnTo>
                  <a:lnTo>
                    <a:pt x="2688" y="1268"/>
                  </a:lnTo>
                  <a:lnTo>
                    <a:pt x="2724" y="1261"/>
                  </a:lnTo>
                  <a:lnTo>
                    <a:pt x="2755" y="1252"/>
                  </a:lnTo>
                  <a:lnTo>
                    <a:pt x="2783" y="1244"/>
                  </a:lnTo>
                  <a:lnTo>
                    <a:pt x="2808" y="1235"/>
                  </a:lnTo>
                  <a:lnTo>
                    <a:pt x="2828" y="1225"/>
                  </a:lnTo>
                  <a:lnTo>
                    <a:pt x="2847" y="1215"/>
                  </a:lnTo>
                  <a:lnTo>
                    <a:pt x="2862" y="1204"/>
                  </a:lnTo>
                  <a:lnTo>
                    <a:pt x="2875" y="1192"/>
                  </a:lnTo>
                  <a:lnTo>
                    <a:pt x="2884" y="1179"/>
                  </a:lnTo>
                  <a:lnTo>
                    <a:pt x="2892" y="1167"/>
                  </a:lnTo>
                  <a:lnTo>
                    <a:pt x="2897" y="1154"/>
                  </a:lnTo>
                  <a:lnTo>
                    <a:pt x="2901" y="1140"/>
                  </a:lnTo>
                  <a:lnTo>
                    <a:pt x="2903" y="1126"/>
                  </a:lnTo>
                  <a:lnTo>
                    <a:pt x="2903" y="1111"/>
                  </a:lnTo>
                  <a:lnTo>
                    <a:pt x="2872" y="288"/>
                  </a:lnTo>
                  <a:lnTo>
                    <a:pt x="2872" y="286"/>
                  </a:lnTo>
                  <a:lnTo>
                    <a:pt x="2871" y="281"/>
                  </a:lnTo>
                  <a:lnTo>
                    <a:pt x="2868" y="274"/>
                  </a:lnTo>
                  <a:lnTo>
                    <a:pt x="2864" y="266"/>
                  </a:lnTo>
                  <a:lnTo>
                    <a:pt x="2858" y="259"/>
                  </a:lnTo>
                  <a:lnTo>
                    <a:pt x="2849" y="252"/>
                  </a:lnTo>
                  <a:lnTo>
                    <a:pt x="2837" y="248"/>
                  </a:lnTo>
                  <a:lnTo>
                    <a:pt x="2736" y="226"/>
                  </a:lnTo>
                  <a:lnTo>
                    <a:pt x="2632" y="208"/>
                  </a:lnTo>
                  <a:lnTo>
                    <a:pt x="2525" y="192"/>
                  </a:lnTo>
                  <a:lnTo>
                    <a:pt x="2417" y="179"/>
                  </a:lnTo>
                  <a:lnTo>
                    <a:pt x="2307" y="169"/>
                  </a:lnTo>
                  <a:lnTo>
                    <a:pt x="2196" y="161"/>
                  </a:lnTo>
                  <a:lnTo>
                    <a:pt x="2085" y="155"/>
                  </a:lnTo>
                  <a:lnTo>
                    <a:pt x="1975" y="151"/>
                  </a:lnTo>
                  <a:lnTo>
                    <a:pt x="1866" y="148"/>
                  </a:lnTo>
                  <a:lnTo>
                    <a:pt x="1759" y="146"/>
                  </a:lnTo>
                  <a:lnTo>
                    <a:pt x="1654" y="145"/>
                  </a:lnTo>
                  <a:close/>
                  <a:moveTo>
                    <a:pt x="1660" y="0"/>
                  </a:moveTo>
                  <a:lnTo>
                    <a:pt x="1668" y="0"/>
                  </a:lnTo>
                  <a:lnTo>
                    <a:pt x="1683" y="1"/>
                  </a:lnTo>
                  <a:lnTo>
                    <a:pt x="1704" y="1"/>
                  </a:lnTo>
                  <a:lnTo>
                    <a:pt x="1733" y="1"/>
                  </a:lnTo>
                  <a:lnTo>
                    <a:pt x="1767" y="2"/>
                  </a:lnTo>
                  <a:lnTo>
                    <a:pt x="1806" y="3"/>
                  </a:lnTo>
                  <a:lnTo>
                    <a:pt x="1852" y="4"/>
                  </a:lnTo>
                  <a:lnTo>
                    <a:pt x="1900" y="6"/>
                  </a:lnTo>
                  <a:lnTo>
                    <a:pt x="1954" y="7"/>
                  </a:lnTo>
                  <a:lnTo>
                    <a:pt x="2010" y="10"/>
                  </a:lnTo>
                  <a:lnTo>
                    <a:pt x="2070" y="12"/>
                  </a:lnTo>
                  <a:lnTo>
                    <a:pt x="2131" y="15"/>
                  </a:lnTo>
                  <a:lnTo>
                    <a:pt x="2196" y="18"/>
                  </a:lnTo>
                  <a:lnTo>
                    <a:pt x="2261" y="22"/>
                  </a:lnTo>
                  <a:lnTo>
                    <a:pt x="2328" y="26"/>
                  </a:lnTo>
                  <a:lnTo>
                    <a:pt x="2396" y="31"/>
                  </a:lnTo>
                  <a:lnTo>
                    <a:pt x="2462" y="37"/>
                  </a:lnTo>
                  <a:lnTo>
                    <a:pt x="2530" y="42"/>
                  </a:lnTo>
                  <a:lnTo>
                    <a:pt x="2595" y="49"/>
                  </a:lnTo>
                  <a:lnTo>
                    <a:pt x="2661" y="56"/>
                  </a:lnTo>
                  <a:lnTo>
                    <a:pt x="2724" y="65"/>
                  </a:lnTo>
                  <a:lnTo>
                    <a:pt x="2784" y="73"/>
                  </a:lnTo>
                  <a:lnTo>
                    <a:pt x="2842" y="82"/>
                  </a:lnTo>
                  <a:lnTo>
                    <a:pt x="2896" y="92"/>
                  </a:lnTo>
                  <a:lnTo>
                    <a:pt x="2947" y="103"/>
                  </a:lnTo>
                  <a:lnTo>
                    <a:pt x="2993" y="114"/>
                  </a:lnTo>
                  <a:lnTo>
                    <a:pt x="3007" y="120"/>
                  </a:lnTo>
                  <a:lnTo>
                    <a:pt x="3018" y="128"/>
                  </a:lnTo>
                  <a:lnTo>
                    <a:pt x="3027" y="137"/>
                  </a:lnTo>
                  <a:lnTo>
                    <a:pt x="3033" y="147"/>
                  </a:lnTo>
                  <a:lnTo>
                    <a:pt x="3037" y="156"/>
                  </a:lnTo>
                  <a:lnTo>
                    <a:pt x="3040" y="164"/>
                  </a:lnTo>
                  <a:lnTo>
                    <a:pt x="3041" y="170"/>
                  </a:lnTo>
                  <a:lnTo>
                    <a:pt x="3042" y="172"/>
                  </a:lnTo>
                  <a:lnTo>
                    <a:pt x="3208" y="1309"/>
                  </a:lnTo>
                  <a:lnTo>
                    <a:pt x="3220" y="1339"/>
                  </a:lnTo>
                  <a:lnTo>
                    <a:pt x="3231" y="1370"/>
                  </a:lnTo>
                  <a:lnTo>
                    <a:pt x="3241" y="1404"/>
                  </a:lnTo>
                  <a:lnTo>
                    <a:pt x="3250" y="1441"/>
                  </a:lnTo>
                  <a:lnTo>
                    <a:pt x="3266" y="1506"/>
                  </a:lnTo>
                  <a:lnTo>
                    <a:pt x="3280" y="1575"/>
                  </a:lnTo>
                  <a:lnTo>
                    <a:pt x="3292" y="1648"/>
                  </a:lnTo>
                  <a:lnTo>
                    <a:pt x="3302" y="1725"/>
                  </a:lnTo>
                  <a:lnTo>
                    <a:pt x="3310" y="1805"/>
                  </a:lnTo>
                  <a:lnTo>
                    <a:pt x="3316" y="1887"/>
                  </a:lnTo>
                  <a:lnTo>
                    <a:pt x="3320" y="1973"/>
                  </a:lnTo>
                  <a:lnTo>
                    <a:pt x="3321" y="2061"/>
                  </a:lnTo>
                  <a:lnTo>
                    <a:pt x="3319" y="2152"/>
                  </a:lnTo>
                  <a:lnTo>
                    <a:pt x="3315" y="2242"/>
                  </a:lnTo>
                  <a:lnTo>
                    <a:pt x="3309" y="2329"/>
                  </a:lnTo>
                  <a:lnTo>
                    <a:pt x="3300" y="2412"/>
                  </a:lnTo>
                  <a:lnTo>
                    <a:pt x="3289" y="2492"/>
                  </a:lnTo>
                  <a:lnTo>
                    <a:pt x="3276" y="2568"/>
                  </a:lnTo>
                  <a:lnTo>
                    <a:pt x="3270" y="2625"/>
                  </a:lnTo>
                  <a:lnTo>
                    <a:pt x="3264" y="2676"/>
                  </a:lnTo>
                  <a:lnTo>
                    <a:pt x="3264" y="3026"/>
                  </a:lnTo>
                  <a:lnTo>
                    <a:pt x="3262" y="3057"/>
                  </a:lnTo>
                  <a:lnTo>
                    <a:pt x="3254" y="3085"/>
                  </a:lnTo>
                  <a:lnTo>
                    <a:pt x="3242" y="3110"/>
                  </a:lnTo>
                  <a:lnTo>
                    <a:pt x="3225" y="3133"/>
                  </a:lnTo>
                  <a:lnTo>
                    <a:pt x="3206" y="3153"/>
                  </a:lnTo>
                  <a:lnTo>
                    <a:pt x="3182" y="3170"/>
                  </a:lnTo>
                  <a:lnTo>
                    <a:pt x="3156" y="3183"/>
                  </a:lnTo>
                  <a:lnTo>
                    <a:pt x="3128" y="3191"/>
                  </a:lnTo>
                  <a:lnTo>
                    <a:pt x="3098" y="3193"/>
                  </a:lnTo>
                  <a:lnTo>
                    <a:pt x="2961" y="3193"/>
                  </a:lnTo>
                  <a:lnTo>
                    <a:pt x="2930" y="3191"/>
                  </a:lnTo>
                  <a:lnTo>
                    <a:pt x="2902" y="3183"/>
                  </a:lnTo>
                  <a:lnTo>
                    <a:pt x="2876" y="3170"/>
                  </a:lnTo>
                  <a:lnTo>
                    <a:pt x="2853" y="3153"/>
                  </a:lnTo>
                  <a:lnTo>
                    <a:pt x="2833" y="3133"/>
                  </a:lnTo>
                  <a:lnTo>
                    <a:pt x="2816" y="3110"/>
                  </a:lnTo>
                  <a:lnTo>
                    <a:pt x="2804" y="3085"/>
                  </a:lnTo>
                  <a:lnTo>
                    <a:pt x="2796" y="3057"/>
                  </a:lnTo>
                  <a:lnTo>
                    <a:pt x="2793" y="3026"/>
                  </a:lnTo>
                  <a:lnTo>
                    <a:pt x="2793" y="2858"/>
                  </a:lnTo>
                  <a:lnTo>
                    <a:pt x="2678" y="2866"/>
                  </a:lnTo>
                  <a:lnTo>
                    <a:pt x="2557" y="2872"/>
                  </a:lnTo>
                  <a:lnTo>
                    <a:pt x="2431" y="2877"/>
                  </a:lnTo>
                  <a:lnTo>
                    <a:pt x="2302" y="2881"/>
                  </a:lnTo>
                  <a:lnTo>
                    <a:pt x="2170" y="2884"/>
                  </a:lnTo>
                  <a:lnTo>
                    <a:pt x="2034" y="2886"/>
                  </a:lnTo>
                  <a:lnTo>
                    <a:pt x="1898" y="2888"/>
                  </a:lnTo>
                  <a:lnTo>
                    <a:pt x="1760" y="2889"/>
                  </a:lnTo>
                  <a:lnTo>
                    <a:pt x="1561" y="2889"/>
                  </a:lnTo>
                  <a:lnTo>
                    <a:pt x="1423" y="2888"/>
                  </a:lnTo>
                  <a:lnTo>
                    <a:pt x="1286" y="2886"/>
                  </a:lnTo>
                  <a:lnTo>
                    <a:pt x="1151" y="2884"/>
                  </a:lnTo>
                  <a:lnTo>
                    <a:pt x="1018" y="2881"/>
                  </a:lnTo>
                  <a:lnTo>
                    <a:pt x="889" y="2877"/>
                  </a:lnTo>
                  <a:lnTo>
                    <a:pt x="764" y="2872"/>
                  </a:lnTo>
                  <a:lnTo>
                    <a:pt x="643" y="2866"/>
                  </a:lnTo>
                  <a:lnTo>
                    <a:pt x="527" y="2858"/>
                  </a:lnTo>
                  <a:lnTo>
                    <a:pt x="527" y="3026"/>
                  </a:lnTo>
                  <a:lnTo>
                    <a:pt x="525" y="3057"/>
                  </a:lnTo>
                  <a:lnTo>
                    <a:pt x="517" y="3085"/>
                  </a:lnTo>
                  <a:lnTo>
                    <a:pt x="505" y="3110"/>
                  </a:lnTo>
                  <a:lnTo>
                    <a:pt x="488" y="3133"/>
                  </a:lnTo>
                  <a:lnTo>
                    <a:pt x="468" y="3153"/>
                  </a:lnTo>
                  <a:lnTo>
                    <a:pt x="444" y="3170"/>
                  </a:lnTo>
                  <a:lnTo>
                    <a:pt x="419" y="3183"/>
                  </a:lnTo>
                  <a:lnTo>
                    <a:pt x="391" y="3191"/>
                  </a:lnTo>
                  <a:lnTo>
                    <a:pt x="360" y="3193"/>
                  </a:lnTo>
                  <a:lnTo>
                    <a:pt x="223" y="3193"/>
                  </a:lnTo>
                  <a:lnTo>
                    <a:pt x="193" y="3191"/>
                  </a:lnTo>
                  <a:lnTo>
                    <a:pt x="164" y="3183"/>
                  </a:lnTo>
                  <a:lnTo>
                    <a:pt x="138" y="3170"/>
                  </a:lnTo>
                  <a:lnTo>
                    <a:pt x="115" y="3153"/>
                  </a:lnTo>
                  <a:lnTo>
                    <a:pt x="95" y="3133"/>
                  </a:lnTo>
                  <a:lnTo>
                    <a:pt x="79" y="3110"/>
                  </a:lnTo>
                  <a:lnTo>
                    <a:pt x="67" y="3085"/>
                  </a:lnTo>
                  <a:lnTo>
                    <a:pt x="59" y="3057"/>
                  </a:lnTo>
                  <a:lnTo>
                    <a:pt x="56" y="3026"/>
                  </a:lnTo>
                  <a:lnTo>
                    <a:pt x="56" y="2676"/>
                  </a:lnTo>
                  <a:lnTo>
                    <a:pt x="50" y="2625"/>
                  </a:lnTo>
                  <a:lnTo>
                    <a:pt x="44" y="2568"/>
                  </a:lnTo>
                  <a:lnTo>
                    <a:pt x="31" y="2492"/>
                  </a:lnTo>
                  <a:lnTo>
                    <a:pt x="20" y="2412"/>
                  </a:lnTo>
                  <a:lnTo>
                    <a:pt x="12" y="2329"/>
                  </a:lnTo>
                  <a:lnTo>
                    <a:pt x="5" y="2242"/>
                  </a:lnTo>
                  <a:lnTo>
                    <a:pt x="1" y="2152"/>
                  </a:lnTo>
                  <a:lnTo>
                    <a:pt x="0" y="2061"/>
                  </a:lnTo>
                  <a:lnTo>
                    <a:pt x="1" y="1973"/>
                  </a:lnTo>
                  <a:lnTo>
                    <a:pt x="5" y="1887"/>
                  </a:lnTo>
                  <a:lnTo>
                    <a:pt x="11" y="1805"/>
                  </a:lnTo>
                  <a:lnTo>
                    <a:pt x="18" y="1725"/>
                  </a:lnTo>
                  <a:lnTo>
                    <a:pt x="28" y="1648"/>
                  </a:lnTo>
                  <a:lnTo>
                    <a:pt x="40" y="1575"/>
                  </a:lnTo>
                  <a:lnTo>
                    <a:pt x="54" y="1506"/>
                  </a:lnTo>
                  <a:lnTo>
                    <a:pt x="70" y="1441"/>
                  </a:lnTo>
                  <a:lnTo>
                    <a:pt x="80" y="1404"/>
                  </a:lnTo>
                  <a:lnTo>
                    <a:pt x="90" y="1370"/>
                  </a:lnTo>
                  <a:lnTo>
                    <a:pt x="101" y="1339"/>
                  </a:lnTo>
                  <a:lnTo>
                    <a:pt x="113" y="1309"/>
                  </a:lnTo>
                  <a:lnTo>
                    <a:pt x="279" y="172"/>
                  </a:lnTo>
                  <a:lnTo>
                    <a:pt x="279" y="170"/>
                  </a:lnTo>
                  <a:lnTo>
                    <a:pt x="281" y="164"/>
                  </a:lnTo>
                  <a:lnTo>
                    <a:pt x="283" y="156"/>
                  </a:lnTo>
                  <a:lnTo>
                    <a:pt x="288" y="147"/>
                  </a:lnTo>
                  <a:lnTo>
                    <a:pt x="294" y="137"/>
                  </a:lnTo>
                  <a:lnTo>
                    <a:pt x="302" y="128"/>
                  </a:lnTo>
                  <a:lnTo>
                    <a:pt x="314" y="120"/>
                  </a:lnTo>
                  <a:lnTo>
                    <a:pt x="328" y="114"/>
                  </a:lnTo>
                  <a:lnTo>
                    <a:pt x="374" y="103"/>
                  </a:lnTo>
                  <a:lnTo>
                    <a:pt x="425" y="92"/>
                  </a:lnTo>
                  <a:lnTo>
                    <a:pt x="479" y="82"/>
                  </a:lnTo>
                  <a:lnTo>
                    <a:pt x="537" y="73"/>
                  </a:lnTo>
                  <a:lnTo>
                    <a:pt x="597" y="65"/>
                  </a:lnTo>
                  <a:lnTo>
                    <a:pt x="660" y="56"/>
                  </a:lnTo>
                  <a:lnTo>
                    <a:pt x="725" y="49"/>
                  </a:lnTo>
                  <a:lnTo>
                    <a:pt x="791" y="42"/>
                  </a:lnTo>
                  <a:lnTo>
                    <a:pt x="858" y="37"/>
                  </a:lnTo>
                  <a:lnTo>
                    <a:pt x="925" y="31"/>
                  </a:lnTo>
                  <a:lnTo>
                    <a:pt x="993" y="26"/>
                  </a:lnTo>
                  <a:lnTo>
                    <a:pt x="1060" y="22"/>
                  </a:lnTo>
                  <a:lnTo>
                    <a:pt x="1125" y="18"/>
                  </a:lnTo>
                  <a:lnTo>
                    <a:pt x="1189" y="15"/>
                  </a:lnTo>
                  <a:lnTo>
                    <a:pt x="1251" y="12"/>
                  </a:lnTo>
                  <a:lnTo>
                    <a:pt x="1311" y="10"/>
                  </a:lnTo>
                  <a:lnTo>
                    <a:pt x="1367" y="7"/>
                  </a:lnTo>
                  <a:lnTo>
                    <a:pt x="1421" y="6"/>
                  </a:lnTo>
                  <a:lnTo>
                    <a:pt x="1469" y="4"/>
                  </a:lnTo>
                  <a:lnTo>
                    <a:pt x="1514" y="3"/>
                  </a:lnTo>
                  <a:lnTo>
                    <a:pt x="1554" y="2"/>
                  </a:lnTo>
                  <a:lnTo>
                    <a:pt x="1587" y="1"/>
                  </a:lnTo>
                  <a:lnTo>
                    <a:pt x="1616" y="1"/>
                  </a:lnTo>
                  <a:lnTo>
                    <a:pt x="1638" y="1"/>
                  </a:lnTo>
                  <a:lnTo>
                    <a:pt x="1653" y="0"/>
                  </a:lnTo>
                  <a:lnTo>
                    <a:pt x="1660" y="0"/>
                  </a:lnTo>
                  <a:close/>
                </a:path>
              </a:pathLst>
            </a:custGeom>
            <a:solidFill>
              <a:schemeClr val="tx2">
                <a:lumMod val="90000"/>
                <a:lumOff val="10000"/>
              </a:schemeClr>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sp>
        <p:nvSpPr>
          <p:cNvPr id="24" name="TextBox 23"/>
          <p:cNvSpPr txBox="1"/>
          <p:nvPr/>
        </p:nvSpPr>
        <p:spPr>
          <a:xfrm>
            <a:off x="1981487" y="5558568"/>
            <a:ext cx="1179512"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Shared mobility</a:t>
            </a:r>
            <a:endParaRPr lang="en-US" sz="1050" dirty="0">
              <a:solidFill>
                <a:srgbClr val="000000"/>
              </a:solidFill>
              <a:latin typeface="Arial"/>
            </a:endParaRPr>
          </a:p>
        </p:txBody>
      </p:sp>
      <p:sp>
        <p:nvSpPr>
          <p:cNvPr id="25" name="TextBox 24"/>
          <p:cNvSpPr txBox="1"/>
          <p:nvPr/>
        </p:nvSpPr>
        <p:spPr>
          <a:xfrm>
            <a:off x="274935" y="3280102"/>
            <a:ext cx="1299073"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Fleet and leasing</a:t>
            </a:r>
            <a:endParaRPr lang="en-US" sz="1050" dirty="0">
              <a:solidFill>
                <a:srgbClr val="000000"/>
              </a:solidFill>
              <a:latin typeface="Arial"/>
            </a:endParaRPr>
          </a:p>
        </p:txBody>
      </p:sp>
      <p:grpSp>
        <p:nvGrpSpPr>
          <p:cNvPr id="18" name="Group 132"/>
          <p:cNvGrpSpPr>
            <a:grpSpLocks/>
          </p:cNvGrpSpPr>
          <p:nvPr/>
        </p:nvGrpSpPr>
        <p:grpSpPr bwMode="auto">
          <a:xfrm>
            <a:off x="8112104" y="3941033"/>
            <a:ext cx="277813" cy="453573"/>
            <a:chOff x="2110" y="2496"/>
            <a:chExt cx="265" cy="383"/>
          </a:xfrm>
          <a:solidFill>
            <a:schemeClr val="accent2"/>
          </a:solidFill>
        </p:grpSpPr>
        <p:sp>
          <p:nvSpPr>
            <p:cNvPr id="27" name="Freeform 133"/>
            <p:cNvSpPr>
              <a:spLocks noChangeArrowheads="1"/>
            </p:cNvSpPr>
            <p:nvPr/>
          </p:nvSpPr>
          <p:spPr bwMode="auto">
            <a:xfrm>
              <a:off x="2110" y="2496"/>
              <a:ext cx="265" cy="383"/>
            </a:xfrm>
            <a:custGeom>
              <a:avLst/>
              <a:gdLst>
                <a:gd name="T0" fmla="*/ 0 w 2391"/>
                <a:gd name="T1" fmla="*/ 0 h 3456"/>
                <a:gd name="T2" fmla="*/ 0 w 2391"/>
                <a:gd name="T3" fmla="*/ 0 h 3456"/>
                <a:gd name="T4" fmla="*/ 0 w 2391"/>
                <a:gd name="T5" fmla="*/ 0 h 3456"/>
                <a:gd name="T6" fmla="*/ 0 w 2391"/>
                <a:gd name="T7" fmla="*/ 0 h 3456"/>
                <a:gd name="T8" fmla="*/ 0 w 2391"/>
                <a:gd name="T9" fmla="*/ 0 h 3456"/>
                <a:gd name="T10" fmla="*/ 0 w 2391"/>
                <a:gd name="T11" fmla="*/ 0 h 3456"/>
                <a:gd name="T12" fmla="*/ 0 w 2391"/>
                <a:gd name="T13" fmla="*/ 0 h 3456"/>
                <a:gd name="T14" fmla="*/ 0 w 2391"/>
                <a:gd name="T15" fmla="*/ 0 h 3456"/>
                <a:gd name="T16" fmla="*/ 0 w 2391"/>
                <a:gd name="T17" fmla="*/ 0 h 3456"/>
                <a:gd name="T18" fmla="*/ 0 w 2391"/>
                <a:gd name="T19" fmla="*/ 0 h 3456"/>
                <a:gd name="T20" fmla="*/ 0 w 2391"/>
                <a:gd name="T21" fmla="*/ 0 h 3456"/>
                <a:gd name="T22" fmla="*/ 0 w 2391"/>
                <a:gd name="T23" fmla="*/ 0 h 3456"/>
                <a:gd name="T24" fmla="*/ 0 w 2391"/>
                <a:gd name="T25" fmla="*/ 0 h 3456"/>
                <a:gd name="T26" fmla="*/ 0 w 2391"/>
                <a:gd name="T27" fmla="*/ 0 h 3456"/>
                <a:gd name="T28" fmla="*/ 0 w 2391"/>
                <a:gd name="T29" fmla="*/ 0 h 3456"/>
                <a:gd name="T30" fmla="*/ 0 w 2391"/>
                <a:gd name="T31" fmla="*/ 0 h 3456"/>
                <a:gd name="T32" fmla="*/ 0 w 2391"/>
                <a:gd name="T33" fmla="*/ 0 h 3456"/>
                <a:gd name="T34" fmla="*/ 0 w 2391"/>
                <a:gd name="T35" fmla="*/ 0 h 3456"/>
                <a:gd name="T36" fmla="*/ 0 w 2391"/>
                <a:gd name="T37" fmla="*/ 0 h 3456"/>
                <a:gd name="T38" fmla="*/ 0 w 2391"/>
                <a:gd name="T39" fmla="*/ 0 h 3456"/>
                <a:gd name="T40" fmla="*/ 0 w 2391"/>
                <a:gd name="T41" fmla="*/ 0 h 3456"/>
                <a:gd name="T42" fmla="*/ 0 w 2391"/>
                <a:gd name="T43" fmla="*/ 0 h 3456"/>
                <a:gd name="T44" fmla="*/ 0 w 2391"/>
                <a:gd name="T45" fmla="*/ 0 h 3456"/>
                <a:gd name="T46" fmla="*/ 0 w 2391"/>
                <a:gd name="T47" fmla="*/ 0 h 3456"/>
                <a:gd name="T48" fmla="*/ 0 w 2391"/>
                <a:gd name="T49" fmla="*/ 0 h 3456"/>
                <a:gd name="T50" fmla="*/ 0 w 2391"/>
                <a:gd name="T51" fmla="*/ 0 h 3456"/>
                <a:gd name="T52" fmla="*/ 0 w 2391"/>
                <a:gd name="T53" fmla="*/ 0 h 3456"/>
                <a:gd name="T54" fmla="*/ 0 w 2391"/>
                <a:gd name="T55" fmla="*/ 0 h 3456"/>
                <a:gd name="T56" fmla="*/ 0 w 2391"/>
                <a:gd name="T57" fmla="*/ 0 h 3456"/>
                <a:gd name="T58" fmla="*/ 0 w 2391"/>
                <a:gd name="T59" fmla="*/ 0 h 3456"/>
                <a:gd name="T60" fmla="*/ 0 w 2391"/>
                <a:gd name="T61" fmla="*/ 0 h 3456"/>
                <a:gd name="T62" fmla="*/ 0 w 2391"/>
                <a:gd name="T63" fmla="*/ 0 h 3456"/>
                <a:gd name="T64" fmla="*/ 0 w 2391"/>
                <a:gd name="T65" fmla="*/ 0 h 3456"/>
                <a:gd name="T66" fmla="*/ 0 w 2391"/>
                <a:gd name="T67" fmla="*/ 0 h 3456"/>
                <a:gd name="T68" fmla="*/ 0 w 2391"/>
                <a:gd name="T69" fmla="*/ 0 h 3456"/>
                <a:gd name="T70" fmla="*/ 0 w 2391"/>
                <a:gd name="T71" fmla="*/ 0 h 3456"/>
                <a:gd name="T72" fmla="*/ 0 w 2391"/>
                <a:gd name="T73" fmla="*/ 0 h 3456"/>
                <a:gd name="T74" fmla="*/ 0 w 2391"/>
                <a:gd name="T75" fmla="*/ 0 h 3456"/>
                <a:gd name="T76" fmla="*/ 0 w 2391"/>
                <a:gd name="T77" fmla="*/ 0 h 3456"/>
                <a:gd name="T78" fmla="*/ 0 w 2391"/>
                <a:gd name="T79" fmla="*/ 0 h 3456"/>
                <a:gd name="T80" fmla="*/ 0 w 2391"/>
                <a:gd name="T81" fmla="*/ 0 h 3456"/>
                <a:gd name="T82" fmla="*/ 0 w 2391"/>
                <a:gd name="T83" fmla="*/ 0 h 3456"/>
                <a:gd name="T84" fmla="*/ 0 w 2391"/>
                <a:gd name="T85" fmla="*/ 0 h 3456"/>
                <a:gd name="T86" fmla="*/ 0 w 2391"/>
                <a:gd name="T87" fmla="*/ 0 h 3456"/>
                <a:gd name="T88" fmla="*/ 0 w 2391"/>
                <a:gd name="T89" fmla="*/ 0 h 3456"/>
                <a:gd name="T90" fmla="*/ 0 w 2391"/>
                <a:gd name="T91" fmla="*/ 0 h 3456"/>
                <a:gd name="T92" fmla="*/ 0 w 2391"/>
                <a:gd name="T93" fmla="*/ 0 h 3456"/>
                <a:gd name="T94" fmla="*/ 0 w 2391"/>
                <a:gd name="T95" fmla="*/ 0 h 3456"/>
                <a:gd name="T96" fmla="*/ 0 w 2391"/>
                <a:gd name="T97" fmla="*/ 0 h 3456"/>
                <a:gd name="T98" fmla="*/ 0 w 2391"/>
                <a:gd name="T99" fmla="*/ 0 h 3456"/>
                <a:gd name="T100" fmla="*/ 0 w 2391"/>
                <a:gd name="T101" fmla="*/ 0 h 3456"/>
                <a:gd name="T102" fmla="*/ 0 w 2391"/>
                <a:gd name="T103" fmla="*/ 0 h 3456"/>
                <a:gd name="T104" fmla="*/ 0 w 2391"/>
                <a:gd name="T105" fmla="*/ 0 h 3456"/>
                <a:gd name="T106" fmla="*/ 0 w 2391"/>
                <a:gd name="T107" fmla="*/ 0 h 3456"/>
                <a:gd name="T108" fmla="*/ 0 w 2391"/>
                <a:gd name="T109" fmla="*/ 0 h 3456"/>
                <a:gd name="T110" fmla="*/ 0 w 2391"/>
                <a:gd name="T111" fmla="*/ 0 h 3456"/>
                <a:gd name="T112" fmla="*/ 0 w 2391"/>
                <a:gd name="T113" fmla="*/ 0 h 3456"/>
                <a:gd name="T114" fmla="*/ 0 w 2391"/>
                <a:gd name="T115" fmla="*/ 0 h 345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91"/>
                <a:gd name="T175" fmla="*/ 0 h 3456"/>
                <a:gd name="T176" fmla="*/ 2391 w 2391"/>
                <a:gd name="T177" fmla="*/ 3456 h 345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91" h="3456">
                  <a:moveTo>
                    <a:pt x="1196" y="98"/>
                  </a:moveTo>
                  <a:lnTo>
                    <a:pt x="1134" y="103"/>
                  </a:lnTo>
                  <a:lnTo>
                    <a:pt x="1074" y="112"/>
                  </a:lnTo>
                  <a:lnTo>
                    <a:pt x="1017" y="128"/>
                  </a:lnTo>
                  <a:lnTo>
                    <a:pt x="962" y="149"/>
                  </a:lnTo>
                  <a:lnTo>
                    <a:pt x="910" y="176"/>
                  </a:lnTo>
                  <a:lnTo>
                    <a:pt x="861" y="208"/>
                  </a:lnTo>
                  <a:lnTo>
                    <a:pt x="816" y="245"/>
                  </a:lnTo>
                  <a:lnTo>
                    <a:pt x="776" y="286"/>
                  </a:lnTo>
                  <a:lnTo>
                    <a:pt x="739" y="331"/>
                  </a:lnTo>
                  <a:lnTo>
                    <a:pt x="706" y="379"/>
                  </a:lnTo>
                  <a:lnTo>
                    <a:pt x="680" y="430"/>
                  </a:lnTo>
                  <a:lnTo>
                    <a:pt x="658" y="486"/>
                  </a:lnTo>
                  <a:lnTo>
                    <a:pt x="642" y="544"/>
                  </a:lnTo>
                  <a:lnTo>
                    <a:pt x="633" y="603"/>
                  </a:lnTo>
                  <a:lnTo>
                    <a:pt x="630" y="665"/>
                  </a:lnTo>
                  <a:lnTo>
                    <a:pt x="630" y="2791"/>
                  </a:lnTo>
                  <a:lnTo>
                    <a:pt x="633" y="2853"/>
                  </a:lnTo>
                  <a:lnTo>
                    <a:pt x="642" y="2912"/>
                  </a:lnTo>
                  <a:lnTo>
                    <a:pt x="658" y="2970"/>
                  </a:lnTo>
                  <a:lnTo>
                    <a:pt x="680" y="3026"/>
                  </a:lnTo>
                  <a:lnTo>
                    <a:pt x="706" y="3077"/>
                  </a:lnTo>
                  <a:lnTo>
                    <a:pt x="739" y="3125"/>
                  </a:lnTo>
                  <a:lnTo>
                    <a:pt x="776" y="3170"/>
                  </a:lnTo>
                  <a:lnTo>
                    <a:pt x="816" y="3211"/>
                  </a:lnTo>
                  <a:lnTo>
                    <a:pt x="861" y="3248"/>
                  </a:lnTo>
                  <a:lnTo>
                    <a:pt x="910" y="3280"/>
                  </a:lnTo>
                  <a:lnTo>
                    <a:pt x="962" y="3307"/>
                  </a:lnTo>
                  <a:lnTo>
                    <a:pt x="1017" y="3328"/>
                  </a:lnTo>
                  <a:lnTo>
                    <a:pt x="1074" y="3344"/>
                  </a:lnTo>
                  <a:lnTo>
                    <a:pt x="1134" y="3353"/>
                  </a:lnTo>
                  <a:lnTo>
                    <a:pt x="1196" y="3358"/>
                  </a:lnTo>
                  <a:lnTo>
                    <a:pt x="1258" y="3353"/>
                  </a:lnTo>
                  <a:lnTo>
                    <a:pt x="1317" y="3344"/>
                  </a:lnTo>
                  <a:lnTo>
                    <a:pt x="1374" y="3328"/>
                  </a:lnTo>
                  <a:lnTo>
                    <a:pt x="1430" y="3307"/>
                  </a:lnTo>
                  <a:lnTo>
                    <a:pt x="1481" y="3280"/>
                  </a:lnTo>
                  <a:lnTo>
                    <a:pt x="1530" y="3248"/>
                  </a:lnTo>
                  <a:lnTo>
                    <a:pt x="1575" y="3211"/>
                  </a:lnTo>
                  <a:lnTo>
                    <a:pt x="1616" y="3170"/>
                  </a:lnTo>
                  <a:lnTo>
                    <a:pt x="1653" y="3125"/>
                  </a:lnTo>
                  <a:lnTo>
                    <a:pt x="1684" y="3077"/>
                  </a:lnTo>
                  <a:lnTo>
                    <a:pt x="1711" y="3026"/>
                  </a:lnTo>
                  <a:lnTo>
                    <a:pt x="1732" y="2970"/>
                  </a:lnTo>
                  <a:lnTo>
                    <a:pt x="1748" y="2912"/>
                  </a:lnTo>
                  <a:lnTo>
                    <a:pt x="1759" y="2853"/>
                  </a:lnTo>
                  <a:lnTo>
                    <a:pt x="1762" y="2791"/>
                  </a:lnTo>
                  <a:lnTo>
                    <a:pt x="1762" y="665"/>
                  </a:lnTo>
                  <a:lnTo>
                    <a:pt x="1759" y="603"/>
                  </a:lnTo>
                  <a:lnTo>
                    <a:pt x="1748" y="544"/>
                  </a:lnTo>
                  <a:lnTo>
                    <a:pt x="1732" y="486"/>
                  </a:lnTo>
                  <a:lnTo>
                    <a:pt x="1711" y="430"/>
                  </a:lnTo>
                  <a:lnTo>
                    <a:pt x="1684" y="379"/>
                  </a:lnTo>
                  <a:lnTo>
                    <a:pt x="1653" y="331"/>
                  </a:lnTo>
                  <a:lnTo>
                    <a:pt x="1616" y="286"/>
                  </a:lnTo>
                  <a:lnTo>
                    <a:pt x="1575" y="245"/>
                  </a:lnTo>
                  <a:lnTo>
                    <a:pt x="1530" y="208"/>
                  </a:lnTo>
                  <a:lnTo>
                    <a:pt x="1481" y="176"/>
                  </a:lnTo>
                  <a:lnTo>
                    <a:pt x="1430" y="149"/>
                  </a:lnTo>
                  <a:lnTo>
                    <a:pt x="1374" y="128"/>
                  </a:lnTo>
                  <a:lnTo>
                    <a:pt x="1317" y="112"/>
                  </a:lnTo>
                  <a:lnTo>
                    <a:pt x="1258" y="103"/>
                  </a:lnTo>
                  <a:lnTo>
                    <a:pt x="1196" y="98"/>
                  </a:lnTo>
                  <a:close/>
                  <a:moveTo>
                    <a:pt x="697" y="0"/>
                  </a:moveTo>
                  <a:lnTo>
                    <a:pt x="1694" y="0"/>
                  </a:lnTo>
                  <a:lnTo>
                    <a:pt x="1727" y="3"/>
                  </a:lnTo>
                  <a:lnTo>
                    <a:pt x="1760" y="12"/>
                  </a:lnTo>
                  <a:lnTo>
                    <a:pt x="1788" y="25"/>
                  </a:lnTo>
                  <a:lnTo>
                    <a:pt x="1814" y="44"/>
                  </a:lnTo>
                  <a:lnTo>
                    <a:pt x="1837" y="66"/>
                  </a:lnTo>
                  <a:lnTo>
                    <a:pt x="1855" y="92"/>
                  </a:lnTo>
                  <a:lnTo>
                    <a:pt x="1870" y="121"/>
                  </a:lnTo>
                  <a:lnTo>
                    <a:pt x="1878" y="153"/>
                  </a:lnTo>
                  <a:lnTo>
                    <a:pt x="1881" y="186"/>
                  </a:lnTo>
                  <a:lnTo>
                    <a:pt x="1881" y="306"/>
                  </a:lnTo>
                  <a:lnTo>
                    <a:pt x="2379" y="306"/>
                  </a:lnTo>
                  <a:lnTo>
                    <a:pt x="2387" y="327"/>
                  </a:lnTo>
                  <a:lnTo>
                    <a:pt x="2391" y="351"/>
                  </a:lnTo>
                  <a:lnTo>
                    <a:pt x="2390" y="376"/>
                  </a:lnTo>
                  <a:lnTo>
                    <a:pt x="2384" y="403"/>
                  </a:lnTo>
                  <a:lnTo>
                    <a:pt x="2376" y="431"/>
                  </a:lnTo>
                  <a:lnTo>
                    <a:pt x="2363" y="461"/>
                  </a:lnTo>
                  <a:lnTo>
                    <a:pt x="2349" y="492"/>
                  </a:lnTo>
                  <a:lnTo>
                    <a:pt x="2331" y="524"/>
                  </a:lnTo>
                  <a:lnTo>
                    <a:pt x="2310" y="556"/>
                  </a:lnTo>
                  <a:lnTo>
                    <a:pt x="2288" y="589"/>
                  </a:lnTo>
                  <a:lnTo>
                    <a:pt x="2263" y="622"/>
                  </a:lnTo>
                  <a:lnTo>
                    <a:pt x="2238" y="655"/>
                  </a:lnTo>
                  <a:lnTo>
                    <a:pt x="2210" y="688"/>
                  </a:lnTo>
                  <a:lnTo>
                    <a:pt x="2182" y="721"/>
                  </a:lnTo>
                  <a:lnTo>
                    <a:pt x="2154" y="753"/>
                  </a:lnTo>
                  <a:lnTo>
                    <a:pt x="2125" y="783"/>
                  </a:lnTo>
                  <a:lnTo>
                    <a:pt x="2097" y="814"/>
                  </a:lnTo>
                  <a:lnTo>
                    <a:pt x="2069" y="843"/>
                  </a:lnTo>
                  <a:lnTo>
                    <a:pt x="2042" y="870"/>
                  </a:lnTo>
                  <a:lnTo>
                    <a:pt x="2015" y="896"/>
                  </a:lnTo>
                  <a:lnTo>
                    <a:pt x="1990" y="921"/>
                  </a:lnTo>
                  <a:lnTo>
                    <a:pt x="1967" y="943"/>
                  </a:lnTo>
                  <a:lnTo>
                    <a:pt x="1946" y="962"/>
                  </a:lnTo>
                  <a:lnTo>
                    <a:pt x="1927" y="980"/>
                  </a:lnTo>
                  <a:lnTo>
                    <a:pt x="1912" y="995"/>
                  </a:lnTo>
                  <a:lnTo>
                    <a:pt x="1899" y="1006"/>
                  </a:lnTo>
                  <a:lnTo>
                    <a:pt x="1889" y="1015"/>
                  </a:lnTo>
                  <a:lnTo>
                    <a:pt x="1883" y="1020"/>
                  </a:lnTo>
                  <a:lnTo>
                    <a:pt x="1881" y="1022"/>
                  </a:lnTo>
                  <a:lnTo>
                    <a:pt x="1881" y="1370"/>
                  </a:lnTo>
                  <a:lnTo>
                    <a:pt x="2379" y="1370"/>
                  </a:lnTo>
                  <a:lnTo>
                    <a:pt x="2387" y="1391"/>
                  </a:lnTo>
                  <a:lnTo>
                    <a:pt x="2391" y="1415"/>
                  </a:lnTo>
                  <a:lnTo>
                    <a:pt x="2390" y="1440"/>
                  </a:lnTo>
                  <a:lnTo>
                    <a:pt x="2384" y="1466"/>
                  </a:lnTo>
                  <a:lnTo>
                    <a:pt x="2376" y="1494"/>
                  </a:lnTo>
                  <a:lnTo>
                    <a:pt x="2363" y="1525"/>
                  </a:lnTo>
                  <a:lnTo>
                    <a:pt x="2349" y="1555"/>
                  </a:lnTo>
                  <a:lnTo>
                    <a:pt x="2331" y="1588"/>
                  </a:lnTo>
                  <a:lnTo>
                    <a:pt x="2310" y="1620"/>
                  </a:lnTo>
                  <a:lnTo>
                    <a:pt x="2288" y="1653"/>
                  </a:lnTo>
                  <a:lnTo>
                    <a:pt x="2263" y="1686"/>
                  </a:lnTo>
                  <a:lnTo>
                    <a:pt x="2238" y="1719"/>
                  </a:lnTo>
                  <a:lnTo>
                    <a:pt x="2210" y="1752"/>
                  </a:lnTo>
                  <a:lnTo>
                    <a:pt x="2182" y="1785"/>
                  </a:lnTo>
                  <a:lnTo>
                    <a:pt x="2154" y="1816"/>
                  </a:lnTo>
                  <a:lnTo>
                    <a:pt x="2125" y="1847"/>
                  </a:lnTo>
                  <a:lnTo>
                    <a:pt x="2097" y="1878"/>
                  </a:lnTo>
                  <a:lnTo>
                    <a:pt x="2069" y="1907"/>
                  </a:lnTo>
                  <a:lnTo>
                    <a:pt x="2042" y="1934"/>
                  </a:lnTo>
                  <a:lnTo>
                    <a:pt x="2015" y="1960"/>
                  </a:lnTo>
                  <a:lnTo>
                    <a:pt x="1990" y="1985"/>
                  </a:lnTo>
                  <a:lnTo>
                    <a:pt x="1967" y="2007"/>
                  </a:lnTo>
                  <a:lnTo>
                    <a:pt x="1946" y="2026"/>
                  </a:lnTo>
                  <a:lnTo>
                    <a:pt x="1927" y="2044"/>
                  </a:lnTo>
                  <a:lnTo>
                    <a:pt x="1912" y="2059"/>
                  </a:lnTo>
                  <a:lnTo>
                    <a:pt x="1899" y="2070"/>
                  </a:lnTo>
                  <a:lnTo>
                    <a:pt x="1889" y="2079"/>
                  </a:lnTo>
                  <a:lnTo>
                    <a:pt x="1883" y="2084"/>
                  </a:lnTo>
                  <a:lnTo>
                    <a:pt x="1881" y="2086"/>
                  </a:lnTo>
                  <a:lnTo>
                    <a:pt x="1881" y="2434"/>
                  </a:lnTo>
                  <a:lnTo>
                    <a:pt x="2379" y="2434"/>
                  </a:lnTo>
                  <a:lnTo>
                    <a:pt x="2387" y="2455"/>
                  </a:lnTo>
                  <a:lnTo>
                    <a:pt x="2391" y="2478"/>
                  </a:lnTo>
                  <a:lnTo>
                    <a:pt x="2390" y="2503"/>
                  </a:lnTo>
                  <a:lnTo>
                    <a:pt x="2384" y="2530"/>
                  </a:lnTo>
                  <a:lnTo>
                    <a:pt x="2376" y="2558"/>
                  </a:lnTo>
                  <a:lnTo>
                    <a:pt x="2363" y="2589"/>
                  </a:lnTo>
                  <a:lnTo>
                    <a:pt x="2349" y="2619"/>
                  </a:lnTo>
                  <a:lnTo>
                    <a:pt x="2331" y="2651"/>
                  </a:lnTo>
                  <a:lnTo>
                    <a:pt x="2310" y="2683"/>
                  </a:lnTo>
                  <a:lnTo>
                    <a:pt x="2288" y="2717"/>
                  </a:lnTo>
                  <a:lnTo>
                    <a:pt x="2263" y="2749"/>
                  </a:lnTo>
                  <a:lnTo>
                    <a:pt x="2238" y="2783"/>
                  </a:lnTo>
                  <a:lnTo>
                    <a:pt x="2210" y="2815"/>
                  </a:lnTo>
                  <a:lnTo>
                    <a:pt x="2182" y="2849"/>
                  </a:lnTo>
                  <a:lnTo>
                    <a:pt x="2154" y="2880"/>
                  </a:lnTo>
                  <a:lnTo>
                    <a:pt x="2125" y="2911"/>
                  </a:lnTo>
                  <a:lnTo>
                    <a:pt x="2097" y="2942"/>
                  </a:lnTo>
                  <a:lnTo>
                    <a:pt x="2069" y="2971"/>
                  </a:lnTo>
                  <a:lnTo>
                    <a:pt x="2042" y="2998"/>
                  </a:lnTo>
                  <a:lnTo>
                    <a:pt x="2015" y="3025"/>
                  </a:lnTo>
                  <a:lnTo>
                    <a:pt x="1990" y="3049"/>
                  </a:lnTo>
                  <a:lnTo>
                    <a:pt x="1967" y="3071"/>
                  </a:lnTo>
                  <a:lnTo>
                    <a:pt x="1946" y="3091"/>
                  </a:lnTo>
                  <a:lnTo>
                    <a:pt x="1927" y="3107"/>
                  </a:lnTo>
                  <a:lnTo>
                    <a:pt x="1912" y="3122"/>
                  </a:lnTo>
                  <a:lnTo>
                    <a:pt x="1899" y="3134"/>
                  </a:lnTo>
                  <a:lnTo>
                    <a:pt x="1889" y="3143"/>
                  </a:lnTo>
                  <a:lnTo>
                    <a:pt x="1883" y="3148"/>
                  </a:lnTo>
                  <a:lnTo>
                    <a:pt x="1881" y="3150"/>
                  </a:lnTo>
                  <a:lnTo>
                    <a:pt x="1881" y="3270"/>
                  </a:lnTo>
                  <a:lnTo>
                    <a:pt x="1878" y="3303"/>
                  </a:lnTo>
                  <a:lnTo>
                    <a:pt x="1870" y="3335"/>
                  </a:lnTo>
                  <a:lnTo>
                    <a:pt x="1855" y="3364"/>
                  </a:lnTo>
                  <a:lnTo>
                    <a:pt x="1837" y="3390"/>
                  </a:lnTo>
                  <a:lnTo>
                    <a:pt x="1814" y="3412"/>
                  </a:lnTo>
                  <a:lnTo>
                    <a:pt x="1788" y="3431"/>
                  </a:lnTo>
                  <a:lnTo>
                    <a:pt x="1760" y="3444"/>
                  </a:lnTo>
                  <a:lnTo>
                    <a:pt x="1727" y="3453"/>
                  </a:lnTo>
                  <a:lnTo>
                    <a:pt x="1694" y="3456"/>
                  </a:lnTo>
                  <a:lnTo>
                    <a:pt x="697" y="3456"/>
                  </a:lnTo>
                  <a:lnTo>
                    <a:pt x="663" y="3453"/>
                  </a:lnTo>
                  <a:lnTo>
                    <a:pt x="632" y="3444"/>
                  </a:lnTo>
                  <a:lnTo>
                    <a:pt x="603" y="3431"/>
                  </a:lnTo>
                  <a:lnTo>
                    <a:pt x="576" y="3412"/>
                  </a:lnTo>
                  <a:lnTo>
                    <a:pt x="554" y="3390"/>
                  </a:lnTo>
                  <a:lnTo>
                    <a:pt x="536" y="3364"/>
                  </a:lnTo>
                  <a:lnTo>
                    <a:pt x="522" y="3335"/>
                  </a:lnTo>
                  <a:lnTo>
                    <a:pt x="514" y="3303"/>
                  </a:lnTo>
                  <a:lnTo>
                    <a:pt x="510" y="3270"/>
                  </a:lnTo>
                  <a:lnTo>
                    <a:pt x="510" y="3150"/>
                  </a:lnTo>
                  <a:lnTo>
                    <a:pt x="508" y="3148"/>
                  </a:lnTo>
                  <a:lnTo>
                    <a:pt x="502" y="3143"/>
                  </a:lnTo>
                  <a:lnTo>
                    <a:pt x="493" y="3134"/>
                  </a:lnTo>
                  <a:lnTo>
                    <a:pt x="479" y="3122"/>
                  </a:lnTo>
                  <a:lnTo>
                    <a:pt x="463" y="3107"/>
                  </a:lnTo>
                  <a:lnTo>
                    <a:pt x="444" y="3091"/>
                  </a:lnTo>
                  <a:lnTo>
                    <a:pt x="423" y="3071"/>
                  </a:lnTo>
                  <a:lnTo>
                    <a:pt x="400" y="3049"/>
                  </a:lnTo>
                  <a:lnTo>
                    <a:pt x="375" y="3025"/>
                  </a:lnTo>
                  <a:lnTo>
                    <a:pt x="349" y="2998"/>
                  </a:lnTo>
                  <a:lnTo>
                    <a:pt x="322" y="2971"/>
                  </a:lnTo>
                  <a:lnTo>
                    <a:pt x="295" y="2942"/>
                  </a:lnTo>
                  <a:lnTo>
                    <a:pt x="265" y="2911"/>
                  </a:lnTo>
                  <a:lnTo>
                    <a:pt x="237" y="2880"/>
                  </a:lnTo>
                  <a:lnTo>
                    <a:pt x="209" y="2849"/>
                  </a:lnTo>
                  <a:lnTo>
                    <a:pt x="181" y="2815"/>
                  </a:lnTo>
                  <a:lnTo>
                    <a:pt x="154" y="2783"/>
                  </a:lnTo>
                  <a:lnTo>
                    <a:pt x="128" y="2749"/>
                  </a:lnTo>
                  <a:lnTo>
                    <a:pt x="104" y="2717"/>
                  </a:lnTo>
                  <a:lnTo>
                    <a:pt x="81" y="2683"/>
                  </a:lnTo>
                  <a:lnTo>
                    <a:pt x="61" y="2651"/>
                  </a:lnTo>
                  <a:lnTo>
                    <a:pt x="43" y="2619"/>
                  </a:lnTo>
                  <a:lnTo>
                    <a:pt x="27" y="2589"/>
                  </a:lnTo>
                  <a:lnTo>
                    <a:pt x="15" y="2558"/>
                  </a:lnTo>
                  <a:lnTo>
                    <a:pt x="6" y="2530"/>
                  </a:lnTo>
                  <a:lnTo>
                    <a:pt x="1" y="2503"/>
                  </a:lnTo>
                  <a:lnTo>
                    <a:pt x="0" y="2478"/>
                  </a:lnTo>
                  <a:lnTo>
                    <a:pt x="3" y="2455"/>
                  </a:lnTo>
                  <a:lnTo>
                    <a:pt x="12" y="2434"/>
                  </a:lnTo>
                  <a:lnTo>
                    <a:pt x="510" y="2434"/>
                  </a:lnTo>
                  <a:lnTo>
                    <a:pt x="510" y="2086"/>
                  </a:lnTo>
                  <a:lnTo>
                    <a:pt x="508" y="2084"/>
                  </a:lnTo>
                  <a:lnTo>
                    <a:pt x="502" y="2079"/>
                  </a:lnTo>
                  <a:lnTo>
                    <a:pt x="493" y="2070"/>
                  </a:lnTo>
                  <a:lnTo>
                    <a:pt x="479" y="2059"/>
                  </a:lnTo>
                  <a:lnTo>
                    <a:pt x="463" y="2044"/>
                  </a:lnTo>
                  <a:lnTo>
                    <a:pt x="444" y="2026"/>
                  </a:lnTo>
                  <a:lnTo>
                    <a:pt x="423" y="2007"/>
                  </a:lnTo>
                  <a:lnTo>
                    <a:pt x="400" y="1985"/>
                  </a:lnTo>
                  <a:lnTo>
                    <a:pt x="375" y="1960"/>
                  </a:lnTo>
                  <a:lnTo>
                    <a:pt x="349" y="1934"/>
                  </a:lnTo>
                  <a:lnTo>
                    <a:pt x="322" y="1907"/>
                  </a:lnTo>
                  <a:lnTo>
                    <a:pt x="295" y="1878"/>
                  </a:lnTo>
                  <a:lnTo>
                    <a:pt x="265" y="1847"/>
                  </a:lnTo>
                  <a:lnTo>
                    <a:pt x="237" y="1816"/>
                  </a:lnTo>
                  <a:lnTo>
                    <a:pt x="209" y="1785"/>
                  </a:lnTo>
                  <a:lnTo>
                    <a:pt x="181" y="1752"/>
                  </a:lnTo>
                  <a:lnTo>
                    <a:pt x="154" y="1719"/>
                  </a:lnTo>
                  <a:lnTo>
                    <a:pt x="128" y="1686"/>
                  </a:lnTo>
                  <a:lnTo>
                    <a:pt x="104" y="1653"/>
                  </a:lnTo>
                  <a:lnTo>
                    <a:pt x="81" y="1620"/>
                  </a:lnTo>
                  <a:lnTo>
                    <a:pt x="61" y="1588"/>
                  </a:lnTo>
                  <a:lnTo>
                    <a:pt x="43" y="1555"/>
                  </a:lnTo>
                  <a:lnTo>
                    <a:pt x="27" y="1525"/>
                  </a:lnTo>
                  <a:lnTo>
                    <a:pt x="15" y="1494"/>
                  </a:lnTo>
                  <a:lnTo>
                    <a:pt x="6" y="1466"/>
                  </a:lnTo>
                  <a:lnTo>
                    <a:pt x="1" y="1440"/>
                  </a:lnTo>
                  <a:lnTo>
                    <a:pt x="0" y="1415"/>
                  </a:lnTo>
                  <a:lnTo>
                    <a:pt x="3" y="1391"/>
                  </a:lnTo>
                  <a:lnTo>
                    <a:pt x="12" y="1370"/>
                  </a:lnTo>
                  <a:lnTo>
                    <a:pt x="510" y="1370"/>
                  </a:lnTo>
                  <a:lnTo>
                    <a:pt x="510" y="1022"/>
                  </a:lnTo>
                  <a:lnTo>
                    <a:pt x="508" y="1020"/>
                  </a:lnTo>
                  <a:lnTo>
                    <a:pt x="502" y="1015"/>
                  </a:lnTo>
                  <a:lnTo>
                    <a:pt x="493" y="1006"/>
                  </a:lnTo>
                  <a:lnTo>
                    <a:pt x="479" y="995"/>
                  </a:lnTo>
                  <a:lnTo>
                    <a:pt x="463" y="980"/>
                  </a:lnTo>
                  <a:lnTo>
                    <a:pt x="444" y="962"/>
                  </a:lnTo>
                  <a:lnTo>
                    <a:pt x="423" y="943"/>
                  </a:lnTo>
                  <a:lnTo>
                    <a:pt x="400" y="921"/>
                  </a:lnTo>
                  <a:lnTo>
                    <a:pt x="375" y="896"/>
                  </a:lnTo>
                  <a:lnTo>
                    <a:pt x="349" y="870"/>
                  </a:lnTo>
                  <a:lnTo>
                    <a:pt x="322" y="843"/>
                  </a:lnTo>
                  <a:lnTo>
                    <a:pt x="295" y="814"/>
                  </a:lnTo>
                  <a:lnTo>
                    <a:pt x="265" y="783"/>
                  </a:lnTo>
                  <a:lnTo>
                    <a:pt x="237" y="753"/>
                  </a:lnTo>
                  <a:lnTo>
                    <a:pt x="209" y="721"/>
                  </a:lnTo>
                  <a:lnTo>
                    <a:pt x="181" y="688"/>
                  </a:lnTo>
                  <a:lnTo>
                    <a:pt x="154" y="655"/>
                  </a:lnTo>
                  <a:lnTo>
                    <a:pt x="128" y="622"/>
                  </a:lnTo>
                  <a:lnTo>
                    <a:pt x="104" y="589"/>
                  </a:lnTo>
                  <a:lnTo>
                    <a:pt x="81" y="556"/>
                  </a:lnTo>
                  <a:lnTo>
                    <a:pt x="61" y="524"/>
                  </a:lnTo>
                  <a:lnTo>
                    <a:pt x="43" y="492"/>
                  </a:lnTo>
                  <a:lnTo>
                    <a:pt x="27" y="461"/>
                  </a:lnTo>
                  <a:lnTo>
                    <a:pt x="15" y="431"/>
                  </a:lnTo>
                  <a:lnTo>
                    <a:pt x="6" y="403"/>
                  </a:lnTo>
                  <a:lnTo>
                    <a:pt x="1" y="376"/>
                  </a:lnTo>
                  <a:lnTo>
                    <a:pt x="0" y="351"/>
                  </a:lnTo>
                  <a:lnTo>
                    <a:pt x="3" y="327"/>
                  </a:lnTo>
                  <a:lnTo>
                    <a:pt x="12" y="306"/>
                  </a:lnTo>
                  <a:lnTo>
                    <a:pt x="510" y="306"/>
                  </a:lnTo>
                  <a:lnTo>
                    <a:pt x="510" y="186"/>
                  </a:lnTo>
                  <a:lnTo>
                    <a:pt x="514" y="153"/>
                  </a:lnTo>
                  <a:lnTo>
                    <a:pt x="522" y="121"/>
                  </a:lnTo>
                  <a:lnTo>
                    <a:pt x="536" y="92"/>
                  </a:lnTo>
                  <a:lnTo>
                    <a:pt x="554" y="66"/>
                  </a:lnTo>
                  <a:lnTo>
                    <a:pt x="576" y="44"/>
                  </a:lnTo>
                  <a:lnTo>
                    <a:pt x="603" y="25"/>
                  </a:lnTo>
                  <a:lnTo>
                    <a:pt x="632" y="12"/>
                  </a:lnTo>
                  <a:lnTo>
                    <a:pt x="663" y="3"/>
                  </a:lnTo>
                  <a:lnTo>
                    <a:pt x="697"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28" name="Freeform 134"/>
            <p:cNvSpPr>
              <a:spLocks noChangeArrowheads="1"/>
            </p:cNvSpPr>
            <p:nvPr/>
          </p:nvSpPr>
          <p:spPr bwMode="auto">
            <a:xfrm>
              <a:off x="2200" y="2529"/>
              <a:ext cx="85" cy="84"/>
            </a:xfrm>
            <a:custGeom>
              <a:avLst/>
              <a:gdLst>
                <a:gd name="T0" fmla="*/ 0 w 769"/>
                <a:gd name="T1" fmla="*/ 0 h 768"/>
                <a:gd name="T2" fmla="*/ 0 w 769"/>
                <a:gd name="T3" fmla="*/ 0 h 768"/>
                <a:gd name="T4" fmla="*/ 0 w 769"/>
                <a:gd name="T5" fmla="*/ 0 h 768"/>
                <a:gd name="T6" fmla="*/ 0 w 769"/>
                <a:gd name="T7" fmla="*/ 0 h 768"/>
                <a:gd name="T8" fmla="*/ 0 w 769"/>
                <a:gd name="T9" fmla="*/ 0 h 768"/>
                <a:gd name="T10" fmla="*/ 0 w 769"/>
                <a:gd name="T11" fmla="*/ 0 h 768"/>
                <a:gd name="T12" fmla="*/ 0 w 769"/>
                <a:gd name="T13" fmla="*/ 0 h 768"/>
                <a:gd name="T14" fmla="*/ 0 w 769"/>
                <a:gd name="T15" fmla="*/ 0 h 768"/>
                <a:gd name="T16" fmla="*/ 0 w 769"/>
                <a:gd name="T17" fmla="*/ 0 h 768"/>
                <a:gd name="T18" fmla="*/ 0 w 769"/>
                <a:gd name="T19" fmla="*/ 0 h 768"/>
                <a:gd name="T20" fmla="*/ 0 w 769"/>
                <a:gd name="T21" fmla="*/ 0 h 768"/>
                <a:gd name="T22" fmla="*/ 0 w 769"/>
                <a:gd name="T23" fmla="*/ 0 h 768"/>
                <a:gd name="T24" fmla="*/ 0 w 769"/>
                <a:gd name="T25" fmla="*/ 0 h 768"/>
                <a:gd name="T26" fmla="*/ 0 w 769"/>
                <a:gd name="T27" fmla="*/ 0 h 768"/>
                <a:gd name="T28" fmla="*/ 0 w 769"/>
                <a:gd name="T29" fmla="*/ 0 h 768"/>
                <a:gd name="T30" fmla="*/ 0 w 769"/>
                <a:gd name="T31" fmla="*/ 0 h 768"/>
                <a:gd name="T32" fmla="*/ 0 w 769"/>
                <a:gd name="T33" fmla="*/ 0 h 768"/>
                <a:gd name="T34" fmla="*/ 0 w 769"/>
                <a:gd name="T35" fmla="*/ 0 h 768"/>
                <a:gd name="T36" fmla="*/ 0 w 769"/>
                <a:gd name="T37" fmla="*/ 0 h 768"/>
                <a:gd name="T38" fmla="*/ 0 w 769"/>
                <a:gd name="T39" fmla="*/ 0 h 768"/>
                <a:gd name="T40" fmla="*/ 0 w 769"/>
                <a:gd name="T41" fmla="*/ 0 h 768"/>
                <a:gd name="T42" fmla="*/ 0 w 769"/>
                <a:gd name="T43" fmla="*/ 0 h 768"/>
                <a:gd name="T44" fmla="*/ 0 w 769"/>
                <a:gd name="T45" fmla="*/ 0 h 768"/>
                <a:gd name="T46" fmla="*/ 0 w 769"/>
                <a:gd name="T47" fmla="*/ 0 h 768"/>
                <a:gd name="T48" fmla="*/ 0 w 769"/>
                <a:gd name="T49" fmla="*/ 0 h 768"/>
                <a:gd name="T50" fmla="*/ 0 w 769"/>
                <a:gd name="T51" fmla="*/ 0 h 768"/>
                <a:gd name="T52" fmla="*/ 0 w 769"/>
                <a:gd name="T53" fmla="*/ 0 h 768"/>
                <a:gd name="T54" fmla="*/ 0 w 769"/>
                <a:gd name="T55" fmla="*/ 0 h 768"/>
                <a:gd name="T56" fmla="*/ 0 w 769"/>
                <a:gd name="T57" fmla="*/ 0 h 768"/>
                <a:gd name="T58" fmla="*/ 0 w 769"/>
                <a:gd name="T59" fmla="*/ 0 h 768"/>
                <a:gd name="T60" fmla="*/ 0 w 769"/>
                <a:gd name="T61" fmla="*/ 0 h 768"/>
                <a:gd name="T62" fmla="*/ 0 w 769"/>
                <a:gd name="T63" fmla="*/ 0 h 768"/>
                <a:gd name="T64" fmla="*/ 0 w 769"/>
                <a:gd name="T65" fmla="*/ 0 h 768"/>
                <a:gd name="T66" fmla="*/ 0 w 769"/>
                <a:gd name="T67" fmla="*/ 0 h 768"/>
                <a:gd name="T68" fmla="*/ 0 w 769"/>
                <a:gd name="T69" fmla="*/ 0 h 768"/>
                <a:gd name="T70" fmla="*/ 0 w 769"/>
                <a:gd name="T71" fmla="*/ 0 h 768"/>
                <a:gd name="T72" fmla="*/ 0 w 769"/>
                <a:gd name="T73" fmla="*/ 0 h 768"/>
                <a:gd name="T74" fmla="*/ 0 w 769"/>
                <a:gd name="T75" fmla="*/ 0 h 768"/>
                <a:gd name="T76" fmla="*/ 0 w 769"/>
                <a:gd name="T77" fmla="*/ 0 h 768"/>
                <a:gd name="T78" fmla="*/ 0 w 769"/>
                <a:gd name="T79" fmla="*/ 0 h 768"/>
                <a:gd name="T80" fmla="*/ 0 w 769"/>
                <a:gd name="T81" fmla="*/ 0 h 768"/>
                <a:gd name="T82" fmla="*/ 0 w 769"/>
                <a:gd name="T83" fmla="*/ 0 h 768"/>
                <a:gd name="T84" fmla="*/ 0 w 769"/>
                <a:gd name="T85" fmla="*/ 0 h 768"/>
                <a:gd name="T86" fmla="*/ 0 w 769"/>
                <a:gd name="T87" fmla="*/ 0 h 768"/>
                <a:gd name="T88" fmla="*/ 0 w 769"/>
                <a:gd name="T89" fmla="*/ 0 h 768"/>
                <a:gd name="T90" fmla="*/ 0 w 769"/>
                <a:gd name="T91" fmla="*/ 0 h 768"/>
                <a:gd name="T92" fmla="*/ 0 w 769"/>
                <a:gd name="T93" fmla="*/ 0 h 768"/>
                <a:gd name="T94" fmla="*/ 0 w 769"/>
                <a:gd name="T95" fmla="*/ 0 h 768"/>
                <a:gd name="T96" fmla="*/ 0 w 769"/>
                <a:gd name="T97" fmla="*/ 0 h 768"/>
                <a:gd name="T98" fmla="*/ 0 w 769"/>
                <a:gd name="T99" fmla="*/ 0 h 768"/>
                <a:gd name="T100" fmla="*/ 0 w 769"/>
                <a:gd name="T101" fmla="*/ 0 h 768"/>
                <a:gd name="T102" fmla="*/ 0 w 769"/>
                <a:gd name="T103" fmla="*/ 0 h 768"/>
                <a:gd name="T104" fmla="*/ 0 w 769"/>
                <a:gd name="T105" fmla="*/ 0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9"/>
                <a:gd name="T160" fmla="*/ 0 h 768"/>
                <a:gd name="T161" fmla="*/ 769 w 769"/>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9" h="768">
                  <a:moveTo>
                    <a:pt x="385" y="0"/>
                  </a:moveTo>
                  <a:lnTo>
                    <a:pt x="433" y="3"/>
                  </a:lnTo>
                  <a:lnTo>
                    <a:pt x="479" y="12"/>
                  </a:lnTo>
                  <a:lnTo>
                    <a:pt x="523" y="27"/>
                  </a:lnTo>
                  <a:lnTo>
                    <a:pt x="565" y="45"/>
                  </a:lnTo>
                  <a:lnTo>
                    <a:pt x="604" y="69"/>
                  </a:lnTo>
                  <a:lnTo>
                    <a:pt x="640" y="97"/>
                  </a:lnTo>
                  <a:lnTo>
                    <a:pt x="672" y="129"/>
                  </a:lnTo>
                  <a:lnTo>
                    <a:pt x="700" y="165"/>
                  </a:lnTo>
                  <a:lnTo>
                    <a:pt x="723" y="204"/>
                  </a:lnTo>
                  <a:lnTo>
                    <a:pt x="743" y="245"/>
                  </a:lnTo>
                  <a:lnTo>
                    <a:pt x="757" y="289"/>
                  </a:lnTo>
                  <a:lnTo>
                    <a:pt x="765" y="337"/>
                  </a:lnTo>
                  <a:lnTo>
                    <a:pt x="769" y="385"/>
                  </a:lnTo>
                  <a:lnTo>
                    <a:pt x="765" y="433"/>
                  </a:lnTo>
                  <a:lnTo>
                    <a:pt x="757" y="479"/>
                  </a:lnTo>
                  <a:lnTo>
                    <a:pt x="743" y="523"/>
                  </a:lnTo>
                  <a:lnTo>
                    <a:pt x="723" y="565"/>
                  </a:lnTo>
                  <a:lnTo>
                    <a:pt x="700" y="604"/>
                  </a:lnTo>
                  <a:lnTo>
                    <a:pt x="672" y="639"/>
                  </a:lnTo>
                  <a:lnTo>
                    <a:pt x="640" y="672"/>
                  </a:lnTo>
                  <a:lnTo>
                    <a:pt x="604" y="700"/>
                  </a:lnTo>
                  <a:lnTo>
                    <a:pt x="565" y="723"/>
                  </a:lnTo>
                  <a:lnTo>
                    <a:pt x="523" y="743"/>
                  </a:lnTo>
                  <a:lnTo>
                    <a:pt x="479" y="756"/>
                  </a:lnTo>
                  <a:lnTo>
                    <a:pt x="433" y="765"/>
                  </a:lnTo>
                  <a:lnTo>
                    <a:pt x="385" y="768"/>
                  </a:lnTo>
                  <a:lnTo>
                    <a:pt x="337" y="765"/>
                  </a:lnTo>
                  <a:lnTo>
                    <a:pt x="290" y="756"/>
                  </a:lnTo>
                  <a:lnTo>
                    <a:pt x="246" y="743"/>
                  </a:lnTo>
                  <a:lnTo>
                    <a:pt x="204" y="723"/>
                  </a:lnTo>
                  <a:lnTo>
                    <a:pt x="165" y="700"/>
                  </a:lnTo>
                  <a:lnTo>
                    <a:pt x="129" y="672"/>
                  </a:lnTo>
                  <a:lnTo>
                    <a:pt x="98" y="639"/>
                  </a:lnTo>
                  <a:lnTo>
                    <a:pt x="69" y="604"/>
                  </a:lnTo>
                  <a:lnTo>
                    <a:pt x="45" y="565"/>
                  </a:lnTo>
                  <a:lnTo>
                    <a:pt x="26" y="523"/>
                  </a:lnTo>
                  <a:lnTo>
                    <a:pt x="12" y="479"/>
                  </a:lnTo>
                  <a:lnTo>
                    <a:pt x="3" y="433"/>
                  </a:lnTo>
                  <a:lnTo>
                    <a:pt x="0" y="385"/>
                  </a:lnTo>
                  <a:lnTo>
                    <a:pt x="3" y="337"/>
                  </a:lnTo>
                  <a:lnTo>
                    <a:pt x="12" y="289"/>
                  </a:lnTo>
                  <a:lnTo>
                    <a:pt x="26" y="245"/>
                  </a:lnTo>
                  <a:lnTo>
                    <a:pt x="45" y="204"/>
                  </a:lnTo>
                  <a:lnTo>
                    <a:pt x="69" y="165"/>
                  </a:lnTo>
                  <a:lnTo>
                    <a:pt x="98" y="129"/>
                  </a:lnTo>
                  <a:lnTo>
                    <a:pt x="129" y="97"/>
                  </a:lnTo>
                  <a:lnTo>
                    <a:pt x="165" y="69"/>
                  </a:lnTo>
                  <a:lnTo>
                    <a:pt x="204" y="45"/>
                  </a:lnTo>
                  <a:lnTo>
                    <a:pt x="246" y="27"/>
                  </a:lnTo>
                  <a:lnTo>
                    <a:pt x="290" y="12"/>
                  </a:lnTo>
                  <a:lnTo>
                    <a:pt x="337" y="3"/>
                  </a:lnTo>
                  <a:lnTo>
                    <a:pt x="385"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29" name="Freeform 135"/>
            <p:cNvSpPr>
              <a:spLocks noChangeArrowheads="1"/>
            </p:cNvSpPr>
            <p:nvPr/>
          </p:nvSpPr>
          <p:spPr bwMode="auto">
            <a:xfrm>
              <a:off x="2200" y="2762"/>
              <a:ext cx="85" cy="85"/>
            </a:xfrm>
            <a:custGeom>
              <a:avLst/>
              <a:gdLst>
                <a:gd name="T0" fmla="*/ 0 w 769"/>
                <a:gd name="T1" fmla="*/ 0 h 768"/>
                <a:gd name="T2" fmla="*/ 0 w 769"/>
                <a:gd name="T3" fmla="*/ 0 h 768"/>
                <a:gd name="T4" fmla="*/ 0 w 769"/>
                <a:gd name="T5" fmla="*/ 0 h 768"/>
                <a:gd name="T6" fmla="*/ 0 w 769"/>
                <a:gd name="T7" fmla="*/ 0 h 768"/>
                <a:gd name="T8" fmla="*/ 0 w 769"/>
                <a:gd name="T9" fmla="*/ 0 h 768"/>
                <a:gd name="T10" fmla="*/ 0 w 769"/>
                <a:gd name="T11" fmla="*/ 0 h 768"/>
                <a:gd name="T12" fmla="*/ 0 w 769"/>
                <a:gd name="T13" fmla="*/ 0 h 768"/>
                <a:gd name="T14" fmla="*/ 0 w 769"/>
                <a:gd name="T15" fmla="*/ 0 h 768"/>
                <a:gd name="T16" fmla="*/ 0 w 769"/>
                <a:gd name="T17" fmla="*/ 0 h 768"/>
                <a:gd name="T18" fmla="*/ 0 w 769"/>
                <a:gd name="T19" fmla="*/ 0 h 768"/>
                <a:gd name="T20" fmla="*/ 0 w 769"/>
                <a:gd name="T21" fmla="*/ 0 h 768"/>
                <a:gd name="T22" fmla="*/ 0 w 769"/>
                <a:gd name="T23" fmla="*/ 0 h 768"/>
                <a:gd name="T24" fmla="*/ 0 w 769"/>
                <a:gd name="T25" fmla="*/ 0 h 768"/>
                <a:gd name="T26" fmla="*/ 0 w 769"/>
                <a:gd name="T27" fmla="*/ 0 h 768"/>
                <a:gd name="T28" fmla="*/ 0 w 769"/>
                <a:gd name="T29" fmla="*/ 0 h 768"/>
                <a:gd name="T30" fmla="*/ 0 w 769"/>
                <a:gd name="T31" fmla="*/ 0 h 768"/>
                <a:gd name="T32" fmla="*/ 0 w 769"/>
                <a:gd name="T33" fmla="*/ 0 h 768"/>
                <a:gd name="T34" fmla="*/ 0 w 769"/>
                <a:gd name="T35" fmla="*/ 0 h 768"/>
                <a:gd name="T36" fmla="*/ 0 w 769"/>
                <a:gd name="T37" fmla="*/ 0 h 768"/>
                <a:gd name="T38" fmla="*/ 0 w 769"/>
                <a:gd name="T39" fmla="*/ 0 h 768"/>
                <a:gd name="T40" fmla="*/ 0 w 769"/>
                <a:gd name="T41" fmla="*/ 0 h 768"/>
                <a:gd name="T42" fmla="*/ 0 w 769"/>
                <a:gd name="T43" fmla="*/ 0 h 768"/>
                <a:gd name="T44" fmla="*/ 0 w 769"/>
                <a:gd name="T45" fmla="*/ 0 h 768"/>
                <a:gd name="T46" fmla="*/ 0 w 769"/>
                <a:gd name="T47" fmla="*/ 0 h 768"/>
                <a:gd name="T48" fmla="*/ 0 w 769"/>
                <a:gd name="T49" fmla="*/ 0 h 768"/>
                <a:gd name="T50" fmla="*/ 0 w 769"/>
                <a:gd name="T51" fmla="*/ 0 h 768"/>
                <a:gd name="T52" fmla="*/ 0 w 769"/>
                <a:gd name="T53" fmla="*/ 0 h 768"/>
                <a:gd name="T54" fmla="*/ 0 w 769"/>
                <a:gd name="T55" fmla="*/ 0 h 768"/>
                <a:gd name="T56" fmla="*/ 0 w 769"/>
                <a:gd name="T57" fmla="*/ 0 h 768"/>
                <a:gd name="T58" fmla="*/ 0 w 769"/>
                <a:gd name="T59" fmla="*/ 0 h 768"/>
                <a:gd name="T60" fmla="*/ 0 w 769"/>
                <a:gd name="T61" fmla="*/ 0 h 768"/>
                <a:gd name="T62" fmla="*/ 0 w 769"/>
                <a:gd name="T63" fmla="*/ 0 h 768"/>
                <a:gd name="T64" fmla="*/ 0 w 769"/>
                <a:gd name="T65" fmla="*/ 0 h 768"/>
                <a:gd name="T66" fmla="*/ 0 w 769"/>
                <a:gd name="T67" fmla="*/ 0 h 768"/>
                <a:gd name="T68" fmla="*/ 0 w 769"/>
                <a:gd name="T69" fmla="*/ 0 h 768"/>
                <a:gd name="T70" fmla="*/ 0 w 769"/>
                <a:gd name="T71" fmla="*/ 0 h 768"/>
                <a:gd name="T72" fmla="*/ 0 w 769"/>
                <a:gd name="T73" fmla="*/ 0 h 768"/>
                <a:gd name="T74" fmla="*/ 0 w 769"/>
                <a:gd name="T75" fmla="*/ 0 h 768"/>
                <a:gd name="T76" fmla="*/ 0 w 769"/>
                <a:gd name="T77" fmla="*/ 0 h 768"/>
                <a:gd name="T78" fmla="*/ 0 w 769"/>
                <a:gd name="T79" fmla="*/ 0 h 768"/>
                <a:gd name="T80" fmla="*/ 0 w 769"/>
                <a:gd name="T81" fmla="*/ 0 h 768"/>
                <a:gd name="T82" fmla="*/ 0 w 769"/>
                <a:gd name="T83" fmla="*/ 0 h 768"/>
                <a:gd name="T84" fmla="*/ 0 w 769"/>
                <a:gd name="T85" fmla="*/ 0 h 768"/>
                <a:gd name="T86" fmla="*/ 0 w 769"/>
                <a:gd name="T87" fmla="*/ 0 h 768"/>
                <a:gd name="T88" fmla="*/ 0 w 769"/>
                <a:gd name="T89" fmla="*/ 0 h 768"/>
                <a:gd name="T90" fmla="*/ 0 w 769"/>
                <a:gd name="T91" fmla="*/ 0 h 768"/>
                <a:gd name="T92" fmla="*/ 0 w 769"/>
                <a:gd name="T93" fmla="*/ 0 h 768"/>
                <a:gd name="T94" fmla="*/ 0 w 769"/>
                <a:gd name="T95" fmla="*/ 0 h 768"/>
                <a:gd name="T96" fmla="*/ 0 w 769"/>
                <a:gd name="T97" fmla="*/ 0 h 768"/>
                <a:gd name="T98" fmla="*/ 0 w 769"/>
                <a:gd name="T99" fmla="*/ 0 h 768"/>
                <a:gd name="T100" fmla="*/ 0 w 769"/>
                <a:gd name="T101" fmla="*/ 0 h 768"/>
                <a:gd name="T102" fmla="*/ 0 w 769"/>
                <a:gd name="T103" fmla="*/ 0 h 768"/>
                <a:gd name="T104" fmla="*/ 0 w 769"/>
                <a:gd name="T105" fmla="*/ 0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9"/>
                <a:gd name="T160" fmla="*/ 0 h 768"/>
                <a:gd name="T161" fmla="*/ 769 w 769"/>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9" h="768">
                  <a:moveTo>
                    <a:pt x="385" y="0"/>
                  </a:moveTo>
                  <a:lnTo>
                    <a:pt x="433" y="3"/>
                  </a:lnTo>
                  <a:lnTo>
                    <a:pt x="479" y="12"/>
                  </a:lnTo>
                  <a:lnTo>
                    <a:pt x="523" y="25"/>
                  </a:lnTo>
                  <a:lnTo>
                    <a:pt x="565" y="45"/>
                  </a:lnTo>
                  <a:lnTo>
                    <a:pt x="604" y="68"/>
                  </a:lnTo>
                  <a:lnTo>
                    <a:pt x="640" y="97"/>
                  </a:lnTo>
                  <a:lnTo>
                    <a:pt x="672" y="129"/>
                  </a:lnTo>
                  <a:lnTo>
                    <a:pt x="700" y="165"/>
                  </a:lnTo>
                  <a:lnTo>
                    <a:pt x="723" y="203"/>
                  </a:lnTo>
                  <a:lnTo>
                    <a:pt x="743" y="245"/>
                  </a:lnTo>
                  <a:lnTo>
                    <a:pt x="757" y="289"/>
                  </a:lnTo>
                  <a:lnTo>
                    <a:pt x="765" y="335"/>
                  </a:lnTo>
                  <a:lnTo>
                    <a:pt x="769" y="384"/>
                  </a:lnTo>
                  <a:lnTo>
                    <a:pt x="765" y="432"/>
                  </a:lnTo>
                  <a:lnTo>
                    <a:pt x="757" y="479"/>
                  </a:lnTo>
                  <a:lnTo>
                    <a:pt x="743" y="523"/>
                  </a:lnTo>
                  <a:lnTo>
                    <a:pt x="723" y="565"/>
                  </a:lnTo>
                  <a:lnTo>
                    <a:pt x="700" y="603"/>
                  </a:lnTo>
                  <a:lnTo>
                    <a:pt x="672" y="639"/>
                  </a:lnTo>
                  <a:lnTo>
                    <a:pt x="640" y="670"/>
                  </a:lnTo>
                  <a:lnTo>
                    <a:pt x="604" y="699"/>
                  </a:lnTo>
                  <a:lnTo>
                    <a:pt x="565" y="723"/>
                  </a:lnTo>
                  <a:lnTo>
                    <a:pt x="523" y="742"/>
                  </a:lnTo>
                  <a:lnTo>
                    <a:pt x="479" y="756"/>
                  </a:lnTo>
                  <a:lnTo>
                    <a:pt x="433" y="765"/>
                  </a:lnTo>
                  <a:lnTo>
                    <a:pt x="385" y="768"/>
                  </a:lnTo>
                  <a:lnTo>
                    <a:pt x="337" y="765"/>
                  </a:lnTo>
                  <a:lnTo>
                    <a:pt x="290" y="756"/>
                  </a:lnTo>
                  <a:lnTo>
                    <a:pt x="246" y="742"/>
                  </a:lnTo>
                  <a:lnTo>
                    <a:pt x="204" y="723"/>
                  </a:lnTo>
                  <a:lnTo>
                    <a:pt x="165" y="699"/>
                  </a:lnTo>
                  <a:lnTo>
                    <a:pt x="129" y="670"/>
                  </a:lnTo>
                  <a:lnTo>
                    <a:pt x="98" y="639"/>
                  </a:lnTo>
                  <a:lnTo>
                    <a:pt x="69" y="603"/>
                  </a:lnTo>
                  <a:lnTo>
                    <a:pt x="45" y="565"/>
                  </a:lnTo>
                  <a:lnTo>
                    <a:pt x="26" y="523"/>
                  </a:lnTo>
                  <a:lnTo>
                    <a:pt x="12" y="479"/>
                  </a:lnTo>
                  <a:lnTo>
                    <a:pt x="3" y="432"/>
                  </a:lnTo>
                  <a:lnTo>
                    <a:pt x="0" y="384"/>
                  </a:lnTo>
                  <a:lnTo>
                    <a:pt x="3" y="335"/>
                  </a:lnTo>
                  <a:lnTo>
                    <a:pt x="12" y="289"/>
                  </a:lnTo>
                  <a:lnTo>
                    <a:pt x="26" y="245"/>
                  </a:lnTo>
                  <a:lnTo>
                    <a:pt x="45" y="203"/>
                  </a:lnTo>
                  <a:lnTo>
                    <a:pt x="69" y="165"/>
                  </a:lnTo>
                  <a:lnTo>
                    <a:pt x="98" y="129"/>
                  </a:lnTo>
                  <a:lnTo>
                    <a:pt x="129" y="97"/>
                  </a:lnTo>
                  <a:lnTo>
                    <a:pt x="165" y="68"/>
                  </a:lnTo>
                  <a:lnTo>
                    <a:pt x="204" y="45"/>
                  </a:lnTo>
                  <a:lnTo>
                    <a:pt x="246" y="25"/>
                  </a:lnTo>
                  <a:lnTo>
                    <a:pt x="290" y="12"/>
                  </a:lnTo>
                  <a:lnTo>
                    <a:pt x="337" y="3"/>
                  </a:lnTo>
                  <a:lnTo>
                    <a:pt x="385"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30" name="Freeform 136"/>
            <p:cNvSpPr>
              <a:spLocks noChangeArrowheads="1"/>
            </p:cNvSpPr>
            <p:nvPr/>
          </p:nvSpPr>
          <p:spPr bwMode="auto">
            <a:xfrm>
              <a:off x="2200" y="2646"/>
              <a:ext cx="85" cy="84"/>
            </a:xfrm>
            <a:custGeom>
              <a:avLst/>
              <a:gdLst>
                <a:gd name="T0" fmla="*/ 0 w 769"/>
                <a:gd name="T1" fmla="*/ 0 h 768"/>
                <a:gd name="T2" fmla="*/ 0 w 769"/>
                <a:gd name="T3" fmla="*/ 0 h 768"/>
                <a:gd name="T4" fmla="*/ 0 w 769"/>
                <a:gd name="T5" fmla="*/ 0 h 768"/>
                <a:gd name="T6" fmla="*/ 0 w 769"/>
                <a:gd name="T7" fmla="*/ 0 h 768"/>
                <a:gd name="T8" fmla="*/ 0 w 769"/>
                <a:gd name="T9" fmla="*/ 0 h 768"/>
                <a:gd name="T10" fmla="*/ 0 w 769"/>
                <a:gd name="T11" fmla="*/ 0 h 768"/>
                <a:gd name="T12" fmla="*/ 0 w 769"/>
                <a:gd name="T13" fmla="*/ 0 h 768"/>
                <a:gd name="T14" fmla="*/ 0 w 769"/>
                <a:gd name="T15" fmla="*/ 0 h 768"/>
                <a:gd name="T16" fmla="*/ 0 w 769"/>
                <a:gd name="T17" fmla="*/ 0 h 768"/>
                <a:gd name="T18" fmla="*/ 0 w 769"/>
                <a:gd name="T19" fmla="*/ 0 h 768"/>
                <a:gd name="T20" fmla="*/ 0 w 769"/>
                <a:gd name="T21" fmla="*/ 0 h 768"/>
                <a:gd name="T22" fmla="*/ 0 w 769"/>
                <a:gd name="T23" fmla="*/ 0 h 768"/>
                <a:gd name="T24" fmla="*/ 0 w 769"/>
                <a:gd name="T25" fmla="*/ 0 h 768"/>
                <a:gd name="T26" fmla="*/ 0 w 769"/>
                <a:gd name="T27" fmla="*/ 0 h 768"/>
                <a:gd name="T28" fmla="*/ 0 w 769"/>
                <a:gd name="T29" fmla="*/ 0 h 768"/>
                <a:gd name="T30" fmla="*/ 0 w 769"/>
                <a:gd name="T31" fmla="*/ 0 h 768"/>
                <a:gd name="T32" fmla="*/ 0 w 769"/>
                <a:gd name="T33" fmla="*/ 0 h 768"/>
                <a:gd name="T34" fmla="*/ 0 w 769"/>
                <a:gd name="T35" fmla="*/ 0 h 768"/>
                <a:gd name="T36" fmla="*/ 0 w 769"/>
                <a:gd name="T37" fmla="*/ 0 h 768"/>
                <a:gd name="T38" fmla="*/ 0 w 769"/>
                <a:gd name="T39" fmla="*/ 0 h 768"/>
                <a:gd name="T40" fmla="*/ 0 w 769"/>
                <a:gd name="T41" fmla="*/ 0 h 768"/>
                <a:gd name="T42" fmla="*/ 0 w 769"/>
                <a:gd name="T43" fmla="*/ 0 h 768"/>
                <a:gd name="T44" fmla="*/ 0 w 769"/>
                <a:gd name="T45" fmla="*/ 0 h 768"/>
                <a:gd name="T46" fmla="*/ 0 w 769"/>
                <a:gd name="T47" fmla="*/ 0 h 768"/>
                <a:gd name="T48" fmla="*/ 0 w 769"/>
                <a:gd name="T49" fmla="*/ 0 h 768"/>
                <a:gd name="T50" fmla="*/ 0 w 769"/>
                <a:gd name="T51" fmla="*/ 0 h 768"/>
                <a:gd name="T52" fmla="*/ 0 w 769"/>
                <a:gd name="T53" fmla="*/ 0 h 768"/>
                <a:gd name="T54" fmla="*/ 0 w 769"/>
                <a:gd name="T55" fmla="*/ 0 h 768"/>
                <a:gd name="T56" fmla="*/ 0 w 769"/>
                <a:gd name="T57" fmla="*/ 0 h 768"/>
                <a:gd name="T58" fmla="*/ 0 w 769"/>
                <a:gd name="T59" fmla="*/ 0 h 768"/>
                <a:gd name="T60" fmla="*/ 0 w 769"/>
                <a:gd name="T61" fmla="*/ 0 h 768"/>
                <a:gd name="T62" fmla="*/ 0 w 769"/>
                <a:gd name="T63" fmla="*/ 0 h 768"/>
                <a:gd name="T64" fmla="*/ 0 w 769"/>
                <a:gd name="T65" fmla="*/ 0 h 768"/>
                <a:gd name="T66" fmla="*/ 0 w 769"/>
                <a:gd name="T67" fmla="*/ 0 h 768"/>
                <a:gd name="T68" fmla="*/ 0 w 769"/>
                <a:gd name="T69" fmla="*/ 0 h 768"/>
                <a:gd name="T70" fmla="*/ 0 w 769"/>
                <a:gd name="T71" fmla="*/ 0 h 768"/>
                <a:gd name="T72" fmla="*/ 0 w 769"/>
                <a:gd name="T73" fmla="*/ 0 h 768"/>
                <a:gd name="T74" fmla="*/ 0 w 769"/>
                <a:gd name="T75" fmla="*/ 0 h 768"/>
                <a:gd name="T76" fmla="*/ 0 w 769"/>
                <a:gd name="T77" fmla="*/ 0 h 768"/>
                <a:gd name="T78" fmla="*/ 0 w 769"/>
                <a:gd name="T79" fmla="*/ 0 h 768"/>
                <a:gd name="T80" fmla="*/ 0 w 769"/>
                <a:gd name="T81" fmla="*/ 0 h 768"/>
                <a:gd name="T82" fmla="*/ 0 w 769"/>
                <a:gd name="T83" fmla="*/ 0 h 768"/>
                <a:gd name="T84" fmla="*/ 0 w 769"/>
                <a:gd name="T85" fmla="*/ 0 h 768"/>
                <a:gd name="T86" fmla="*/ 0 w 769"/>
                <a:gd name="T87" fmla="*/ 0 h 768"/>
                <a:gd name="T88" fmla="*/ 0 w 769"/>
                <a:gd name="T89" fmla="*/ 0 h 768"/>
                <a:gd name="T90" fmla="*/ 0 w 769"/>
                <a:gd name="T91" fmla="*/ 0 h 768"/>
                <a:gd name="T92" fmla="*/ 0 w 769"/>
                <a:gd name="T93" fmla="*/ 0 h 768"/>
                <a:gd name="T94" fmla="*/ 0 w 769"/>
                <a:gd name="T95" fmla="*/ 0 h 768"/>
                <a:gd name="T96" fmla="*/ 0 w 769"/>
                <a:gd name="T97" fmla="*/ 0 h 768"/>
                <a:gd name="T98" fmla="*/ 0 w 769"/>
                <a:gd name="T99" fmla="*/ 0 h 768"/>
                <a:gd name="T100" fmla="*/ 0 w 769"/>
                <a:gd name="T101" fmla="*/ 0 h 768"/>
                <a:gd name="T102" fmla="*/ 0 w 769"/>
                <a:gd name="T103" fmla="*/ 0 h 768"/>
                <a:gd name="T104" fmla="*/ 0 w 769"/>
                <a:gd name="T105" fmla="*/ 0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9"/>
                <a:gd name="T160" fmla="*/ 0 h 768"/>
                <a:gd name="T161" fmla="*/ 769 w 769"/>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9" h="768">
                  <a:moveTo>
                    <a:pt x="385" y="0"/>
                  </a:moveTo>
                  <a:lnTo>
                    <a:pt x="433" y="3"/>
                  </a:lnTo>
                  <a:lnTo>
                    <a:pt x="479" y="12"/>
                  </a:lnTo>
                  <a:lnTo>
                    <a:pt x="523" y="26"/>
                  </a:lnTo>
                  <a:lnTo>
                    <a:pt x="565" y="45"/>
                  </a:lnTo>
                  <a:lnTo>
                    <a:pt x="604" y="69"/>
                  </a:lnTo>
                  <a:lnTo>
                    <a:pt x="640" y="97"/>
                  </a:lnTo>
                  <a:lnTo>
                    <a:pt x="672" y="130"/>
                  </a:lnTo>
                  <a:lnTo>
                    <a:pt x="700" y="165"/>
                  </a:lnTo>
                  <a:lnTo>
                    <a:pt x="723" y="204"/>
                  </a:lnTo>
                  <a:lnTo>
                    <a:pt x="743" y="245"/>
                  </a:lnTo>
                  <a:lnTo>
                    <a:pt x="757" y="290"/>
                  </a:lnTo>
                  <a:lnTo>
                    <a:pt x="765" y="336"/>
                  </a:lnTo>
                  <a:lnTo>
                    <a:pt x="769" y="384"/>
                  </a:lnTo>
                  <a:lnTo>
                    <a:pt x="765" y="432"/>
                  </a:lnTo>
                  <a:lnTo>
                    <a:pt x="757" y="478"/>
                  </a:lnTo>
                  <a:lnTo>
                    <a:pt x="743" y="522"/>
                  </a:lnTo>
                  <a:lnTo>
                    <a:pt x="723" y="564"/>
                  </a:lnTo>
                  <a:lnTo>
                    <a:pt x="700" y="603"/>
                  </a:lnTo>
                  <a:lnTo>
                    <a:pt x="672" y="639"/>
                  </a:lnTo>
                  <a:lnTo>
                    <a:pt x="640" y="671"/>
                  </a:lnTo>
                  <a:lnTo>
                    <a:pt x="604" y="699"/>
                  </a:lnTo>
                  <a:lnTo>
                    <a:pt x="565" y="723"/>
                  </a:lnTo>
                  <a:lnTo>
                    <a:pt x="523" y="742"/>
                  </a:lnTo>
                  <a:lnTo>
                    <a:pt x="479" y="756"/>
                  </a:lnTo>
                  <a:lnTo>
                    <a:pt x="433" y="765"/>
                  </a:lnTo>
                  <a:lnTo>
                    <a:pt x="385" y="768"/>
                  </a:lnTo>
                  <a:lnTo>
                    <a:pt x="337" y="765"/>
                  </a:lnTo>
                  <a:lnTo>
                    <a:pt x="290" y="756"/>
                  </a:lnTo>
                  <a:lnTo>
                    <a:pt x="246" y="742"/>
                  </a:lnTo>
                  <a:lnTo>
                    <a:pt x="204" y="723"/>
                  </a:lnTo>
                  <a:lnTo>
                    <a:pt x="165" y="699"/>
                  </a:lnTo>
                  <a:lnTo>
                    <a:pt x="129" y="671"/>
                  </a:lnTo>
                  <a:lnTo>
                    <a:pt x="98" y="639"/>
                  </a:lnTo>
                  <a:lnTo>
                    <a:pt x="69" y="603"/>
                  </a:lnTo>
                  <a:lnTo>
                    <a:pt x="45" y="564"/>
                  </a:lnTo>
                  <a:lnTo>
                    <a:pt x="26" y="522"/>
                  </a:lnTo>
                  <a:lnTo>
                    <a:pt x="12" y="478"/>
                  </a:lnTo>
                  <a:lnTo>
                    <a:pt x="3" y="432"/>
                  </a:lnTo>
                  <a:lnTo>
                    <a:pt x="0" y="384"/>
                  </a:lnTo>
                  <a:lnTo>
                    <a:pt x="3" y="336"/>
                  </a:lnTo>
                  <a:lnTo>
                    <a:pt x="12" y="290"/>
                  </a:lnTo>
                  <a:lnTo>
                    <a:pt x="26" y="245"/>
                  </a:lnTo>
                  <a:lnTo>
                    <a:pt x="45" y="204"/>
                  </a:lnTo>
                  <a:lnTo>
                    <a:pt x="69" y="165"/>
                  </a:lnTo>
                  <a:lnTo>
                    <a:pt x="98" y="130"/>
                  </a:lnTo>
                  <a:lnTo>
                    <a:pt x="129" y="97"/>
                  </a:lnTo>
                  <a:lnTo>
                    <a:pt x="165" y="69"/>
                  </a:lnTo>
                  <a:lnTo>
                    <a:pt x="204" y="45"/>
                  </a:lnTo>
                  <a:lnTo>
                    <a:pt x="246" y="26"/>
                  </a:lnTo>
                  <a:lnTo>
                    <a:pt x="290" y="12"/>
                  </a:lnTo>
                  <a:lnTo>
                    <a:pt x="337" y="3"/>
                  </a:lnTo>
                  <a:lnTo>
                    <a:pt x="385"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grpSp>
        <p:nvGrpSpPr>
          <p:cNvPr id="22" name="Group 117"/>
          <p:cNvGrpSpPr>
            <a:grpSpLocks/>
          </p:cNvGrpSpPr>
          <p:nvPr/>
        </p:nvGrpSpPr>
        <p:grpSpPr bwMode="auto">
          <a:xfrm>
            <a:off x="8064214" y="2876313"/>
            <a:ext cx="341313" cy="428131"/>
            <a:chOff x="3844" y="2548"/>
            <a:chExt cx="215" cy="383"/>
          </a:xfrm>
          <a:solidFill>
            <a:schemeClr val="accent2"/>
          </a:solidFill>
        </p:grpSpPr>
        <p:sp>
          <p:nvSpPr>
            <p:cNvPr id="32" name="Freeform 118"/>
            <p:cNvSpPr>
              <a:spLocks noChangeArrowheads="1"/>
            </p:cNvSpPr>
            <p:nvPr/>
          </p:nvSpPr>
          <p:spPr bwMode="auto">
            <a:xfrm>
              <a:off x="3920" y="2606"/>
              <a:ext cx="63" cy="37"/>
            </a:xfrm>
            <a:custGeom>
              <a:avLst/>
              <a:gdLst>
                <a:gd name="T0" fmla="*/ 0 w 577"/>
                <a:gd name="T1" fmla="*/ 0 h 348"/>
                <a:gd name="T2" fmla="*/ 0 w 577"/>
                <a:gd name="T3" fmla="*/ 0 h 348"/>
                <a:gd name="T4" fmla="*/ 0 w 577"/>
                <a:gd name="T5" fmla="*/ 0 h 348"/>
                <a:gd name="T6" fmla="*/ 0 w 577"/>
                <a:gd name="T7" fmla="*/ 0 h 348"/>
                <a:gd name="T8" fmla="*/ 0 w 577"/>
                <a:gd name="T9" fmla="*/ 0 h 348"/>
                <a:gd name="T10" fmla="*/ 0 w 577"/>
                <a:gd name="T11" fmla="*/ 0 h 348"/>
                <a:gd name="T12" fmla="*/ 0 w 577"/>
                <a:gd name="T13" fmla="*/ 0 h 348"/>
                <a:gd name="T14" fmla="*/ 0 w 577"/>
                <a:gd name="T15" fmla="*/ 0 h 348"/>
                <a:gd name="T16" fmla="*/ 0 w 577"/>
                <a:gd name="T17" fmla="*/ 0 h 348"/>
                <a:gd name="T18" fmla="*/ 0 w 577"/>
                <a:gd name="T19" fmla="*/ 0 h 348"/>
                <a:gd name="T20" fmla="*/ 0 w 577"/>
                <a:gd name="T21" fmla="*/ 0 h 348"/>
                <a:gd name="T22" fmla="*/ 0 w 577"/>
                <a:gd name="T23" fmla="*/ 0 h 348"/>
                <a:gd name="T24" fmla="*/ 0 w 577"/>
                <a:gd name="T25" fmla="*/ 0 h 348"/>
                <a:gd name="T26" fmla="*/ 0 w 577"/>
                <a:gd name="T27" fmla="*/ 0 h 348"/>
                <a:gd name="T28" fmla="*/ 0 w 577"/>
                <a:gd name="T29" fmla="*/ 0 h 348"/>
                <a:gd name="T30" fmla="*/ 0 w 577"/>
                <a:gd name="T31" fmla="*/ 0 h 348"/>
                <a:gd name="T32" fmla="*/ 0 w 577"/>
                <a:gd name="T33" fmla="*/ 0 h 348"/>
                <a:gd name="T34" fmla="*/ 0 w 577"/>
                <a:gd name="T35" fmla="*/ 0 h 348"/>
                <a:gd name="T36" fmla="*/ 0 w 577"/>
                <a:gd name="T37" fmla="*/ 0 h 348"/>
                <a:gd name="T38" fmla="*/ 0 w 577"/>
                <a:gd name="T39" fmla="*/ 0 h 348"/>
                <a:gd name="T40" fmla="*/ 0 w 577"/>
                <a:gd name="T41" fmla="*/ 0 h 348"/>
                <a:gd name="T42" fmla="*/ 0 w 577"/>
                <a:gd name="T43" fmla="*/ 0 h 348"/>
                <a:gd name="T44" fmla="*/ 0 w 577"/>
                <a:gd name="T45" fmla="*/ 0 h 348"/>
                <a:gd name="T46" fmla="*/ 0 w 577"/>
                <a:gd name="T47" fmla="*/ 0 h 348"/>
                <a:gd name="T48" fmla="*/ 0 w 577"/>
                <a:gd name="T49" fmla="*/ 0 h 348"/>
                <a:gd name="T50" fmla="*/ 0 w 577"/>
                <a:gd name="T51" fmla="*/ 0 h 348"/>
                <a:gd name="T52" fmla="*/ 0 w 577"/>
                <a:gd name="T53" fmla="*/ 0 h 348"/>
                <a:gd name="T54" fmla="*/ 0 w 577"/>
                <a:gd name="T55" fmla="*/ 0 h 348"/>
                <a:gd name="T56" fmla="*/ 0 w 577"/>
                <a:gd name="T57" fmla="*/ 0 h 3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7"/>
                <a:gd name="T88" fmla="*/ 0 h 348"/>
                <a:gd name="T89" fmla="*/ 577 w 577"/>
                <a:gd name="T90" fmla="*/ 348 h 3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7" h="348">
                  <a:moveTo>
                    <a:pt x="83" y="0"/>
                  </a:moveTo>
                  <a:lnTo>
                    <a:pt x="494" y="0"/>
                  </a:lnTo>
                  <a:lnTo>
                    <a:pt x="516" y="3"/>
                  </a:lnTo>
                  <a:lnTo>
                    <a:pt x="536" y="11"/>
                  </a:lnTo>
                  <a:lnTo>
                    <a:pt x="553" y="25"/>
                  </a:lnTo>
                  <a:lnTo>
                    <a:pt x="566" y="41"/>
                  </a:lnTo>
                  <a:lnTo>
                    <a:pt x="574" y="61"/>
                  </a:lnTo>
                  <a:lnTo>
                    <a:pt x="577" y="82"/>
                  </a:lnTo>
                  <a:lnTo>
                    <a:pt x="577" y="265"/>
                  </a:lnTo>
                  <a:lnTo>
                    <a:pt x="574" y="287"/>
                  </a:lnTo>
                  <a:lnTo>
                    <a:pt x="566" y="307"/>
                  </a:lnTo>
                  <a:lnTo>
                    <a:pt x="553" y="324"/>
                  </a:lnTo>
                  <a:lnTo>
                    <a:pt x="536" y="337"/>
                  </a:lnTo>
                  <a:lnTo>
                    <a:pt x="516" y="345"/>
                  </a:lnTo>
                  <a:lnTo>
                    <a:pt x="494" y="348"/>
                  </a:lnTo>
                  <a:lnTo>
                    <a:pt x="83" y="348"/>
                  </a:lnTo>
                  <a:lnTo>
                    <a:pt x="61" y="345"/>
                  </a:lnTo>
                  <a:lnTo>
                    <a:pt x="41" y="337"/>
                  </a:lnTo>
                  <a:lnTo>
                    <a:pt x="24" y="324"/>
                  </a:lnTo>
                  <a:lnTo>
                    <a:pt x="11" y="307"/>
                  </a:lnTo>
                  <a:lnTo>
                    <a:pt x="3" y="287"/>
                  </a:lnTo>
                  <a:lnTo>
                    <a:pt x="0" y="265"/>
                  </a:lnTo>
                  <a:lnTo>
                    <a:pt x="0" y="82"/>
                  </a:lnTo>
                  <a:lnTo>
                    <a:pt x="3" y="61"/>
                  </a:lnTo>
                  <a:lnTo>
                    <a:pt x="11" y="41"/>
                  </a:lnTo>
                  <a:lnTo>
                    <a:pt x="24" y="25"/>
                  </a:lnTo>
                  <a:lnTo>
                    <a:pt x="41" y="11"/>
                  </a:lnTo>
                  <a:lnTo>
                    <a:pt x="61" y="3"/>
                  </a:lnTo>
                  <a:lnTo>
                    <a:pt x="83"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33" name="Freeform 119"/>
            <p:cNvSpPr>
              <a:spLocks noChangeArrowheads="1"/>
            </p:cNvSpPr>
            <p:nvPr/>
          </p:nvSpPr>
          <p:spPr bwMode="auto">
            <a:xfrm>
              <a:off x="3844" y="2548"/>
              <a:ext cx="215" cy="383"/>
            </a:xfrm>
            <a:custGeom>
              <a:avLst/>
              <a:gdLst>
                <a:gd name="T0" fmla="*/ 0 w 1943"/>
                <a:gd name="T1" fmla="*/ 0 h 3456"/>
                <a:gd name="T2" fmla="*/ 0 w 1943"/>
                <a:gd name="T3" fmla="*/ 0 h 3456"/>
                <a:gd name="T4" fmla="*/ 0 w 1943"/>
                <a:gd name="T5" fmla="*/ 0 h 3456"/>
                <a:gd name="T6" fmla="*/ 0 w 1943"/>
                <a:gd name="T7" fmla="*/ 0 h 3456"/>
                <a:gd name="T8" fmla="*/ 0 w 1943"/>
                <a:gd name="T9" fmla="*/ 0 h 3456"/>
                <a:gd name="T10" fmla="*/ 0 w 1943"/>
                <a:gd name="T11" fmla="*/ 0 h 3456"/>
                <a:gd name="T12" fmla="*/ 0 w 1943"/>
                <a:gd name="T13" fmla="*/ 0 h 3456"/>
                <a:gd name="T14" fmla="*/ 0 w 1943"/>
                <a:gd name="T15" fmla="*/ 0 h 3456"/>
                <a:gd name="T16" fmla="*/ 0 w 1943"/>
                <a:gd name="T17" fmla="*/ 0 h 3456"/>
                <a:gd name="T18" fmla="*/ 0 w 1943"/>
                <a:gd name="T19" fmla="*/ 0 h 3456"/>
                <a:gd name="T20" fmla="*/ 0 w 1943"/>
                <a:gd name="T21" fmla="*/ 0 h 3456"/>
                <a:gd name="T22" fmla="*/ 0 w 1943"/>
                <a:gd name="T23" fmla="*/ 0 h 3456"/>
                <a:gd name="T24" fmla="*/ 0 w 1943"/>
                <a:gd name="T25" fmla="*/ 0 h 3456"/>
                <a:gd name="T26" fmla="*/ 0 w 1943"/>
                <a:gd name="T27" fmla="*/ 0 h 3456"/>
                <a:gd name="T28" fmla="*/ 0 w 1943"/>
                <a:gd name="T29" fmla="*/ 0 h 3456"/>
                <a:gd name="T30" fmla="*/ 0 w 1943"/>
                <a:gd name="T31" fmla="*/ 0 h 3456"/>
                <a:gd name="T32" fmla="*/ 0 w 1943"/>
                <a:gd name="T33" fmla="*/ 0 h 3456"/>
                <a:gd name="T34" fmla="*/ 0 w 1943"/>
                <a:gd name="T35" fmla="*/ 0 h 3456"/>
                <a:gd name="T36" fmla="*/ 0 w 1943"/>
                <a:gd name="T37" fmla="*/ 0 h 3456"/>
                <a:gd name="T38" fmla="*/ 0 w 1943"/>
                <a:gd name="T39" fmla="*/ 0 h 3456"/>
                <a:gd name="T40" fmla="*/ 0 w 1943"/>
                <a:gd name="T41" fmla="*/ 0 h 3456"/>
                <a:gd name="T42" fmla="*/ 0 w 1943"/>
                <a:gd name="T43" fmla="*/ 0 h 3456"/>
                <a:gd name="T44" fmla="*/ 0 w 1943"/>
                <a:gd name="T45" fmla="*/ 0 h 3456"/>
                <a:gd name="T46" fmla="*/ 0 w 1943"/>
                <a:gd name="T47" fmla="*/ 0 h 3456"/>
                <a:gd name="T48" fmla="*/ 0 w 1943"/>
                <a:gd name="T49" fmla="*/ 0 h 3456"/>
                <a:gd name="T50" fmla="*/ 0 w 1943"/>
                <a:gd name="T51" fmla="*/ 0 h 3456"/>
                <a:gd name="T52" fmla="*/ 0 w 1943"/>
                <a:gd name="T53" fmla="*/ 0 h 3456"/>
                <a:gd name="T54" fmla="*/ 0 w 1943"/>
                <a:gd name="T55" fmla="*/ 0 h 3456"/>
                <a:gd name="T56" fmla="*/ 0 w 1943"/>
                <a:gd name="T57" fmla="*/ 0 h 3456"/>
                <a:gd name="T58" fmla="*/ 0 w 1943"/>
                <a:gd name="T59" fmla="*/ 0 h 3456"/>
                <a:gd name="T60" fmla="*/ 0 w 1943"/>
                <a:gd name="T61" fmla="*/ 0 h 3456"/>
                <a:gd name="T62" fmla="*/ 0 w 1943"/>
                <a:gd name="T63" fmla="*/ 0 h 3456"/>
                <a:gd name="T64" fmla="*/ 0 w 1943"/>
                <a:gd name="T65" fmla="*/ 0 h 3456"/>
                <a:gd name="T66" fmla="*/ 0 w 1943"/>
                <a:gd name="T67" fmla="*/ 0 h 3456"/>
                <a:gd name="T68" fmla="*/ 0 w 1943"/>
                <a:gd name="T69" fmla="*/ 0 h 3456"/>
                <a:gd name="T70" fmla="*/ 0 w 1943"/>
                <a:gd name="T71" fmla="*/ 0 h 3456"/>
                <a:gd name="T72" fmla="*/ 0 w 1943"/>
                <a:gd name="T73" fmla="*/ 0 h 3456"/>
                <a:gd name="T74" fmla="*/ 0 w 1943"/>
                <a:gd name="T75" fmla="*/ 0 h 3456"/>
                <a:gd name="T76" fmla="*/ 0 w 1943"/>
                <a:gd name="T77" fmla="*/ 0 h 3456"/>
                <a:gd name="T78" fmla="*/ 0 w 1943"/>
                <a:gd name="T79" fmla="*/ 0 h 3456"/>
                <a:gd name="T80" fmla="*/ 0 w 1943"/>
                <a:gd name="T81" fmla="*/ 0 h 3456"/>
                <a:gd name="T82" fmla="*/ 0 w 1943"/>
                <a:gd name="T83" fmla="*/ 0 h 3456"/>
                <a:gd name="T84" fmla="*/ 0 w 1943"/>
                <a:gd name="T85" fmla="*/ 0 h 3456"/>
                <a:gd name="T86" fmla="*/ 0 w 1943"/>
                <a:gd name="T87" fmla="*/ 0 h 3456"/>
                <a:gd name="T88" fmla="*/ 0 w 1943"/>
                <a:gd name="T89" fmla="*/ 0 h 3456"/>
                <a:gd name="T90" fmla="*/ 0 w 1943"/>
                <a:gd name="T91" fmla="*/ 0 h 3456"/>
                <a:gd name="T92" fmla="*/ 0 w 1943"/>
                <a:gd name="T93" fmla="*/ 0 h 3456"/>
                <a:gd name="T94" fmla="*/ 0 w 1943"/>
                <a:gd name="T95" fmla="*/ 0 h 3456"/>
                <a:gd name="T96" fmla="*/ 0 w 1943"/>
                <a:gd name="T97" fmla="*/ 0 h 3456"/>
                <a:gd name="T98" fmla="*/ 0 w 1943"/>
                <a:gd name="T99" fmla="*/ 0 h 3456"/>
                <a:gd name="T100" fmla="*/ 0 w 1943"/>
                <a:gd name="T101" fmla="*/ 0 h 3456"/>
                <a:gd name="T102" fmla="*/ 0 w 1943"/>
                <a:gd name="T103" fmla="*/ 0 h 3456"/>
                <a:gd name="T104" fmla="*/ 0 w 1943"/>
                <a:gd name="T105" fmla="*/ 0 h 3456"/>
                <a:gd name="T106" fmla="*/ 0 w 1943"/>
                <a:gd name="T107" fmla="*/ 0 h 3456"/>
                <a:gd name="T108" fmla="*/ 0 w 1943"/>
                <a:gd name="T109" fmla="*/ 0 h 3456"/>
                <a:gd name="T110" fmla="*/ 0 w 1943"/>
                <a:gd name="T111" fmla="*/ 0 h 3456"/>
                <a:gd name="T112" fmla="*/ 0 w 1943"/>
                <a:gd name="T113" fmla="*/ 0 h 3456"/>
                <a:gd name="T114" fmla="*/ 0 w 1943"/>
                <a:gd name="T115" fmla="*/ 0 h 3456"/>
                <a:gd name="T116" fmla="*/ 0 w 1943"/>
                <a:gd name="T117" fmla="*/ 0 h 3456"/>
                <a:gd name="T118" fmla="*/ 0 w 1943"/>
                <a:gd name="T119" fmla="*/ 0 h 3456"/>
                <a:gd name="T120" fmla="*/ 0 w 1943"/>
                <a:gd name="T121" fmla="*/ 0 h 34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43"/>
                <a:gd name="T184" fmla="*/ 0 h 3456"/>
                <a:gd name="T185" fmla="*/ 1943 w 1943"/>
                <a:gd name="T186" fmla="*/ 3456 h 34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43" h="3456">
                  <a:moveTo>
                    <a:pt x="971" y="1320"/>
                  </a:moveTo>
                  <a:lnTo>
                    <a:pt x="971" y="1746"/>
                  </a:lnTo>
                  <a:lnTo>
                    <a:pt x="1367" y="1746"/>
                  </a:lnTo>
                  <a:lnTo>
                    <a:pt x="1367" y="1320"/>
                  </a:lnTo>
                  <a:lnTo>
                    <a:pt x="971" y="1320"/>
                  </a:lnTo>
                  <a:close/>
                  <a:moveTo>
                    <a:pt x="971" y="339"/>
                  </a:moveTo>
                  <a:lnTo>
                    <a:pt x="907" y="342"/>
                  </a:lnTo>
                  <a:lnTo>
                    <a:pt x="844" y="352"/>
                  </a:lnTo>
                  <a:lnTo>
                    <a:pt x="783" y="368"/>
                  </a:lnTo>
                  <a:lnTo>
                    <a:pt x="726" y="389"/>
                  </a:lnTo>
                  <a:lnTo>
                    <a:pt x="670" y="416"/>
                  </a:lnTo>
                  <a:lnTo>
                    <a:pt x="618" y="447"/>
                  </a:lnTo>
                  <a:lnTo>
                    <a:pt x="570" y="484"/>
                  </a:lnTo>
                  <a:lnTo>
                    <a:pt x="525" y="525"/>
                  </a:lnTo>
                  <a:lnTo>
                    <a:pt x="484" y="570"/>
                  </a:lnTo>
                  <a:lnTo>
                    <a:pt x="447" y="618"/>
                  </a:lnTo>
                  <a:lnTo>
                    <a:pt x="416" y="670"/>
                  </a:lnTo>
                  <a:lnTo>
                    <a:pt x="389" y="726"/>
                  </a:lnTo>
                  <a:lnTo>
                    <a:pt x="368" y="783"/>
                  </a:lnTo>
                  <a:lnTo>
                    <a:pt x="352" y="844"/>
                  </a:lnTo>
                  <a:lnTo>
                    <a:pt x="343" y="907"/>
                  </a:lnTo>
                  <a:lnTo>
                    <a:pt x="339" y="972"/>
                  </a:lnTo>
                  <a:lnTo>
                    <a:pt x="1604" y="972"/>
                  </a:lnTo>
                  <a:lnTo>
                    <a:pt x="1600" y="907"/>
                  </a:lnTo>
                  <a:lnTo>
                    <a:pt x="1591" y="844"/>
                  </a:lnTo>
                  <a:lnTo>
                    <a:pt x="1575" y="783"/>
                  </a:lnTo>
                  <a:lnTo>
                    <a:pt x="1554" y="726"/>
                  </a:lnTo>
                  <a:lnTo>
                    <a:pt x="1527" y="670"/>
                  </a:lnTo>
                  <a:lnTo>
                    <a:pt x="1496" y="618"/>
                  </a:lnTo>
                  <a:lnTo>
                    <a:pt x="1459" y="570"/>
                  </a:lnTo>
                  <a:lnTo>
                    <a:pt x="1418" y="525"/>
                  </a:lnTo>
                  <a:lnTo>
                    <a:pt x="1373" y="484"/>
                  </a:lnTo>
                  <a:lnTo>
                    <a:pt x="1325" y="447"/>
                  </a:lnTo>
                  <a:lnTo>
                    <a:pt x="1273" y="416"/>
                  </a:lnTo>
                  <a:lnTo>
                    <a:pt x="1217" y="389"/>
                  </a:lnTo>
                  <a:lnTo>
                    <a:pt x="1159" y="368"/>
                  </a:lnTo>
                  <a:lnTo>
                    <a:pt x="1099" y="352"/>
                  </a:lnTo>
                  <a:lnTo>
                    <a:pt x="1036" y="342"/>
                  </a:lnTo>
                  <a:lnTo>
                    <a:pt x="971" y="339"/>
                  </a:lnTo>
                  <a:close/>
                  <a:moveTo>
                    <a:pt x="971" y="0"/>
                  </a:moveTo>
                  <a:lnTo>
                    <a:pt x="1051" y="3"/>
                  </a:lnTo>
                  <a:lnTo>
                    <a:pt x="1129" y="13"/>
                  </a:lnTo>
                  <a:lnTo>
                    <a:pt x="1205" y="28"/>
                  </a:lnTo>
                  <a:lnTo>
                    <a:pt x="1278" y="49"/>
                  </a:lnTo>
                  <a:lnTo>
                    <a:pt x="1349" y="76"/>
                  </a:lnTo>
                  <a:lnTo>
                    <a:pt x="1417" y="109"/>
                  </a:lnTo>
                  <a:lnTo>
                    <a:pt x="1483" y="146"/>
                  </a:lnTo>
                  <a:lnTo>
                    <a:pt x="1545" y="187"/>
                  </a:lnTo>
                  <a:lnTo>
                    <a:pt x="1604" y="235"/>
                  </a:lnTo>
                  <a:lnTo>
                    <a:pt x="1658" y="285"/>
                  </a:lnTo>
                  <a:lnTo>
                    <a:pt x="1709" y="339"/>
                  </a:lnTo>
                  <a:lnTo>
                    <a:pt x="1755" y="398"/>
                  </a:lnTo>
                  <a:lnTo>
                    <a:pt x="1797" y="460"/>
                  </a:lnTo>
                  <a:lnTo>
                    <a:pt x="1834" y="526"/>
                  </a:lnTo>
                  <a:lnTo>
                    <a:pt x="1866" y="594"/>
                  </a:lnTo>
                  <a:lnTo>
                    <a:pt x="1894" y="665"/>
                  </a:lnTo>
                  <a:lnTo>
                    <a:pt x="1915" y="738"/>
                  </a:lnTo>
                  <a:lnTo>
                    <a:pt x="1930" y="814"/>
                  </a:lnTo>
                  <a:lnTo>
                    <a:pt x="1940" y="892"/>
                  </a:lnTo>
                  <a:lnTo>
                    <a:pt x="1943" y="972"/>
                  </a:lnTo>
                  <a:lnTo>
                    <a:pt x="1564" y="2110"/>
                  </a:lnTo>
                  <a:lnTo>
                    <a:pt x="1591" y="2162"/>
                  </a:lnTo>
                  <a:lnTo>
                    <a:pt x="1613" y="2216"/>
                  </a:lnTo>
                  <a:lnTo>
                    <a:pt x="1631" y="2273"/>
                  </a:lnTo>
                  <a:lnTo>
                    <a:pt x="1644" y="2330"/>
                  </a:lnTo>
                  <a:lnTo>
                    <a:pt x="1653" y="2390"/>
                  </a:lnTo>
                  <a:lnTo>
                    <a:pt x="1655" y="2452"/>
                  </a:lnTo>
                  <a:lnTo>
                    <a:pt x="1652" y="2518"/>
                  </a:lnTo>
                  <a:lnTo>
                    <a:pt x="1643" y="2580"/>
                  </a:lnTo>
                  <a:lnTo>
                    <a:pt x="1629" y="2642"/>
                  </a:lnTo>
                  <a:lnTo>
                    <a:pt x="1608" y="2702"/>
                  </a:lnTo>
                  <a:lnTo>
                    <a:pt x="1583" y="2759"/>
                  </a:lnTo>
                  <a:lnTo>
                    <a:pt x="1552" y="2813"/>
                  </a:lnTo>
                  <a:lnTo>
                    <a:pt x="1518" y="2863"/>
                  </a:lnTo>
                  <a:lnTo>
                    <a:pt x="1478" y="2910"/>
                  </a:lnTo>
                  <a:lnTo>
                    <a:pt x="1435" y="2954"/>
                  </a:lnTo>
                  <a:lnTo>
                    <a:pt x="1388" y="2994"/>
                  </a:lnTo>
                  <a:lnTo>
                    <a:pt x="1338" y="3029"/>
                  </a:lnTo>
                  <a:lnTo>
                    <a:pt x="1284" y="3060"/>
                  </a:lnTo>
                  <a:lnTo>
                    <a:pt x="1228" y="3085"/>
                  </a:lnTo>
                  <a:lnTo>
                    <a:pt x="1228" y="3456"/>
                  </a:lnTo>
                  <a:lnTo>
                    <a:pt x="715" y="3456"/>
                  </a:lnTo>
                  <a:lnTo>
                    <a:pt x="715" y="3085"/>
                  </a:lnTo>
                  <a:lnTo>
                    <a:pt x="659" y="3060"/>
                  </a:lnTo>
                  <a:lnTo>
                    <a:pt x="605" y="3029"/>
                  </a:lnTo>
                  <a:lnTo>
                    <a:pt x="555" y="2994"/>
                  </a:lnTo>
                  <a:lnTo>
                    <a:pt x="508" y="2954"/>
                  </a:lnTo>
                  <a:lnTo>
                    <a:pt x="465" y="2910"/>
                  </a:lnTo>
                  <a:lnTo>
                    <a:pt x="425" y="2863"/>
                  </a:lnTo>
                  <a:lnTo>
                    <a:pt x="391" y="2813"/>
                  </a:lnTo>
                  <a:lnTo>
                    <a:pt x="360" y="2759"/>
                  </a:lnTo>
                  <a:lnTo>
                    <a:pt x="335" y="2702"/>
                  </a:lnTo>
                  <a:lnTo>
                    <a:pt x="315" y="2642"/>
                  </a:lnTo>
                  <a:lnTo>
                    <a:pt x="300" y="2580"/>
                  </a:lnTo>
                  <a:lnTo>
                    <a:pt x="291" y="2518"/>
                  </a:lnTo>
                  <a:lnTo>
                    <a:pt x="288" y="2452"/>
                  </a:lnTo>
                  <a:lnTo>
                    <a:pt x="290" y="2390"/>
                  </a:lnTo>
                  <a:lnTo>
                    <a:pt x="299" y="2330"/>
                  </a:lnTo>
                  <a:lnTo>
                    <a:pt x="312" y="2273"/>
                  </a:lnTo>
                  <a:lnTo>
                    <a:pt x="330" y="2216"/>
                  </a:lnTo>
                  <a:lnTo>
                    <a:pt x="352" y="2162"/>
                  </a:lnTo>
                  <a:lnTo>
                    <a:pt x="379" y="2110"/>
                  </a:lnTo>
                  <a:lnTo>
                    <a:pt x="0" y="972"/>
                  </a:lnTo>
                  <a:lnTo>
                    <a:pt x="3" y="892"/>
                  </a:lnTo>
                  <a:lnTo>
                    <a:pt x="13" y="814"/>
                  </a:lnTo>
                  <a:lnTo>
                    <a:pt x="28" y="738"/>
                  </a:lnTo>
                  <a:lnTo>
                    <a:pt x="49" y="665"/>
                  </a:lnTo>
                  <a:lnTo>
                    <a:pt x="76" y="594"/>
                  </a:lnTo>
                  <a:lnTo>
                    <a:pt x="109" y="526"/>
                  </a:lnTo>
                  <a:lnTo>
                    <a:pt x="146" y="460"/>
                  </a:lnTo>
                  <a:lnTo>
                    <a:pt x="187" y="398"/>
                  </a:lnTo>
                  <a:lnTo>
                    <a:pt x="234" y="339"/>
                  </a:lnTo>
                  <a:lnTo>
                    <a:pt x="285" y="285"/>
                  </a:lnTo>
                  <a:lnTo>
                    <a:pt x="339" y="235"/>
                  </a:lnTo>
                  <a:lnTo>
                    <a:pt x="398" y="187"/>
                  </a:lnTo>
                  <a:lnTo>
                    <a:pt x="460" y="146"/>
                  </a:lnTo>
                  <a:lnTo>
                    <a:pt x="526" y="109"/>
                  </a:lnTo>
                  <a:lnTo>
                    <a:pt x="594" y="76"/>
                  </a:lnTo>
                  <a:lnTo>
                    <a:pt x="665" y="49"/>
                  </a:lnTo>
                  <a:lnTo>
                    <a:pt x="738" y="28"/>
                  </a:lnTo>
                  <a:lnTo>
                    <a:pt x="814" y="13"/>
                  </a:lnTo>
                  <a:lnTo>
                    <a:pt x="892" y="3"/>
                  </a:lnTo>
                  <a:lnTo>
                    <a:pt x="971"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34" name="Rectangle 120"/>
            <p:cNvSpPr>
              <a:spLocks noChangeArrowheads="1"/>
            </p:cNvSpPr>
            <p:nvPr/>
          </p:nvSpPr>
          <p:spPr bwMode="auto">
            <a:xfrm>
              <a:off x="3970" y="2700"/>
              <a:ext cx="6" cy="36"/>
            </a:xfrm>
            <a:prstGeom prst="rect">
              <a:avLst/>
            </a:prstGeom>
            <a:grpFill/>
            <a:ln w="9525">
              <a:noFill/>
              <a:round/>
              <a:headEnd/>
              <a:tailEnd/>
            </a:ln>
          </p:spPr>
          <p:txBody>
            <a:bodyPr wrap="none" anchor="ctr"/>
            <a:lstStyle/>
            <a:p>
              <a:pPr fontAlgn="auto">
                <a:spcBef>
                  <a:spcPts val="0"/>
                </a:spcBef>
                <a:spcAft>
                  <a:spcPts val="0"/>
                </a:spcAft>
              </a:pPr>
              <a:endParaRPr lang="en-US" dirty="0">
                <a:solidFill>
                  <a:srgbClr val="000000"/>
                </a:solidFill>
                <a:latin typeface="Arial"/>
              </a:endParaRPr>
            </a:p>
          </p:txBody>
        </p:sp>
      </p:grpSp>
      <p:grpSp>
        <p:nvGrpSpPr>
          <p:cNvPr id="23" name="Group 72"/>
          <p:cNvGrpSpPr>
            <a:grpSpLocks/>
          </p:cNvGrpSpPr>
          <p:nvPr/>
        </p:nvGrpSpPr>
        <p:grpSpPr bwMode="auto">
          <a:xfrm>
            <a:off x="4921492" y="1595209"/>
            <a:ext cx="461962" cy="483848"/>
            <a:chOff x="4471" y="1124"/>
            <a:chExt cx="356" cy="371"/>
          </a:xfrm>
          <a:solidFill>
            <a:schemeClr val="accent2"/>
          </a:solidFill>
        </p:grpSpPr>
        <p:sp>
          <p:nvSpPr>
            <p:cNvPr id="37" name="Freeform 73"/>
            <p:cNvSpPr>
              <a:spLocks noChangeArrowheads="1"/>
            </p:cNvSpPr>
            <p:nvPr/>
          </p:nvSpPr>
          <p:spPr bwMode="auto">
            <a:xfrm>
              <a:off x="4568" y="1165"/>
              <a:ext cx="259" cy="240"/>
            </a:xfrm>
            <a:custGeom>
              <a:avLst/>
              <a:gdLst>
                <a:gd name="T0" fmla="*/ 0 w 2346"/>
                <a:gd name="T1" fmla="*/ 0 h 2171"/>
                <a:gd name="T2" fmla="*/ 0 w 2346"/>
                <a:gd name="T3" fmla="*/ 0 h 2171"/>
                <a:gd name="T4" fmla="*/ 0 w 2346"/>
                <a:gd name="T5" fmla="*/ 0 h 2171"/>
                <a:gd name="T6" fmla="*/ 0 w 2346"/>
                <a:gd name="T7" fmla="*/ 0 h 2171"/>
                <a:gd name="T8" fmla="*/ 0 w 2346"/>
                <a:gd name="T9" fmla="*/ 0 h 2171"/>
                <a:gd name="T10" fmla="*/ 0 w 2346"/>
                <a:gd name="T11" fmla="*/ 0 h 2171"/>
                <a:gd name="T12" fmla="*/ 0 w 2346"/>
                <a:gd name="T13" fmla="*/ 0 h 2171"/>
                <a:gd name="T14" fmla="*/ 0 w 2346"/>
                <a:gd name="T15" fmla="*/ 0 h 2171"/>
                <a:gd name="T16" fmla="*/ 0 w 2346"/>
                <a:gd name="T17" fmla="*/ 0 h 2171"/>
                <a:gd name="T18" fmla="*/ 0 w 2346"/>
                <a:gd name="T19" fmla="*/ 0 h 2171"/>
                <a:gd name="T20" fmla="*/ 0 w 2346"/>
                <a:gd name="T21" fmla="*/ 0 h 2171"/>
                <a:gd name="T22" fmla="*/ 0 w 2346"/>
                <a:gd name="T23" fmla="*/ 0 h 2171"/>
                <a:gd name="T24" fmla="*/ 0 w 2346"/>
                <a:gd name="T25" fmla="*/ 0 h 2171"/>
                <a:gd name="T26" fmla="*/ 0 w 2346"/>
                <a:gd name="T27" fmla="*/ 0 h 2171"/>
                <a:gd name="T28" fmla="*/ 0 w 2346"/>
                <a:gd name="T29" fmla="*/ 0 h 2171"/>
                <a:gd name="T30" fmla="*/ 0 w 2346"/>
                <a:gd name="T31" fmla="*/ 0 h 2171"/>
                <a:gd name="T32" fmla="*/ 0 w 2346"/>
                <a:gd name="T33" fmla="*/ 0 h 2171"/>
                <a:gd name="T34" fmla="*/ 0 w 2346"/>
                <a:gd name="T35" fmla="*/ 0 h 2171"/>
                <a:gd name="T36" fmla="*/ 0 w 2346"/>
                <a:gd name="T37" fmla="*/ 0 h 2171"/>
                <a:gd name="T38" fmla="*/ 0 w 2346"/>
                <a:gd name="T39" fmla="*/ 0 h 2171"/>
                <a:gd name="T40" fmla="*/ 0 w 2346"/>
                <a:gd name="T41" fmla="*/ 0 h 2171"/>
                <a:gd name="T42" fmla="*/ 0 w 2346"/>
                <a:gd name="T43" fmla="*/ 0 h 2171"/>
                <a:gd name="T44" fmla="*/ 0 w 2346"/>
                <a:gd name="T45" fmla="*/ 0 h 2171"/>
                <a:gd name="T46" fmla="*/ 0 w 2346"/>
                <a:gd name="T47" fmla="*/ 0 h 2171"/>
                <a:gd name="T48" fmla="*/ 0 w 2346"/>
                <a:gd name="T49" fmla="*/ 0 h 2171"/>
                <a:gd name="T50" fmla="*/ 0 w 2346"/>
                <a:gd name="T51" fmla="*/ 0 h 2171"/>
                <a:gd name="T52" fmla="*/ 0 w 2346"/>
                <a:gd name="T53" fmla="*/ 0 h 2171"/>
                <a:gd name="T54" fmla="*/ 0 w 2346"/>
                <a:gd name="T55" fmla="*/ 0 h 2171"/>
                <a:gd name="T56" fmla="*/ 0 w 2346"/>
                <a:gd name="T57" fmla="*/ 0 h 2171"/>
                <a:gd name="T58" fmla="*/ 0 w 2346"/>
                <a:gd name="T59" fmla="*/ 0 h 2171"/>
                <a:gd name="T60" fmla="*/ 0 w 2346"/>
                <a:gd name="T61" fmla="*/ 0 h 2171"/>
                <a:gd name="T62" fmla="*/ 0 w 2346"/>
                <a:gd name="T63" fmla="*/ 0 h 2171"/>
                <a:gd name="T64" fmla="*/ 0 w 2346"/>
                <a:gd name="T65" fmla="*/ 0 h 2171"/>
                <a:gd name="T66" fmla="*/ 0 w 2346"/>
                <a:gd name="T67" fmla="*/ 0 h 2171"/>
                <a:gd name="T68" fmla="*/ 0 w 2346"/>
                <a:gd name="T69" fmla="*/ 0 h 2171"/>
                <a:gd name="T70" fmla="*/ 0 w 2346"/>
                <a:gd name="T71" fmla="*/ 0 h 2171"/>
                <a:gd name="T72" fmla="*/ 0 w 2346"/>
                <a:gd name="T73" fmla="*/ 0 h 2171"/>
                <a:gd name="T74" fmla="*/ 0 w 2346"/>
                <a:gd name="T75" fmla="*/ 0 h 2171"/>
                <a:gd name="T76" fmla="*/ 0 w 2346"/>
                <a:gd name="T77" fmla="*/ 0 h 2171"/>
                <a:gd name="T78" fmla="*/ 0 w 2346"/>
                <a:gd name="T79" fmla="*/ 0 h 2171"/>
                <a:gd name="T80" fmla="*/ 0 w 2346"/>
                <a:gd name="T81" fmla="*/ 0 h 2171"/>
                <a:gd name="T82" fmla="*/ 0 w 2346"/>
                <a:gd name="T83" fmla="*/ 0 h 2171"/>
                <a:gd name="T84" fmla="*/ 0 w 2346"/>
                <a:gd name="T85" fmla="*/ 0 h 2171"/>
                <a:gd name="T86" fmla="*/ 0 w 2346"/>
                <a:gd name="T87" fmla="*/ 0 h 2171"/>
                <a:gd name="T88" fmla="*/ 0 w 2346"/>
                <a:gd name="T89" fmla="*/ 0 h 2171"/>
                <a:gd name="T90" fmla="*/ 0 w 2346"/>
                <a:gd name="T91" fmla="*/ 0 h 2171"/>
                <a:gd name="T92" fmla="*/ 0 w 2346"/>
                <a:gd name="T93" fmla="*/ 0 h 2171"/>
                <a:gd name="T94" fmla="*/ 0 w 2346"/>
                <a:gd name="T95" fmla="*/ 0 h 2171"/>
                <a:gd name="T96" fmla="*/ 0 w 2346"/>
                <a:gd name="T97" fmla="*/ 0 h 2171"/>
                <a:gd name="T98" fmla="*/ 0 w 2346"/>
                <a:gd name="T99" fmla="*/ 0 h 2171"/>
                <a:gd name="T100" fmla="*/ 0 w 2346"/>
                <a:gd name="T101" fmla="*/ 0 h 2171"/>
                <a:gd name="T102" fmla="*/ 0 w 2346"/>
                <a:gd name="T103" fmla="*/ 0 h 2171"/>
                <a:gd name="T104" fmla="*/ 0 w 2346"/>
                <a:gd name="T105" fmla="*/ 0 h 2171"/>
                <a:gd name="T106" fmla="*/ 0 w 2346"/>
                <a:gd name="T107" fmla="*/ 0 h 2171"/>
                <a:gd name="T108" fmla="*/ 0 w 2346"/>
                <a:gd name="T109" fmla="*/ 0 h 2171"/>
                <a:gd name="T110" fmla="*/ 0 w 2346"/>
                <a:gd name="T111" fmla="*/ 0 h 2171"/>
                <a:gd name="T112" fmla="*/ 0 w 2346"/>
                <a:gd name="T113" fmla="*/ 0 h 2171"/>
                <a:gd name="T114" fmla="*/ 0 w 2346"/>
                <a:gd name="T115" fmla="*/ 0 h 2171"/>
                <a:gd name="T116" fmla="*/ 0 w 2346"/>
                <a:gd name="T117" fmla="*/ 0 h 2171"/>
                <a:gd name="T118" fmla="*/ 0 w 2346"/>
                <a:gd name="T119" fmla="*/ 0 h 2171"/>
                <a:gd name="T120" fmla="*/ 0 w 2346"/>
                <a:gd name="T121" fmla="*/ 0 h 21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46"/>
                <a:gd name="T184" fmla="*/ 0 h 2171"/>
                <a:gd name="T185" fmla="*/ 2346 w 2346"/>
                <a:gd name="T186" fmla="*/ 2171 h 21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46" h="2171">
                  <a:moveTo>
                    <a:pt x="457" y="240"/>
                  </a:moveTo>
                  <a:lnTo>
                    <a:pt x="425" y="242"/>
                  </a:lnTo>
                  <a:lnTo>
                    <a:pt x="394" y="249"/>
                  </a:lnTo>
                  <a:lnTo>
                    <a:pt x="364" y="261"/>
                  </a:lnTo>
                  <a:lnTo>
                    <a:pt x="336" y="278"/>
                  </a:lnTo>
                  <a:lnTo>
                    <a:pt x="311" y="299"/>
                  </a:lnTo>
                  <a:lnTo>
                    <a:pt x="290" y="324"/>
                  </a:lnTo>
                  <a:lnTo>
                    <a:pt x="273" y="352"/>
                  </a:lnTo>
                  <a:lnTo>
                    <a:pt x="261" y="382"/>
                  </a:lnTo>
                  <a:lnTo>
                    <a:pt x="253" y="413"/>
                  </a:lnTo>
                  <a:lnTo>
                    <a:pt x="251" y="445"/>
                  </a:lnTo>
                  <a:lnTo>
                    <a:pt x="254" y="476"/>
                  </a:lnTo>
                  <a:lnTo>
                    <a:pt x="262" y="507"/>
                  </a:lnTo>
                  <a:lnTo>
                    <a:pt x="275" y="538"/>
                  </a:lnTo>
                  <a:lnTo>
                    <a:pt x="293" y="566"/>
                  </a:lnTo>
                  <a:lnTo>
                    <a:pt x="314" y="592"/>
                  </a:lnTo>
                  <a:lnTo>
                    <a:pt x="340" y="615"/>
                  </a:lnTo>
                  <a:lnTo>
                    <a:pt x="369" y="632"/>
                  </a:lnTo>
                  <a:lnTo>
                    <a:pt x="399" y="646"/>
                  </a:lnTo>
                  <a:lnTo>
                    <a:pt x="431" y="653"/>
                  </a:lnTo>
                  <a:lnTo>
                    <a:pt x="462" y="656"/>
                  </a:lnTo>
                  <a:lnTo>
                    <a:pt x="494" y="654"/>
                  </a:lnTo>
                  <a:lnTo>
                    <a:pt x="525" y="648"/>
                  </a:lnTo>
                  <a:lnTo>
                    <a:pt x="555" y="636"/>
                  </a:lnTo>
                  <a:lnTo>
                    <a:pt x="583" y="620"/>
                  </a:lnTo>
                  <a:lnTo>
                    <a:pt x="609" y="598"/>
                  </a:lnTo>
                  <a:lnTo>
                    <a:pt x="631" y="572"/>
                  </a:lnTo>
                  <a:lnTo>
                    <a:pt x="648" y="544"/>
                  </a:lnTo>
                  <a:lnTo>
                    <a:pt x="659" y="514"/>
                  </a:lnTo>
                  <a:lnTo>
                    <a:pt x="666" y="483"/>
                  </a:lnTo>
                  <a:lnTo>
                    <a:pt x="668" y="451"/>
                  </a:lnTo>
                  <a:lnTo>
                    <a:pt x="665" y="419"/>
                  </a:lnTo>
                  <a:lnTo>
                    <a:pt x="657" y="388"/>
                  </a:lnTo>
                  <a:lnTo>
                    <a:pt x="644" y="358"/>
                  </a:lnTo>
                  <a:lnTo>
                    <a:pt x="627" y="329"/>
                  </a:lnTo>
                  <a:lnTo>
                    <a:pt x="604" y="303"/>
                  </a:lnTo>
                  <a:lnTo>
                    <a:pt x="578" y="281"/>
                  </a:lnTo>
                  <a:lnTo>
                    <a:pt x="550" y="263"/>
                  </a:lnTo>
                  <a:lnTo>
                    <a:pt x="520" y="251"/>
                  </a:lnTo>
                  <a:lnTo>
                    <a:pt x="488" y="242"/>
                  </a:lnTo>
                  <a:lnTo>
                    <a:pt x="457" y="240"/>
                  </a:lnTo>
                  <a:close/>
                  <a:moveTo>
                    <a:pt x="644" y="0"/>
                  </a:moveTo>
                  <a:lnTo>
                    <a:pt x="699" y="3"/>
                  </a:lnTo>
                  <a:lnTo>
                    <a:pt x="755" y="11"/>
                  </a:lnTo>
                  <a:lnTo>
                    <a:pt x="810" y="23"/>
                  </a:lnTo>
                  <a:lnTo>
                    <a:pt x="865" y="41"/>
                  </a:lnTo>
                  <a:lnTo>
                    <a:pt x="918" y="64"/>
                  </a:lnTo>
                  <a:lnTo>
                    <a:pt x="968" y="91"/>
                  </a:lnTo>
                  <a:lnTo>
                    <a:pt x="1018" y="122"/>
                  </a:lnTo>
                  <a:lnTo>
                    <a:pt x="1065" y="158"/>
                  </a:lnTo>
                  <a:lnTo>
                    <a:pt x="1110" y="199"/>
                  </a:lnTo>
                  <a:lnTo>
                    <a:pt x="1153" y="247"/>
                  </a:lnTo>
                  <a:lnTo>
                    <a:pt x="1192" y="295"/>
                  </a:lnTo>
                  <a:lnTo>
                    <a:pt x="1224" y="347"/>
                  </a:lnTo>
                  <a:lnTo>
                    <a:pt x="1252" y="400"/>
                  </a:lnTo>
                  <a:lnTo>
                    <a:pt x="1273" y="454"/>
                  </a:lnTo>
                  <a:lnTo>
                    <a:pt x="1291" y="510"/>
                  </a:lnTo>
                  <a:lnTo>
                    <a:pt x="1302" y="566"/>
                  </a:lnTo>
                  <a:lnTo>
                    <a:pt x="1309" y="623"/>
                  </a:lnTo>
                  <a:lnTo>
                    <a:pt x="1309" y="680"/>
                  </a:lnTo>
                  <a:lnTo>
                    <a:pt x="1304" y="737"/>
                  </a:lnTo>
                  <a:lnTo>
                    <a:pt x="1294" y="793"/>
                  </a:lnTo>
                  <a:lnTo>
                    <a:pt x="1279" y="850"/>
                  </a:lnTo>
                  <a:lnTo>
                    <a:pt x="1257" y="905"/>
                  </a:lnTo>
                  <a:lnTo>
                    <a:pt x="2346" y="2010"/>
                  </a:lnTo>
                  <a:lnTo>
                    <a:pt x="2312" y="2171"/>
                  </a:lnTo>
                  <a:lnTo>
                    <a:pt x="1865" y="2145"/>
                  </a:lnTo>
                  <a:lnTo>
                    <a:pt x="1857" y="2138"/>
                  </a:lnTo>
                  <a:lnTo>
                    <a:pt x="1894" y="2054"/>
                  </a:lnTo>
                  <a:lnTo>
                    <a:pt x="1818" y="1993"/>
                  </a:lnTo>
                  <a:lnTo>
                    <a:pt x="1675" y="2053"/>
                  </a:lnTo>
                  <a:lnTo>
                    <a:pt x="1543" y="1922"/>
                  </a:lnTo>
                  <a:lnTo>
                    <a:pt x="1578" y="1782"/>
                  </a:lnTo>
                  <a:lnTo>
                    <a:pt x="1394" y="1790"/>
                  </a:lnTo>
                  <a:lnTo>
                    <a:pt x="1292" y="1682"/>
                  </a:lnTo>
                  <a:lnTo>
                    <a:pt x="1334" y="1514"/>
                  </a:lnTo>
                  <a:lnTo>
                    <a:pt x="1112" y="1528"/>
                  </a:lnTo>
                  <a:lnTo>
                    <a:pt x="992" y="1408"/>
                  </a:lnTo>
                  <a:lnTo>
                    <a:pt x="1089" y="1279"/>
                  </a:lnTo>
                  <a:lnTo>
                    <a:pt x="984" y="1294"/>
                  </a:lnTo>
                  <a:lnTo>
                    <a:pt x="928" y="1256"/>
                  </a:lnTo>
                  <a:lnTo>
                    <a:pt x="876" y="1275"/>
                  </a:lnTo>
                  <a:lnTo>
                    <a:pt x="823" y="1291"/>
                  </a:lnTo>
                  <a:lnTo>
                    <a:pt x="770" y="1300"/>
                  </a:lnTo>
                  <a:lnTo>
                    <a:pt x="715" y="1305"/>
                  </a:lnTo>
                  <a:lnTo>
                    <a:pt x="660" y="1306"/>
                  </a:lnTo>
                  <a:lnTo>
                    <a:pt x="604" y="1302"/>
                  </a:lnTo>
                  <a:lnTo>
                    <a:pt x="549" y="1294"/>
                  </a:lnTo>
                  <a:lnTo>
                    <a:pt x="495" y="1281"/>
                  </a:lnTo>
                  <a:lnTo>
                    <a:pt x="442" y="1264"/>
                  </a:lnTo>
                  <a:lnTo>
                    <a:pt x="390" y="1241"/>
                  </a:lnTo>
                  <a:lnTo>
                    <a:pt x="339" y="1214"/>
                  </a:lnTo>
                  <a:lnTo>
                    <a:pt x="291" y="1183"/>
                  </a:lnTo>
                  <a:lnTo>
                    <a:pt x="244" y="1147"/>
                  </a:lnTo>
                  <a:lnTo>
                    <a:pt x="200" y="1107"/>
                  </a:lnTo>
                  <a:lnTo>
                    <a:pt x="158" y="1062"/>
                  </a:lnTo>
                  <a:lnTo>
                    <a:pt x="122" y="1015"/>
                  </a:lnTo>
                  <a:lnTo>
                    <a:pt x="91" y="965"/>
                  </a:lnTo>
                  <a:lnTo>
                    <a:pt x="64" y="914"/>
                  </a:lnTo>
                  <a:lnTo>
                    <a:pt x="41" y="862"/>
                  </a:lnTo>
                  <a:lnTo>
                    <a:pt x="25" y="807"/>
                  </a:lnTo>
                  <a:lnTo>
                    <a:pt x="11" y="752"/>
                  </a:lnTo>
                  <a:lnTo>
                    <a:pt x="3" y="697"/>
                  </a:lnTo>
                  <a:lnTo>
                    <a:pt x="0" y="641"/>
                  </a:lnTo>
                  <a:lnTo>
                    <a:pt x="2" y="586"/>
                  </a:lnTo>
                  <a:lnTo>
                    <a:pt x="8" y="531"/>
                  </a:lnTo>
                  <a:lnTo>
                    <a:pt x="19" y="476"/>
                  </a:lnTo>
                  <a:lnTo>
                    <a:pt x="34" y="422"/>
                  </a:lnTo>
                  <a:lnTo>
                    <a:pt x="55" y="371"/>
                  </a:lnTo>
                  <a:lnTo>
                    <a:pt x="81" y="320"/>
                  </a:lnTo>
                  <a:lnTo>
                    <a:pt x="111" y="271"/>
                  </a:lnTo>
                  <a:lnTo>
                    <a:pt x="145" y="226"/>
                  </a:lnTo>
                  <a:lnTo>
                    <a:pt x="185" y="183"/>
                  </a:lnTo>
                  <a:lnTo>
                    <a:pt x="229" y="143"/>
                  </a:lnTo>
                  <a:lnTo>
                    <a:pt x="274" y="108"/>
                  </a:lnTo>
                  <a:lnTo>
                    <a:pt x="323" y="79"/>
                  </a:lnTo>
                  <a:lnTo>
                    <a:pt x="372" y="53"/>
                  </a:lnTo>
                  <a:lnTo>
                    <a:pt x="425" y="34"/>
                  </a:lnTo>
                  <a:lnTo>
                    <a:pt x="478" y="18"/>
                  </a:lnTo>
                  <a:lnTo>
                    <a:pt x="533" y="7"/>
                  </a:lnTo>
                  <a:lnTo>
                    <a:pt x="589" y="1"/>
                  </a:lnTo>
                  <a:lnTo>
                    <a:pt x="644"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38" name="Freeform 74"/>
            <p:cNvSpPr>
              <a:spLocks noChangeArrowheads="1"/>
            </p:cNvSpPr>
            <p:nvPr/>
          </p:nvSpPr>
          <p:spPr bwMode="auto">
            <a:xfrm>
              <a:off x="4536" y="1214"/>
              <a:ext cx="168" cy="281"/>
            </a:xfrm>
            <a:custGeom>
              <a:avLst/>
              <a:gdLst>
                <a:gd name="T0" fmla="*/ 0 w 1525"/>
                <a:gd name="T1" fmla="*/ 0 h 2537"/>
                <a:gd name="T2" fmla="*/ 0 w 1525"/>
                <a:gd name="T3" fmla="*/ 0 h 2537"/>
                <a:gd name="T4" fmla="*/ 0 w 1525"/>
                <a:gd name="T5" fmla="*/ 0 h 2537"/>
                <a:gd name="T6" fmla="*/ 0 w 1525"/>
                <a:gd name="T7" fmla="*/ 0 h 2537"/>
                <a:gd name="T8" fmla="*/ 0 w 1525"/>
                <a:gd name="T9" fmla="*/ 0 h 2537"/>
                <a:gd name="T10" fmla="*/ 0 w 1525"/>
                <a:gd name="T11" fmla="*/ 0 h 2537"/>
                <a:gd name="T12" fmla="*/ 0 w 1525"/>
                <a:gd name="T13" fmla="*/ 0 h 2537"/>
                <a:gd name="T14" fmla="*/ 0 w 1525"/>
                <a:gd name="T15" fmla="*/ 0 h 2537"/>
                <a:gd name="T16" fmla="*/ 0 w 1525"/>
                <a:gd name="T17" fmla="*/ 0 h 2537"/>
                <a:gd name="T18" fmla="*/ 0 w 1525"/>
                <a:gd name="T19" fmla="*/ 0 h 2537"/>
                <a:gd name="T20" fmla="*/ 0 w 1525"/>
                <a:gd name="T21" fmla="*/ 0 h 2537"/>
                <a:gd name="T22" fmla="*/ 0 w 1525"/>
                <a:gd name="T23" fmla="*/ 0 h 2537"/>
                <a:gd name="T24" fmla="*/ 0 w 1525"/>
                <a:gd name="T25" fmla="*/ 0 h 2537"/>
                <a:gd name="T26" fmla="*/ 0 w 1525"/>
                <a:gd name="T27" fmla="*/ 0 h 2537"/>
                <a:gd name="T28" fmla="*/ 0 w 1525"/>
                <a:gd name="T29" fmla="*/ 0 h 2537"/>
                <a:gd name="T30" fmla="*/ 0 w 1525"/>
                <a:gd name="T31" fmla="*/ 0 h 2537"/>
                <a:gd name="T32" fmla="*/ 0 w 1525"/>
                <a:gd name="T33" fmla="*/ 0 h 2537"/>
                <a:gd name="T34" fmla="*/ 0 w 1525"/>
                <a:gd name="T35" fmla="*/ 0 h 2537"/>
                <a:gd name="T36" fmla="*/ 0 w 1525"/>
                <a:gd name="T37" fmla="*/ 0 h 2537"/>
                <a:gd name="T38" fmla="*/ 0 w 1525"/>
                <a:gd name="T39" fmla="*/ 0 h 2537"/>
                <a:gd name="T40" fmla="*/ 0 w 1525"/>
                <a:gd name="T41" fmla="*/ 0 h 2537"/>
                <a:gd name="T42" fmla="*/ 0 w 1525"/>
                <a:gd name="T43" fmla="*/ 0 h 2537"/>
                <a:gd name="T44" fmla="*/ 0 w 1525"/>
                <a:gd name="T45" fmla="*/ 0 h 2537"/>
                <a:gd name="T46" fmla="*/ 0 w 1525"/>
                <a:gd name="T47" fmla="*/ 0 h 2537"/>
                <a:gd name="T48" fmla="*/ 0 w 1525"/>
                <a:gd name="T49" fmla="*/ 0 h 2537"/>
                <a:gd name="T50" fmla="*/ 0 w 1525"/>
                <a:gd name="T51" fmla="*/ 0 h 2537"/>
                <a:gd name="T52" fmla="*/ 0 w 1525"/>
                <a:gd name="T53" fmla="*/ 0 h 2537"/>
                <a:gd name="T54" fmla="*/ 0 w 1525"/>
                <a:gd name="T55" fmla="*/ 0 h 2537"/>
                <a:gd name="T56" fmla="*/ 0 w 1525"/>
                <a:gd name="T57" fmla="*/ 0 h 2537"/>
                <a:gd name="T58" fmla="*/ 0 w 1525"/>
                <a:gd name="T59" fmla="*/ 0 h 2537"/>
                <a:gd name="T60" fmla="*/ 0 w 1525"/>
                <a:gd name="T61" fmla="*/ 0 h 2537"/>
                <a:gd name="T62" fmla="*/ 0 w 1525"/>
                <a:gd name="T63" fmla="*/ 0 h 2537"/>
                <a:gd name="T64" fmla="*/ 0 w 1525"/>
                <a:gd name="T65" fmla="*/ 0 h 2537"/>
                <a:gd name="T66" fmla="*/ 0 w 1525"/>
                <a:gd name="T67" fmla="*/ 0 h 25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5"/>
                <a:gd name="T103" fmla="*/ 0 h 2537"/>
                <a:gd name="T104" fmla="*/ 1525 w 1525"/>
                <a:gd name="T105" fmla="*/ 2537 h 253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5" h="2537">
                  <a:moveTo>
                    <a:pt x="150" y="0"/>
                  </a:moveTo>
                  <a:lnTo>
                    <a:pt x="140" y="50"/>
                  </a:lnTo>
                  <a:lnTo>
                    <a:pt x="132" y="99"/>
                  </a:lnTo>
                  <a:lnTo>
                    <a:pt x="127" y="149"/>
                  </a:lnTo>
                  <a:lnTo>
                    <a:pt x="126" y="201"/>
                  </a:lnTo>
                  <a:lnTo>
                    <a:pt x="129" y="265"/>
                  </a:lnTo>
                  <a:lnTo>
                    <a:pt x="138" y="328"/>
                  </a:lnTo>
                  <a:lnTo>
                    <a:pt x="151" y="391"/>
                  </a:lnTo>
                  <a:lnTo>
                    <a:pt x="169" y="452"/>
                  </a:lnTo>
                  <a:lnTo>
                    <a:pt x="192" y="511"/>
                  </a:lnTo>
                  <a:lnTo>
                    <a:pt x="219" y="569"/>
                  </a:lnTo>
                  <a:lnTo>
                    <a:pt x="251" y="624"/>
                  </a:lnTo>
                  <a:lnTo>
                    <a:pt x="287" y="677"/>
                  </a:lnTo>
                  <a:lnTo>
                    <a:pt x="327" y="728"/>
                  </a:lnTo>
                  <a:lnTo>
                    <a:pt x="372" y="776"/>
                  </a:lnTo>
                  <a:lnTo>
                    <a:pt x="421" y="822"/>
                  </a:lnTo>
                  <a:lnTo>
                    <a:pt x="473" y="863"/>
                  </a:lnTo>
                  <a:lnTo>
                    <a:pt x="528" y="899"/>
                  </a:lnTo>
                  <a:lnTo>
                    <a:pt x="585" y="931"/>
                  </a:lnTo>
                  <a:lnTo>
                    <a:pt x="644" y="959"/>
                  </a:lnTo>
                  <a:lnTo>
                    <a:pt x="705" y="982"/>
                  </a:lnTo>
                  <a:lnTo>
                    <a:pt x="768" y="1000"/>
                  </a:lnTo>
                  <a:lnTo>
                    <a:pt x="832" y="1013"/>
                  </a:lnTo>
                  <a:lnTo>
                    <a:pt x="897" y="1020"/>
                  </a:lnTo>
                  <a:lnTo>
                    <a:pt x="964" y="1023"/>
                  </a:lnTo>
                  <a:lnTo>
                    <a:pt x="1028" y="1020"/>
                  </a:lnTo>
                  <a:lnTo>
                    <a:pt x="1091" y="1013"/>
                  </a:lnTo>
                  <a:lnTo>
                    <a:pt x="1525" y="2409"/>
                  </a:lnTo>
                  <a:lnTo>
                    <a:pt x="1421" y="2537"/>
                  </a:lnTo>
                  <a:lnTo>
                    <a:pt x="1036" y="2308"/>
                  </a:lnTo>
                  <a:lnTo>
                    <a:pt x="1032" y="2299"/>
                  </a:lnTo>
                  <a:lnTo>
                    <a:pt x="1103" y="2241"/>
                  </a:lnTo>
                  <a:lnTo>
                    <a:pt x="1064" y="2152"/>
                  </a:lnTo>
                  <a:lnTo>
                    <a:pt x="909" y="2141"/>
                  </a:lnTo>
                  <a:lnTo>
                    <a:pt x="853" y="1964"/>
                  </a:lnTo>
                  <a:lnTo>
                    <a:pt x="948" y="1854"/>
                  </a:lnTo>
                  <a:lnTo>
                    <a:pt x="781" y="1777"/>
                  </a:lnTo>
                  <a:lnTo>
                    <a:pt x="739" y="1635"/>
                  </a:lnTo>
                  <a:lnTo>
                    <a:pt x="854" y="1504"/>
                  </a:lnTo>
                  <a:lnTo>
                    <a:pt x="649" y="1416"/>
                  </a:lnTo>
                  <a:lnTo>
                    <a:pt x="598" y="1254"/>
                  </a:lnTo>
                  <a:lnTo>
                    <a:pt x="743" y="1185"/>
                  </a:lnTo>
                  <a:lnTo>
                    <a:pt x="643" y="1149"/>
                  </a:lnTo>
                  <a:lnTo>
                    <a:pt x="611" y="1089"/>
                  </a:lnTo>
                  <a:lnTo>
                    <a:pt x="557" y="1083"/>
                  </a:lnTo>
                  <a:lnTo>
                    <a:pt x="503" y="1072"/>
                  </a:lnTo>
                  <a:lnTo>
                    <a:pt x="450" y="1056"/>
                  </a:lnTo>
                  <a:lnTo>
                    <a:pt x="399" y="1036"/>
                  </a:lnTo>
                  <a:lnTo>
                    <a:pt x="350" y="1011"/>
                  </a:lnTo>
                  <a:lnTo>
                    <a:pt x="303" y="983"/>
                  </a:lnTo>
                  <a:lnTo>
                    <a:pt x="257" y="950"/>
                  </a:lnTo>
                  <a:lnTo>
                    <a:pt x="216" y="914"/>
                  </a:lnTo>
                  <a:lnTo>
                    <a:pt x="176" y="873"/>
                  </a:lnTo>
                  <a:lnTo>
                    <a:pt x="140" y="830"/>
                  </a:lnTo>
                  <a:lnTo>
                    <a:pt x="107" y="782"/>
                  </a:lnTo>
                  <a:lnTo>
                    <a:pt x="78" y="733"/>
                  </a:lnTo>
                  <a:lnTo>
                    <a:pt x="53" y="679"/>
                  </a:lnTo>
                  <a:lnTo>
                    <a:pt x="33" y="623"/>
                  </a:lnTo>
                  <a:lnTo>
                    <a:pt x="16" y="561"/>
                  </a:lnTo>
                  <a:lnTo>
                    <a:pt x="6" y="500"/>
                  </a:lnTo>
                  <a:lnTo>
                    <a:pt x="0" y="438"/>
                  </a:lnTo>
                  <a:lnTo>
                    <a:pt x="1" y="378"/>
                  </a:lnTo>
                  <a:lnTo>
                    <a:pt x="8" y="318"/>
                  </a:lnTo>
                  <a:lnTo>
                    <a:pt x="19" y="260"/>
                  </a:lnTo>
                  <a:lnTo>
                    <a:pt x="37" y="204"/>
                  </a:lnTo>
                  <a:lnTo>
                    <a:pt x="57" y="149"/>
                  </a:lnTo>
                  <a:lnTo>
                    <a:pt x="84" y="97"/>
                  </a:lnTo>
                  <a:lnTo>
                    <a:pt x="115" y="48"/>
                  </a:lnTo>
                  <a:lnTo>
                    <a:pt x="15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39" name="Freeform 75"/>
            <p:cNvSpPr>
              <a:spLocks noChangeArrowheads="1"/>
            </p:cNvSpPr>
            <p:nvPr/>
          </p:nvSpPr>
          <p:spPr bwMode="auto">
            <a:xfrm>
              <a:off x="4471" y="1124"/>
              <a:ext cx="155" cy="150"/>
            </a:xfrm>
            <a:custGeom>
              <a:avLst/>
              <a:gdLst>
                <a:gd name="T0" fmla="*/ 0 w 1408"/>
                <a:gd name="T1" fmla="*/ 0 h 1356"/>
                <a:gd name="T2" fmla="*/ 0 w 1408"/>
                <a:gd name="T3" fmla="*/ 0 h 1356"/>
                <a:gd name="T4" fmla="*/ 0 w 1408"/>
                <a:gd name="T5" fmla="*/ 0 h 1356"/>
                <a:gd name="T6" fmla="*/ 0 w 1408"/>
                <a:gd name="T7" fmla="*/ 0 h 1356"/>
                <a:gd name="T8" fmla="*/ 0 w 1408"/>
                <a:gd name="T9" fmla="*/ 0 h 1356"/>
                <a:gd name="T10" fmla="*/ 0 w 1408"/>
                <a:gd name="T11" fmla="*/ 0 h 1356"/>
                <a:gd name="T12" fmla="*/ 0 w 1408"/>
                <a:gd name="T13" fmla="*/ 0 h 1356"/>
                <a:gd name="T14" fmla="*/ 0 w 1408"/>
                <a:gd name="T15" fmla="*/ 0 h 1356"/>
                <a:gd name="T16" fmla="*/ 0 w 1408"/>
                <a:gd name="T17" fmla="*/ 0 h 1356"/>
                <a:gd name="T18" fmla="*/ 0 w 1408"/>
                <a:gd name="T19" fmla="*/ 0 h 1356"/>
                <a:gd name="T20" fmla="*/ 0 w 1408"/>
                <a:gd name="T21" fmla="*/ 0 h 1356"/>
                <a:gd name="T22" fmla="*/ 0 w 1408"/>
                <a:gd name="T23" fmla="*/ 0 h 1356"/>
                <a:gd name="T24" fmla="*/ 0 w 1408"/>
                <a:gd name="T25" fmla="*/ 0 h 1356"/>
                <a:gd name="T26" fmla="*/ 0 w 1408"/>
                <a:gd name="T27" fmla="*/ 0 h 1356"/>
                <a:gd name="T28" fmla="*/ 0 w 1408"/>
                <a:gd name="T29" fmla="*/ 0 h 1356"/>
                <a:gd name="T30" fmla="*/ 0 w 1408"/>
                <a:gd name="T31" fmla="*/ 0 h 1356"/>
                <a:gd name="T32" fmla="*/ 0 w 1408"/>
                <a:gd name="T33" fmla="*/ 0 h 1356"/>
                <a:gd name="T34" fmla="*/ 0 w 1408"/>
                <a:gd name="T35" fmla="*/ 0 h 1356"/>
                <a:gd name="T36" fmla="*/ 0 w 1408"/>
                <a:gd name="T37" fmla="*/ 0 h 1356"/>
                <a:gd name="T38" fmla="*/ 0 w 1408"/>
                <a:gd name="T39" fmla="*/ 0 h 1356"/>
                <a:gd name="T40" fmla="*/ 0 w 1408"/>
                <a:gd name="T41" fmla="*/ 0 h 1356"/>
                <a:gd name="T42" fmla="*/ 0 w 1408"/>
                <a:gd name="T43" fmla="*/ 0 h 1356"/>
                <a:gd name="T44" fmla="*/ 0 w 1408"/>
                <a:gd name="T45" fmla="*/ 0 h 1356"/>
                <a:gd name="T46" fmla="*/ 0 w 1408"/>
                <a:gd name="T47" fmla="*/ 0 h 1356"/>
                <a:gd name="T48" fmla="*/ 0 w 1408"/>
                <a:gd name="T49" fmla="*/ 0 h 1356"/>
                <a:gd name="T50" fmla="*/ 0 w 1408"/>
                <a:gd name="T51" fmla="*/ 0 h 1356"/>
                <a:gd name="T52" fmla="*/ 0 w 1408"/>
                <a:gd name="T53" fmla="*/ 0 h 1356"/>
                <a:gd name="T54" fmla="*/ 0 w 1408"/>
                <a:gd name="T55" fmla="*/ 0 h 1356"/>
                <a:gd name="T56" fmla="*/ 0 w 1408"/>
                <a:gd name="T57" fmla="*/ 0 h 1356"/>
                <a:gd name="T58" fmla="*/ 0 w 1408"/>
                <a:gd name="T59" fmla="*/ 0 h 1356"/>
                <a:gd name="T60" fmla="*/ 0 w 1408"/>
                <a:gd name="T61" fmla="*/ 0 h 1356"/>
                <a:gd name="T62" fmla="*/ 0 w 1408"/>
                <a:gd name="T63" fmla="*/ 0 h 1356"/>
                <a:gd name="T64" fmla="*/ 0 w 1408"/>
                <a:gd name="T65" fmla="*/ 0 h 1356"/>
                <a:gd name="T66" fmla="*/ 0 w 1408"/>
                <a:gd name="T67" fmla="*/ 0 h 1356"/>
                <a:gd name="T68" fmla="*/ 0 w 1408"/>
                <a:gd name="T69" fmla="*/ 0 h 1356"/>
                <a:gd name="T70" fmla="*/ 0 w 1408"/>
                <a:gd name="T71" fmla="*/ 0 h 1356"/>
                <a:gd name="T72" fmla="*/ 0 w 1408"/>
                <a:gd name="T73" fmla="*/ 0 h 1356"/>
                <a:gd name="T74" fmla="*/ 0 w 1408"/>
                <a:gd name="T75" fmla="*/ 0 h 1356"/>
                <a:gd name="T76" fmla="*/ 0 w 1408"/>
                <a:gd name="T77" fmla="*/ 0 h 1356"/>
                <a:gd name="T78" fmla="*/ 0 w 1408"/>
                <a:gd name="T79" fmla="*/ 0 h 1356"/>
                <a:gd name="T80" fmla="*/ 0 w 1408"/>
                <a:gd name="T81" fmla="*/ 0 h 1356"/>
                <a:gd name="T82" fmla="*/ 0 w 1408"/>
                <a:gd name="T83" fmla="*/ 0 h 1356"/>
                <a:gd name="T84" fmla="*/ 0 w 1408"/>
                <a:gd name="T85" fmla="*/ 0 h 1356"/>
                <a:gd name="T86" fmla="*/ 0 w 1408"/>
                <a:gd name="T87" fmla="*/ 0 h 1356"/>
                <a:gd name="T88" fmla="*/ 0 w 1408"/>
                <a:gd name="T89" fmla="*/ 0 h 1356"/>
                <a:gd name="T90" fmla="*/ 0 w 1408"/>
                <a:gd name="T91" fmla="*/ 0 h 1356"/>
                <a:gd name="T92" fmla="*/ 0 w 1408"/>
                <a:gd name="T93" fmla="*/ 0 h 1356"/>
                <a:gd name="T94" fmla="*/ 0 w 1408"/>
                <a:gd name="T95" fmla="*/ 0 h 1356"/>
                <a:gd name="T96" fmla="*/ 0 w 1408"/>
                <a:gd name="T97" fmla="*/ 0 h 1356"/>
                <a:gd name="T98" fmla="*/ 0 w 1408"/>
                <a:gd name="T99" fmla="*/ 0 h 1356"/>
                <a:gd name="T100" fmla="*/ 0 w 1408"/>
                <a:gd name="T101" fmla="*/ 0 h 1356"/>
                <a:gd name="T102" fmla="*/ 0 w 1408"/>
                <a:gd name="T103" fmla="*/ 0 h 1356"/>
                <a:gd name="T104" fmla="*/ 0 w 1408"/>
                <a:gd name="T105" fmla="*/ 0 h 1356"/>
                <a:gd name="T106" fmla="*/ 0 w 1408"/>
                <a:gd name="T107" fmla="*/ 0 h 1356"/>
                <a:gd name="T108" fmla="*/ 0 w 1408"/>
                <a:gd name="T109" fmla="*/ 0 h 1356"/>
                <a:gd name="T110" fmla="*/ 0 w 1408"/>
                <a:gd name="T111" fmla="*/ 0 h 1356"/>
                <a:gd name="T112" fmla="*/ 0 w 1408"/>
                <a:gd name="T113" fmla="*/ 0 h 13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08"/>
                <a:gd name="T172" fmla="*/ 0 h 1356"/>
                <a:gd name="T173" fmla="*/ 1408 w 1408"/>
                <a:gd name="T174" fmla="*/ 1356 h 13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08" h="1356">
                  <a:moveTo>
                    <a:pt x="703" y="0"/>
                  </a:moveTo>
                  <a:lnTo>
                    <a:pt x="772" y="3"/>
                  </a:lnTo>
                  <a:lnTo>
                    <a:pt x="838" y="12"/>
                  </a:lnTo>
                  <a:lnTo>
                    <a:pt x="901" y="28"/>
                  </a:lnTo>
                  <a:lnTo>
                    <a:pt x="963" y="48"/>
                  </a:lnTo>
                  <a:lnTo>
                    <a:pt x="1022" y="75"/>
                  </a:lnTo>
                  <a:lnTo>
                    <a:pt x="1077" y="106"/>
                  </a:lnTo>
                  <a:lnTo>
                    <a:pt x="1130" y="142"/>
                  </a:lnTo>
                  <a:lnTo>
                    <a:pt x="1178" y="184"/>
                  </a:lnTo>
                  <a:lnTo>
                    <a:pt x="1224" y="228"/>
                  </a:lnTo>
                  <a:lnTo>
                    <a:pt x="1264" y="278"/>
                  </a:lnTo>
                  <a:lnTo>
                    <a:pt x="1300" y="329"/>
                  </a:lnTo>
                  <a:lnTo>
                    <a:pt x="1332" y="385"/>
                  </a:lnTo>
                  <a:lnTo>
                    <a:pt x="1359" y="444"/>
                  </a:lnTo>
                  <a:lnTo>
                    <a:pt x="1380" y="506"/>
                  </a:lnTo>
                  <a:lnTo>
                    <a:pt x="1396" y="569"/>
                  </a:lnTo>
                  <a:lnTo>
                    <a:pt x="1405" y="635"/>
                  </a:lnTo>
                  <a:lnTo>
                    <a:pt x="1408" y="703"/>
                  </a:lnTo>
                  <a:lnTo>
                    <a:pt x="1407" y="748"/>
                  </a:lnTo>
                  <a:lnTo>
                    <a:pt x="1402" y="791"/>
                  </a:lnTo>
                  <a:lnTo>
                    <a:pt x="1396" y="834"/>
                  </a:lnTo>
                  <a:lnTo>
                    <a:pt x="1388" y="845"/>
                  </a:lnTo>
                  <a:lnTo>
                    <a:pt x="1380" y="856"/>
                  </a:lnTo>
                  <a:lnTo>
                    <a:pt x="1371" y="864"/>
                  </a:lnTo>
                  <a:lnTo>
                    <a:pt x="1358" y="870"/>
                  </a:lnTo>
                  <a:lnTo>
                    <a:pt x="1344" y="872"/>
                  </a:lnTo>
                  <a:lnTo>
                    <a:pt x="1327" y="871"/>
                  </a:lnTo>
                  <a:lnTo>
                    <a:pt x="1310" y="866"/>
                  </a:lnTo>
                  <a:lnTo>
                    <a:pt x="1296" y="859"/>
                  </a:lnTo>
                  <a:lnTo>
                    <a:pt x="1286" y="849"/>
                  </a:lnTo>
                  <a:lnTo>
                    <a:pt x="1278" y="839"/>
                  </a:lnTo>
                  <a:lnTo>
                    <a:pt x="1272" y="827"/>
                  </a:lnTo>
                  <a:lnTo>
                    <a:pt x="1269" y="814"/>
                  </a:lnTo>
                  <a:lnTo>
                    <a:pt x="1276" y="778"/>
                  </a:lnTo>
                  <a:lnTo>
                    <a:pt x="1280" y="741"/>
                  </a:lnTo>
                  <a:lnTo>
                    <a:pt x="1282" y="703"/>
                  </a:lnTo>
                  <a:lnTo>
                    <a:pt x="1279" y="644"/>
                  </a:lnTo>
                  <a:lnTo>
                    <a:pt x="1269" y="587"/>
                  </a:lnTo>
                  <a:lnTo>
                    <a:pt x="1256" y="532"/>
                  </a:lnTo>
                  <a:lnTo>
                    <a:pt x="1236" y="478"/>
                  </a:lnTo>
                  <a:lnTo>
                    <a:pt x="1211" y="429"/>
                  </a:lnTo>
                  <a:lnTo>
                    <a:pt x="1182" y="381"/>
                  </a:lnTo>
                  <a:lnTo>
                    <a:pt x="1149" y="337"/>
                  </a:lnTo>
                  <a:lnTo>
                    <a:pt x="1112" y="295"/>
                  </a:lnTo>
                  <a:lnTo>
                    <a:pt x="1071" y="258"/>
                  </a:lnTo>
                  <a:lnTo>
                    <a:pt x="1026" y="225"/>
                  </a:lnTo>
                  <a:lnTo>
                    <a:pt x="979" y="196"/>
                  </a:lnTo>
                  <a:lnTo>
                    <a:pt x="929" y="171"/>
                  </a:lnTo>
                  <a:lnTo>
                    <a:pt x="875" y="152"/>
                  </a:lnTo>
                  <a:lnTo>
                    <a:pt x="820" y="138"/>
                  </a:lnTo>
                  <a:lnTo>
                    <a:pt x="762" y="129"/>
                  </a:lnTo>
                  <a:lnTo>
                    <a:pt x="703" y="126"/>
                  </a:lnTo>
                  <a:lnTo>
                    <a:pt x="644" y="129"/>
                  </a:lnTo>
                  <a:lnTo>
                    <a:pt x="588" y="138"/>
                  </a:lnTo>
                  <a:lnTo>
                    <a:pt x="533" y="152"/>
                  </a:lnTo>
                  <a:lnTo>
                    <a:pt x="479" y="171"/>
                  </a:lnTo>
                  <a:lnTo>
                    <a:pt x="429" y="196"/>
                  </a:lnTo>
                  <a:lnTo>
                    <a:pt x="381" y="225"/>
                  </a:lnTo>
                  <a:lnTo>
                    <a:pt x="336" y="258"/>
                  </a:lnTo>
                  <a:lnTo>
                    <a:pt x="296" y="295"/>
                  </a:lnTo>
                  <a:lnTo>
                    <a:pt x="259" y="337"/>
                  </a:lnTo>
                  <a:lnTo>
                    <a:pt x="226" y="381"/>
                  </a:lnTo>
                  <a:lnTo>
                    <a:pt x="197" y="429"/>
                  </a:lnTo>
                  <a:lnTo>
                    <a:pt x="172" y="478"/>
                  </a:lnTo>
                  <a:lnTo>
                    <a:pt x="152" y="532"/>
                  </a:lnTo>
                  <a:lnTo>
                    <a:pt x="138" y="587"/>
                  </a:lnTo>
                  <a:lnTo>
                    <a:pt x="129" y="644"/>
                  </a:lnTo>
                  <a:lnTo>
                    <a:pt x="126" y="703"/>
                  </a:lnTo>
                  <a:lnTo>
                    <a:pt x="129" y="764"/>
                  </a:lnTo>
                  <a:lnTo>
                    <a:pt x="139" y="822"/>
                  </a:lnTo>
                  <a:lnTo>
                    <a:pt x="154" y="879"/>
                  </a:lnTo>
                  <a:lnTo>
                    <a:pt x="176" y="933"/>
                  </a:lnTo>
                  <a:lnTo>
                    <a:pt x="202" y="985"/>
                  </a:lnTo>
                  <a:lnTo>
                    <a:pt x="233" y="1032"/>
                  </a:lnTo>
                  <a:lnTo>
                    <a:pt x="268" y="1077"/>
                  </a:lnTo>
                  <a:lnTo>
                    <a:pt x="308" y="1118"/>
                  </a:lnTo>
                  <a:lnTo>
                    <a:pt x="352" y="1154"/>
                  </a:lnTo>
                  <a:lnTo>
                    <a:pt x="399" y="1187"/>
                  </a:lnTo>
                  <a:lnTo>
                    <a:pt x="449" y="1215"/>
                  </a:lnTo>
                  <a:lnTo>
                    <a:pt x="449" y="1252"/>
                  </a:lnTo>
                  <a:lnTo>
                    <a:pt x="451" y="1290"/>
                  </a:lnTo>
                  <a:lnTo>
                    <a:pt x="455" y="1323"/>
                  </a:lnTo>
                  <a:lnTo>
                    <a:pt x="459" y="1356"/>
                  </a:lnTo>
                  <a:lnTo>
                    <a:pt x="403" y="1332"/>
                  </a:lnTo>
                  <a:lnTo>
                    <a:pt x="350" y="1304"/>
                  </a:lnTo>
                  <a:lnTo>
                    <a:pt x="299" y="1272"/>
                  </a:lnTo>
                  <a:lnTo>
                    <a:pt x="251" y="1236"/>
                  </a:lnTo>
                  <a:lnTo>
                    <a:pt x="207" y="1196"/>
                  </a:lnTo>
                  <a:lnTo>
                    <a:pt x="167" y="1152"/>
                  </a:lnTo>
                  <a:lnTo>
                    <a:pt x="129" y="1105"/>
                  </a:lnTo>
                  <a:lnTo>
                    <a:pt x="96" y="1055"/>
                  </a:lnTo>
                  <a:lnTo>
                    <a:pt x="68" y="1002"/>
                  </a:lnTo>
                  <a:lnTo>
                    <a:pt x="44" y="946"/>
                  </a:lnTo>
                  <a:lnTo>
                    <a:pt x="25" y="889"/>
                  </a:lnTo>
                  <a:lnTo>
                    <a:pt x="11" y="829"/>
                  </a:lnTo>
                  <a:lnTo>
                    <a:pt x="2" y="767"/>
                  </a:lnTo>
                  <a:lnTo>
                    <a:pt x="0" y="703"/>
                  </a:lnTo>
                  <a:lnTo>
                    <a:pt x="3" y="635"/>
                  </a:lnTo>
                  <a:lnTo>
                    <a:pt x="12" y="569"/>
                  </a:lnTo>
                  <a:lnTo>
                    <a:pt x="28" y="506"/>
                  </a:lnTo>
                  <a:lnTo>
                    <a:pt x="49" y="444"/>
                  </a:lnTo>
                  <a:lnTo>
                    <a:pt x="76" y="385"/>
                  </a:lnTo>
                  <a:lnTo>
                    <a:pt x="107" y="329"/>
                  </a:lnTo>
                  <a:lnTo>
                    <a:pt x="143" y="278"/>
                  </a:lnTo>
                  <a:lnTo>
                    <a:pt x="184" y="228"/>
                  </a:lnTo>
                  <a:lnTo>
                    <a:pt x="229" y="184"/>
                  </a:lnTo>
                  <a:lnTo>
                    <a:pt x="278" y="142"/>
                  </a:lnTo>
                  <a:lnTo>
                    <a:pt x="330" y="106"/>
                  </a:lnTo>
                  <a:lnTo>
                    <a:pt x="386" y="75"/>
                  </a:lnTo>
                  <a:lnTo>
                    <a:pt x="445" y="48"/>
                  </a:lnTo>
                  <a:lnTo>
                    <a:pt x="507" y="28"/>
                  </a:lnTo>
                  <a:lnTo>
                    <a:pt x="570" y="12"/>
                  </a:lnTo>
                  <a:lnTo>
                    <a:pt x="636" y="3"/>
                  </a:lnTo>
                  <a:lnTo>
                    <a:pt x="703"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grpSp>
        <p:nvGrpSpPr>
          <p:cNvPr id="26" name="Group 153"/>
          <p:cNvGrpSpPr>
            <a:grpSpLocks/>
          </p:cNvGrpSpPr>
          <p:nvPr/>
        </p:nvGrpSpPr>
        <p:grpSpPr bwMode="auto">
          <a:xfrm>
            <a:off x="6433913" y="1500177"/>
            <a:ext cx="466695" cy="531069"/>
            <a:chOff x="2619" y="3056"/>
            <a:chExt cx="230" cy="383"/>
          </a:xfrm>
          <a:solidFill>
            <a:schemeClr val="accent2"/>
          </a:solidFill>
        </p:grpSpPr>
        <p:sp>
          <p:nvSpPr>
            <p:cNvPr id="48" name="Freeform 154"/>
            <p:cNvSpPr>
              <a:spLocks noChangeArrowheads="1"/>
            </p:cNvSpPr>
            <p:nvPr/>
          </p:nvSpPr>
          <p:spPr bwMode="auto">
            <a:xfrm>
              <a:off x="2619" y="3230"/>
              <a:ext cx="125" cy="209"/>
            </a:xfrm>
            <a:custGeom>
              <a:avLst/>
              <a:gdLst>
                <a:gd name="T0" fmla="*/ 0 w 1136"/>
                <a:gd name="T1" fmla="*/ 0 h 1888"/>
                <a:gd name="T2" fmla="*/ 0 w 1136"/>
                <a:gd name="T3" fmla="*/ 0 h 1888"/>
                <a:gd name="T4" fmla="*/ 0 w 1136"/>
                <a:gd name="T5" fmla="*/ 0 h 1888"/>
                <a:gd name="T6" fmla="*/ 0 w 1136"/>
                <a:gd name="T7" fmla="*/ 0 h 1888"/>
                <a:gd name="T8" fmla="*/ 0 w 1136"/>
                <a:gd name="T9" fmla="*/ 0 h 1888"/>
                <a:gd name="T10" fmla="*/ 0 w 1136"/>
                <a:gd name="T11" fmla="*/ 0 h 1888"/>
                <a:gd name="T12" fmla="*/ 0 w 1136"/>
                <a:gd name="T13" fmla="*/ 0 h 1888"/>
                <a:gd name="T14" fmla="*/ 0 w 1136"/>
                <a:gd name="T15" fmla="*/ 0 h 1888"/>
                <a:gd name="T16" fmla="*/ 0 w 1136"/>
                <a:gd name="T17" fmla="*/ 0 h 1888"/>
                <a:gd name="T18" fmla="*/ 0 w 1136"/>
                <a:gd name="T19" fmla="*/ 0 h 1888"/>
                <a:gd name="T20" fmla="*/ 0 w 1136"/>
                <a:gd name="T21" fmla="*/ 0 h 1888"/>
                <a:gd name="T22" fmla="*/ 0 w 1136"/>
                <a:gd name="T23" fmla="*/ 0 h 1888"/>
                <a:gd name="T24" fmla="*/ 0 w 1136"/>
                <a:gd name="T25" fmla="*/ 0 h 1888"/>
                <a:gd name="T26" fmla="*/ 0 w 1136"/>
                <a:gd name="T27" fmla="*/ 0 h 1888"/>
                <a:gd name="T28" fmla="*/ 0 w 1136"/>
                <a:gd name="T29" fmla="*/ 0 h 1888"/>
                <a:gd name="T30" fmla="*/ 0 w 1136"/>
                <a:gd name="T31" fmla="*/ 0 h 1888"/>
                <a:gd name="T32" fmla="*/ 0 w 1136"/>
                <a:gd name="T33" fmla="*/ 0 h 1888"/>
                <a:gd name="T34" fmla="*/ 0 w 1136"/>
                <a:gd name="T35" fmla="*/ 0 h 1888"/>
                <a:gd name="T36" fmla="*/ 0 w 1136"/>
                <a:gd name="T37" fmla="*/ 0 h 1888"/>
                <a:gd name="T38" fmla="*/ 0 w 1136"/>
                <a:gd name="T39" fmla="*/ 0 h 1888"/>
                <a:gd name="T40" fmla="*/ 0 w 1136"/>
                <a:gd name="T41" fmla="*/ 0 h 1888"/>
                <a:gd name="T42" fmla="*/ 0 w 1136"/>
                <a:gd name="T43" fmla="*/ 0 h 1888"/>
                <a:gd name="T44" fmla="*/ 0 w 1136"/>
                <a:gd name="T45" fmla="*/ 0 h 1888"/>
                <a:gd name="T46" fmla="*/ 0 w 1136"/>
                <a:gd name="T47" fmla="*/ 0 h 1888"/>
                <a:gd name="T48" fmla="*/ 0 w 1136"/>
                <a:gd name="T49" fmla="*/ 0 h 1888"/>
                <a:gd name="T50" fmla="*/ 0 w 1136"/>
                <a:gd name="T51" fmla="*/ 0 h 1888"/>
                <a:gd name="T52" fmla="*/ 0 w 1136"/>
                <a:gd name="T53" fmla="*/ 0 h 1888"/>
                <a:gd name="T54" fmla="*/ 0 w 1136"/>
                <a:gd name="T55" fmla="*/ 0 h 1888"/>
                <a:gd name="T56" fmla="*/ 0 w 1136"/>
                <a:gd name="T57" fmla="*/ 0 h 1888"/>
                <a:gd name="T58" fmla="*/ 0 w 1136"/>
                <a:gd name="T59" fmla="*/ 0 h 1888"/>
                <a:gd name="T60" fmla="*/ 0 w 1136"/>
                <a:gd name="T61" fmla="*/ 0 h 1888"/>
                <a:gd name="T62" fmla="*/ 0 w 1136"/>
                <a:gd name="T63" fmla="*/ 0 h 1888"/>
                <a:gd name="T64" fmla="*/ 0 w 1136"/>
                <a:gd name="T65" fmla="*/ 0 h 1888"/>
                <a:gd name="T66" fmla="*/ 0 w 1136"/>
                <a:gd name="T67" fmla="*/ 0 h 1888"/>
                <a:gd name="T68" fmla="*/ 0 w 1136"/>
                <a:gd name="T69" fmla="*/ 0 h 1888"/>
                <a:gd name="T70" fmla="*/ 0 w 1136"/>
                <a:gd name="T71" fmla="*/ 0 h 1888"/>
                <a:gd name="T72" fmla="*/ 0 w 1136"/>
                <a:gd name="T73" fmla="*/ 0 h 1888"/>
                <a:gd name="T74" fmla="*/ 0 w 1136"/>
                <a:gd name="T75" fmla="*/ 0 h 1888"/>
                <a:gd name="T76" fmla="*/ 0 w 1136"/>
                <a:gd name="T77" fmla="*/ 0 h 1888"/>
                <a:gd name="T78" fmla="*/ 0 w 1136"/>
                <a:gd name="T79" fmla="*/ 0 h 1888"/>
                <a:gd name="T80" fmla="*/ 0 w 1136"/>
                <a:gd name="T81" fmla="*/ 0 h 1888"/>
                <a:gd name="T82" fmla="*/ 0 w 1136"/>
                <a:gd name="T83" fmla="*/ 0 h 1888"/>
                <a:gd name="T84" fmla="*/ 0 w 1136"/>
                <a:gd name="T85" fmla="*/ 0 h 1888"/>
                <a:gd name="T86" fmla="*/ 0 w 1136"/>
                <a:gd name="T87" fmla="*/ 0 h 1888"/>
                <a:gd name="T88" fmla="*/ 0 w 1136"/>
                <a:gd name="T89" fmla="*/ 0 h 1888"/>
                <a:gd name="T90" fmla="*/ 0 w 1136"/>
                <a:gd name="T91" fmla="*/ 0 h 1888"/>
                <a:gd name="T92" fmla="*/ 0 w 1136"/>
                <a:gd name="T93" fmla="*/ 0 h 18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6"/>
                <a:gd name="T142" fmla="*/ 0 h 1888"/>
                <a:gd name="T143" fmla="*/ 1136 w 1136"/>
                <a:gd name="T144" fmla="*/ 1888 h 18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6" h="1888">
                  <a:moveTo>
                    <a:pt x="568" y="263"/>
                  </a:moveTo>
                  <a:lnTo>
                    <a:pt x="527" y="266"/>
                  </a:lnTo>
                  <a:lnTo>
                    <a:pt x="488" y="274"/>
                  </a:lnTo>
                  <a:lnTo>
                    <a:pt x="450" y="287"/>
                  </a:lnTo>
                  <a:lnTo>
                    <a:pt x="414" y="305"/>
                  </a:lnTo>
                  <a:lnTo>
                    <a:pt x="382" y="327"/>
                  </a:lnTo>
                  <a:lnTo>
                    <a:pt x="353" y="353"/>
                  </a:lnTo>
                  <a:lnTo>
                    <a:pt x="326" y="382"/>
                  </a:lnTo>
                  <a:lnTo>
                    <a:pt x="304" y="414"/>
                  </a:lnTo>
                  <a:lnTo>
                    <a:pt x="287" y="450"/>
                  </a:lnTo>
                  <a:lnTo>
                    <a:pt x="273" y="488"/>
                  </a:lnTo>
                  <a:lnTo>
                    <a:pt x="266" y="528"/>
                  </a:lnTo>
                  <a:lnTo>
                    <a:pt x="263" y="569"/>
                  </a:lnTo>
                  <a:lnTo>
                    <a:pt x="266" y="611"/>
                  </a:lnTo>
                  <a:lnTo>
                    <a:pt x="274" y="652"/>
                  </a:lnTo>
                  <a:lnTo>
                    <a:pt x="288" y="690"/>
                  </a:lnTo>
                  <a:lnTo>
                    <a:pt x="307" y="727"/>
                  </a:lnTo>
                  <a:lnTo>
                    <a:pt x="329" y="759"/>
                  </a:lnTo>
                  <a:lnTo>
                    <a:pt x="355" y="787"/>
                  </a:lnTo>
                  <a:lnTo>
                    <a:pt x="384" y="813"/>
                  </a:lnTo>
                  <a:lnTo>
                    <a:pt x="416" y="834"/>
                  </a:lnTo>
                  <a:lnTo>
                    <a:pt x="451" y="852"/>
                  </a:lnTo>
                  <a:lnTo>
                    <a:pt x="489" y="865"/>
                  </a:lnTo>
                  <a:lnTo>
                    <a:pt x="527" y="872"/>
                  </a:lnTo>
                  <a:lnTo>
                    <a:pt x="568" y="875"/>
                  </a:lnTo>
                  <a:lnTo>
                    <a:pt x="609" y="872"/>
                  </a:lnTo>
                  <a:lnTo>
                    <a:pt x="649" y="865"/>
                  </a:lnTo>
                  <a:lnTo>
                    <a:pt x="686" y="852"/>
                  </a:lnTo>
                  <a:lnTo>
                    <a:pt x="721" y="834"/>
                  </a:lnTo>
                  <a:lnTo>
                    <a:pt x="753" y="813"/>
                  </a:lnTo>
                  <a:lnTo>
                    <a:pt x="783" y="787"/>
                  </a:lnTo>
                  <a:lnTo>
                    <a:pt x="808" y="759"/>
                  </a:lnTo>
                  <a:lnTo>
                    <a:pt x="831" y="727"/>
                  </a:lnTo>
                  <a:lnTo>
                    <a:pt x="850" y="690"/>
                  </a:lnTo>
                  <a:lnTo>
                    <a:pt x="863" y="652"/>
                  </a:lnTo>
                  <a:lnTo>
                    <a:pt x="872" y="611"/>
                  </a:lnTo>
                  <a:lnTo>
                    <a:pt x="875" y="569"/>
                  </a:lnTo>
                  <a:lnTo>
                    <a:pt x="872" y="528"/>
                  </a:lnTo>
                  <a:lnTo>
                    <a:pt x="863" y="488"/>
                  </a:lnTo>
                  <a:lnTo>
                    <a:pt x="851" y="450"/>
                  </a:lnTo>
                  <a:lnTo>
                    <a:pt x="833" y="414"/>
                  </a:lnTo>
                  <a:lnTo>
                    <a:pt x="811" y="382"/>
                  </a:lnTo>
                  <a:lnTo>
                    <a:pt x="785" y="353"/>
                  </a:lnTo>
                  <a:lnTo>
                    <a:pt x="756" y="327"/>
                  </a:lnTo>
                  <a:lnTo>
                    <a:pt x="723" y="305"/>
                  </a:lnTo>
                  <a:lnTo>
                    <a:pt x="688" y="287"/>
                  </a:lnTo>
                  <a:lnTo>
                    <a:pt x="650" y="274"/>
                  </a:lnTo>
                  <a:lnTo>
                    <a:pt x="610" y="266"/>
                  </a:lnTo>
                  <a:lnTo>
                    <a:pt x="568" y="263"/>
                  </a:lnTo>
                  <a:close/>
                  <a:moveTo>
                    <a:pt x="568" y="0"/>
                  </a:moveTo>
                  <a:lnTo>
                    <a:pt x="627" y="3"/>
                  </a:lnTo>
                  <a:lnTo>
                    <a:pt x="683" y="11"/>
                  </a:lnTo>
                  <a:lnTo>
                    <a:pt x="738" y="26"/>
                  </a:lnTo>
                  <a:lnTo>
                    <a:pt x="790" y="45"/>
                  </a:lnTo>
                  <a:lnTo>
                    <a:pt x="839" y="69"/>
                  </a:lnTo>
                  <a:lnTo>
                    <a:pt x="886" y="97"/>
                  </a:lnTo>
                  <a:lnTo>
                    <a:pt x="930" y="130"/>
                  </a:lnTo>
                  <a:lnTo>
                    <a:pt x="970" y="166"/>
                  </a:lnTo>
                  <a:lnTo>
                    <a:pt x="1007" y="207"/>
                  </a:lnTo>
                  <a:lnTo>
                    <a:pt x="1040" y="251"/>
                  </a:lnTo>
                  <a:lnTo>
                    <a:pt x="1068" y="297"/>
                  </a:lnTo>
                  <a:lnTo>
                    <a:pt x="1093" y="347"/>
                  </a:lnTo>
                  <a:lnTo>
                    <a:pt x="1111" y="400"/>
                  </a:lnTo>
                  <a:lnTo>
                    <a:pt x="1125" y="454"/>
                  </a:lnTo>
                  <a:lnTo>
                    <a:pt x="1134" y="510"/>
                  </a:lnTo>
                  <a:lnTo>
                    <a:pt x="1136" y="568"/>
                  </a:lnTo>
                  <a:lnTo>
                    <a:pt x="1134" y="622"/>
                  </a:lnTo>
                  <a:lnTo>
                    <a:pt x="1127" y="673"/>
                  </a:lnTo>
                  <a:lnTo>
                    <a:pt x="1116" y="723"/>
                  </a:lnTo>
                  <a:lnTo>
                    <a:pt x="1099" y="773"/>
                  </a:lnTo>
                  <a:lnTo>
                    <a:pt x="1079" y="819"/>
                  </a:lnTo>
                  <a:lnTo>
                    <a:pt x="568" y="1888"/>
                  </a:lnTo>
                  <a:lnTo>
                    <a:pt x="59" y="819"/>
                  </a:lnTo>
                  <a:lnTo>
                    <a:pt x="39" y="773"/>
                  </a:lnTo>
                  <a:lnTo>
                    <a:pt x="22" y="723"/>
                  </a:lnTo>
                  <a:lnTo>
                    <a:pt x="10" y="673"/>
                  </a:lnTo>
                  <a:lnTo>
                    <a:pt x="3" y="622"/>
                  </a:lnTo>
                  <a:lnTo>
                    <a:pt x="0" y="568"/>
                  </a:lnTo>
                  <a:lnTo>
                    <a:pt x="4" y="507"/>
                  </a:lnTo>
                  <a:lnTo>
                    <a:pt x="14" y="447"/>
                  </a:lnTo>
                  <a:lnTo>
                    <a:pt x="29" y="388"/>
                  </a:lnTo>
                  <a:lnTo>
                    <a:pt x="51" y="334"/>
                  </a:lnTo>
                  <a:lnTo>
                    <a:pt x="77" y="281"/>
                  </a:lnTo>
                  <a:lnTo>
                    <a:pt x="110" y="233"/>
                  </a:lnTo>
                  <a:lnTo>
                    <a:pt x="146" y="187"/>
                  </a:lnTo>
                  <a:lnTo>
                    <a:pt x="188" y="146"/>
                  </a:lnTo>
                  <a:lnTo>
                    <a:pt x="233" y="110"/>
                  </a:lnTo>
                  <a:lnTo>
                    <a:pt x="281" y="78"/>
                  </a:lnTo>
                  <a:lnTo>
                    <a:pt x="334" y="51"/>
                  </a:lnTo>
                  <a:lnTo>
                    <a:pt x="389" y="29"/>
                  </a:lnTo>
                  <a:lnTo>
                    <a:pt x="447" y="13"/>
                  </a:lnTo>
                  <a:lnTo>
                    <a:pt x="506" y="4"/>
                  </a:lnTo>
                  <a:lnTo>
                    <a:pt x="568"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49" name="Freeform 155"/>
            <p:cNvSpPr>
              <a:spLocks noChangeArrowheads="1"/>
            </p:cNvSpPr>
            <p:nvPr/>
          </p:nvSpPr>
          <p:spPr bwMode="auto">
            <a:xfrm>
              <a:off x="2682" y="3173"/>
              <a:ext cx="85" cy="55"/>
            </a:xfrm>
            <a:custGeom>
              <a:avLst/>
              <a:gdLst>
                <a:gd name="T0" fmla="*/ 0 w 774"/>
                <a:gd name="T1" fmla="*/ 0 h 507"/>
                <a:gd name="T2" fmla="*/ 0 w 774"/>
                <a:gd name="T3" fmla="*/ 0 h 507"/>
                <a:gd name="T4" fmla="*/ 0 w 774"/>
                <a:gd name="T5" fmla="*/ 0 h 507"/>
                <a:gd name="T6" fmla="*/ 0 w 774"/>
                <a:gd name="T7" fmla="*/ 0 h 507"/>
                <a:gd name="T8" fmla="*/ 0 w 774"/>
                <a:gd name="T9" fmla="*/ 0 h 507"/>
                <a:gd name="T10" fmla="*/ 0 w 774"/>
                <a:gd name="T11" fmla="*/ 0 h 507"/>
                <a:gd name="T12" fmla="*/ 0 w 774"/>
                <a:gd name="T13" fmla="*/ 0 h 507"/>
                <a:gd name="T14" fmla="*/ 0 w 774"/>
                <a:gd name="T15" fmla="*/ 0 h 507"/>
                <a:gd name="T16" fmla="*/ 0 w 774"/>
                <a:gd name="T17" fmla="*/ 0 h 507"/>
                <a:gd name="T18" fmla="*/ 0 w 774"/>
                <a:gd name="T19" fmla="*/ 0 h 507"/>
                <a:gd name="T20" fmla="*/ 0 w 774"/>
                <a:gd name="T21" fmla="*/ 0 h 507"/>
                <a:gd name="T22" fmla="*/ 0 w 774"/>
                <a:gd name="T23" fmla="*/ 0 h 507"/>
                <a:gd name="T24" fmla="*/ 0 w 774"/>
                <a:gd name="T25" fmla="*/ 0 h 507"/>
                <a:gd name="T26" fmla="*/ 0 w 774"/>
                <a:gd name="T27" fmla="*/ 0 h 507"/>
                <a:gd name="T28" fmla="*/ 0 w 774"/>
                <a:gd name="T29" fmla="*/ 0 h 507"/>
                <a:gd name="T30" fmla="*/ 0 w 774"/>
                <a:gd name="T31" fmla="*/ 0 h 507"/>
                <a:gd name="T32" fmla="*/ 0 w 774"/>
                <a:gd name="T33" fmla="*/ 0 h 507"/>
                <a:gd name="T34" fmla="*/ 0 w 774"/>
                <a:gd name="T35" fmla="*/ 0 h 507"/>
                <a:gd name="T36" fmla="*/ 0 w 774"/>
                <a:gd name="T37" fmla="*/ 0 h 507"/>
                <a:gd name="T38" fmla="*/ 0 w 774"/>
                <a:gd name="T39" fmla="*/ 0 h 507"/>
                <a:gd name="T40" fmla="*/ 0 w 774"/>
                <a:gd name="T41" fmla="*/ 0 h 507"/>
                <a:gd name="T42" fmla="*/ 0 w 774"/>
                <a:gd name="T43" fmla="*/ 0 h 507"/>
                <a:gd name="T44" fmla="*/ 0 w 774"/>
                <a:gd name="T45" fmla="*/ 0 h 507"/>
                <a:gd name="T46" fmla="*/ 0 w 774"/>
                <a:gd name="T47" fmla="*/ 0 h 5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4"/>
                <a:gd name="T73" fmla="*/ 0 h 507"/>
                <a:gd name="T74" fmla="*/ 774 w 774"/>
                <a:gd name="T75" fmla="*/ 507 h 5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4" h="507">
                  <a:moveTo>
                    <a:pt x="0" y="0"/>
                  </a:moveTo>
                  <a:lnTo>
                    <a:pt x="82" y="4"/>
                  </a:lnTo>
                  <a:lnTo>
                    <a:pt x="162" y="13"/>
                  </a:lnTo>
                  <a:lnTo>
                    <a:pt x="240" y="28"/>
                  </a:lnTo>
                  <a:lnTo>
                    <a:pt x="316" y="47"/>
                  </a:lnTo>
                  <a:lnTo>
                    <a:pt x="390" y="73"/>
                  </a:lnTo>
                  <a:lnTo>
                    <a:pt x="461" y="103"/>
                  </a:lnTo>
                  <a:lnTo>
                    <a:pt x="530" y="138"/>
                  </a:lnTo>
                  <a:lnTo>
                    <a:pt x="596" y="177"/>
                  </a:lnTo>
                  <a:lnTo>
                    <a:pt x="658" y="221"/>
                  </a:lnTo>
                  <a:lnTo>
                    <a:pt x="717" y="270"/>
                  </a:lnTo>
                  <a:lnTo>
                    <a:pt x="774" y="322"/>
                  </a:lnTo>
                  <a:lnTo>
                    <a:pt x="587" y="507"/>
                  </a:lnTo>
                  <a:lnTo>
                    <a:pt x="541" y="464"/>
                  </a:lnTo>
                  <a:lnTo>
                    <a:pt x="491" y="425"/>
                  </a:lnTo>
                  <a:lnTo>
                    <a:pt x="438" y="388"/>
                  </a:lnTo>
                  <a:lnTo>
                    <a:pt x="382" y="356"/>
                  </a:lnTo>
                  <a:lnTo>
                    <a:pt x="324" y="329"/>
                  </a:lnTo>
                  <a:lnTo>
                    <a:pt x="263" y="306"/>
                  </a:lnTo>
                  <a:lnTo>
                    <a:pt x="200" y="287"/>
                  </a:lnTo>
                  <a:lnTo>
                    <a:pt x="135" y="275"/>
                  </a:lnTo>
                  <a:lnTo>
                    <a:pt x="68" y="266"/>
                  </a:lnTo>
                  <a:lnTo>
                    <a:pt x="0" y="263"/>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50" name="Freeform 156"/>
            <p:cNvSpPr>
              <a:spLocks noChangeArrowheads="1"/>
            </p:cNvSpPr>
            <p:nvPr/>
          </p:nvSpPr>
          <p:spPr bwMode="auto">
            <a:xfrm>
              <a:off x="2682" y="3114"/>
              <a:ext cx="126" cy="73"/>
            </a:xfrm>
            <a:custGeom>
              <a:avLst/>
              <a:gdLst>
                <a:gd name="T0" fmla="*/ 0 w 1144"/>
                <a:gd name="T1" fmla="*/ 0 h 661"/>
                <a:gd name="T2" fmla="*/ 0 w 1144"/>
                <a:gd name="T3" fmla="*/ 0 h 661"/>
                <a:gd name="T4" fmla="*/ 0 w 1144"/>
                <a:gd name="T5" fmla="*/ 0 h 661"/>
                <a:gd name="T6" fmla="*/ 0 w 1144"/>
                <a:gd name="T7" fmla="*/ 0 h 661"/>
                <a:gd name="T8" fmla="*/ 0 w 1144"/>
                <a:gd name="T9" fmla="*/ 0 h 661"/>
                <a:gd name="T10" fmla="*/ 0 w 1144"/>
                <a:gd name="T11" fmla="*/ 0 h 661"/>
                <a:gd name="T12" fmla="*/ 0 w 1144"/>
                <a:gd name="T13" fmla="*/ 0 h 661"/>
                <a:gd name="T14" fmla="*/ 0 w 1144"/>
                <a:gd name="T15" fmla="*/ 0 h 661"/>
                <a:gd name="T16" fmla="*/ 0 w 1144"/>
                <a:gd name="T17" fmla="*/ 0 h 661"/>
                <a:gd name="T18" fmla="*/ 0 w 1144"/>
                <a:gd name="T19" fmla="*/ 0 h 661"/>
                <a:gd name="T20" fmla="*/ 0 w 1144"/>
                <a:gd name="T21" fmla="*/ 0 h 661"/>
                <a:gd name="T22" fmla="*/ 0 w 1144"/>
                <a:gd name="T23" fmla="*/ 0 h 661"/>
                <a:gd name="T24" fmla="*/ 0 w 1144"/>
                <a:gd name="T25" fmla="*/ 0 h 661"/>
                <a:gd name="T26" fmla="*/ 0 w 1144"/>
                <a:gd name="T27" fmla="*/ 0 h 661"/>
                <a:gd name="T28" fmla="*/ 0 w 1144"/>
                <a:gd name="T29" fmla="*/ 0 h 661"/>
                <a:gd name="T30" fmla="*/ 0 w 1144"/>
                <a:gd name="T31" fmla="*/ 0 h 661"/>
                <a:gd name="T32" fmla="*/ 0 w 1144"/>
                <a:gd name="T33" fmla="*/ 0 h 661"/>
                <a:gd name="T34" fmla="*/ 0 w 1144"/>
                <a:gd name="T35" fmla="*/ 0 h 661"/>
                <a:gd name="T36" fmla="*/ 0 w 1144"/>
                <a:gd name="T37" fmla="*/ 0 h 661"/>
                <a:gd name="T38" fmla="*/ 0 w 1144"/>
                <a:gd name="T39" fmla="*/ 0 h 661"/>
                <a:gd name="T40" fmla="*/ 0 w 1144"/>
                <a:gd name="T41" fmla="*/ 0 h 661"/>
                <a:gd name="T42" fmla="*/ 0 w 1144"/>
                <a:gd name="T43" fmla="*/ 0 h 661"/>
                <a:gd name="T44" fmla="*/ 0 w 1144"/>
                <a:gd name="T45" fmla="*/ 0 h 661"/>
                <a:gd name="T46" fmla="*/ 0 w 1144"/>
                <a:gd name="T47" fmla="*/ 0 h 661"/>
                <a:gd name="T48" fmla="*/ 0 w 1144"/>
                <a:gd name="T49" fmla="*/ 0 h 661"/>
                <a:gd name="T50" fmla="*/ 0 w 1144"/>
                <a:gd name="T51" fmla="*/ 0 h 661"/>
                <a:gd name="T52" fmla="*/ 0 w 1144"/>
                <a:gd name="T53" fmla="*/ 0 h 661"/>
                <a:gd name="T54" fmla="*/ 0 w 1144"/>
                <a:gd name="T55" fmla="*/ 0 h 6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44"/>
                <a:gd name="T85" fmla="*/ 0 h 661"/>
                <a:gd name="T86" fmla="*/ 1144 w 1144"/>
                <a:gd name="T87" fmla="*/ 661 h 6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44" h="661">
                  <a:moveTo>
                    <a:pt x="0" y="0"/>
                  </a:moveTo>
                  <a:lnTo>
                    <a:pt x="103" y="3"/>
                  </a:lnTo>
                  <a:lnTo>
                    <a:pt x="203" y="12"/>
                  </a:lnTo>
                  <a:lnTo>
                    <a:pt x="302" y="28"/>
                  </a:lnTo>
                  <a:lnTo>
                    <a:pt x="399" y="50"/>
                  </a:lnTo>
                  <a:lnTo>
                    <a:pt x="493" y="76"/>
                  </a:lnTo>
                  <a:lnTo>
                    <a:pt x="584" y="109"/>
                  </a:lnTo>
                  <a:lnTo>
                    <a:pt x="674" y="147"/>
                  </a:lnTo>
                  <a:lnTo>
                    <a:pt x="760" y="190"/>
                  </a:lnTo>
                  <a:lnTo>
                    <a:pt x="844" y="237"/>
                  </a:lnTo>
                  <a:lnTo>
                    <a:pt x="924" y="291"/>
                  </a:lnTo>
                  <a:lnTo>
                    <a:pt x="1001" y="347"/>
                  </a:lnTo>
                  <a:lnTo>
                    <a:pt x="1074" y="409"/>
                  </a:lnTo>
                  <a:lnTo>
                    <a:pt x="1144" y="475"/>
                  </a:lnTo>
                  <a:lnTo>
                    <a:pt x="959" y="661"/>
                  </a:lnTo>
                  <a:lnTo>
                    <a:pt x="895" y="601"/>
                  </a:lnTo>
                  <a:lnTo>
                    <a:pt x="828" y="545"/>
                  </a:lnTo>
                  <a:lnTo>
                    <a:pt x="758" y="494"/>
                  </a:lnTo>
                  <a:lnTo>
                    <a:pt x="684" y="448"/>
                  </a:lnTo>
                  <a:lnTo>
                    <a:pt x="607" y="406"/>
                  </a:lnTo>
                  <a:lnTo>
                    <a:pt x="528" y="369"/>
                  </a:lnTo>
                  <a:lnTo>
                    <a:pt x="445" y="337"/>
                  </a:lnTo>
                  <a:lnTo>
                    <a:pt x="360" y="311"/>
                  </a:lnTo>
                  <a:lnTo>
                    <a:pt x="273" y="290"/>
                  </a:lnTo>
                  <a:lnTo>
                    <a:pt x="184" y="275"/>
                  </a:lnTo>
                  <a:lnTo>
                    <a:pt x="93" y="266"/>
                  </a:lnTo>
                  <a:lnTo>
                    <a:pt x="0" y="263"/>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51" name="Freeform 157"/>
            <p:cNvSpPr>
              <a:spLocks noChangeArrowheads="1"/>
            </p:cNvSpPr>
            <p:nvPr/>
          </p:nvSpPr>
          <p:spPr bwMode="auto">
            <a:xfrm>
              <a:off x="2682" y="3056"/>
              <a:ext cx="167" cy="89"/>
            </a:xfrm>
            <a:custGeom>
              <a:avLst/>
              <a:gdLst>
                <a:gd name="T0" fmla="*/ 0 w 1515"/>
                <a:gd name="T1" fmla="*/ 0 h 814"/>
                <a:gd name="T2" fmla="*/ 0 w 1515"/>
                <a:gd name="T3" fmla="*/ 0 h 814"/>
                <a:gd name="T4" fmla="*/ 0 w 1515"/>
                <a:gd name="T5" fmla="*/ 0 h 814"/>
                <a:gd name="T6" fmla="*/ 0 w 1515"/>
                <a:gd name="T7" fmla="*/ 0 h 814"/>
                <a:gd name="T8" fmla="*/ 0 w 1515"/>
                <a:gd name="T9" fmla="*/ 0 h 814"/>
                <a:gd name="T10" fmla="*/ 0 w 1515"/>
                <a:gd name="T11" fmla="*/ 0 h 814"/>
                <a:gd name="T12" fmla="*/ 0 w 1515"/>
                <a:gd name="T13" fmla="*/ 0 h 814"/>
                <a:gd name="T14" fmla="*/ 0 w 1515"/>
                <a:gd name="T15" fmla="*/ 0 h 814"/>
                <a:gd name="T16" fmla="*/ 0 w 1515"/>
                <a:gd name="T17" fmla="*/ 0 h 814"/>
                <a:gd name="T18" fmla="*/ 0 w 1515"/>
                <a:gd name="T19" fmla="*/ 0 h 814"/>
                <a:gd name="T20" fmla="*/ 0 w 1515"/>
                <a:gd name="T21" fmla="*/ 0 h 814"/>
                <a:gd name="T22" fmla="*/ 0 w 1515"/>
                <a:gd name="T23" fmla="*/ 0 h 814"/>
                <a:gd name="T24" fmla="*/ 0 w 1515"/>
                <a:gd name="T25" fmla="*/ 0 h 814"/>
                <a:gd name="T26" fmla="*/ 0 w 1515"/>
                <a:gd name="T27" fmla="*/ 0 h 814"/>
                <a:gd name="T28" fmla="*/ 0 w 1515"/>
                <a:gd name="T29" fmla="*/ 0 h 814"/>
                <a:gd name="T30" fmla="*/ 0 w 1515"/>
                <a:gd name="T31" fmla="*/ 0 h 814"/>
                <a:gd name="T32" fmla="*/ 0 w 1515"/>
                <a:gd name="T33" fmla="*/ 0 h 814"/>
                <a:gd name="T34" fmla="*/ 0 w 1515"/>
                <a:gd name="T35" fmla="*/ 0 h 814"/>
                <a:gd name="T36" fmla="*/ 0 w 1515"/>
                <a:gd name="T37" fmla="*/ 0 h 814"/>
                <a:gd name="T38" fmla="*/ 0 w 1515"/>
                <a:gd name="T39" fmla="*/ 0 h 814"/>
                <a:gd name="T40" fmla="*/ 0 w 1515"/>
                <a:gd name="T41" fmla="*/ 0 h 814"/>
                <a:gd name="T42" fmla="*/ 0 w 1515"/>
                <a:gd name="T43" fmla="*/ 0 h 814"/>
                <a:gd name="T44" fmla="*/ 0 w 1515"/>
                <a:gd name="T45" fmla="*/ 0 h 814"/>
                <a:gd name="T46" fmla="*/ 0 w 1515"/>
                <a:gd name="T47" fmla="*/ 0 h 814"/>
                <a:gd name="T48" fmla="*/ 0 w 1515"/>
                <a:gd name="T49" fmla="*/ 0 h 814"/>
                <a:gd name="T50" fmla="*/ 0 w 1515"/>
                <a:gd name="T51" fmla="*/ 0 h 814"/>
                <a:gd name="T52" fmla="*/ 0 w 1515"/>
                <a:gd name="T53" fmla="*/ 0 h 814"/>
                <a:gd name="T54" fmla="*/ 0 w 1515"/>
                <a:gd name="T55" fmla="*/ 0 h 814"/>
                <a:gd name="T56" fmla="*/ 0 w 1515"/>
                <a:gd name="T57" fmla="*/ 0 h 814"/>
                <a:gd name="T58" fmla="*/ 0 w 1515"/>
                <a:gd name="T59" fmla="*/ 0 h 814"/>
                <a:gd name="T60" fmla="*/ 0 w 1515"/>
                <a:gd name="T61" fmla="*/ 0 h 814"/>
                <a:gd name="T62" fmla="*/ 0 w 1515"/>
                <a:gd name="T63" fmla="*/ 0 h 8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15"/>
                <a:gd name="T97" fmla="*/ 0 h 814"/>
                <a:gd name="T98" fmla="*/ 1515 w 1515"/>
                <a:gd name="T99" fmla="*/ 814 h 8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15" h="814">
                  <a:moveTo>
                    <a:pt x="0" y="0"/>
                  </a:moveTo>
                  <a:lnTo>
                    <a:pt x="118" y="3"/>
                  </a:lnTo>
                  <a:lnTo>
                    <a:pt x="234" y="13"/>
                  </a:lnTo>
                  <a:lnTo>
                    <a:pt x="348" y="28"/>
                  </a:lnTo>
                  <a:lnTo>
                    <a:pt x="460" y="49"/>
                  </a:lnTo>
                  <a:lnTo>
                    <a:pt x="570" y="76"/>
                  </a:lnTo>
                  <a:lnTo>
                    <a:pt x="677" y="110"/>
                  </a:lnTo>
                  <a:lnTo>
                    <a:pt x="782" y="148"/>
                  </a:lnTo>
                  <a:lnTo>
                    <a:pt x="885" y="191"/>
                  </a:lnTo>
                  <a:lnTo>
                    <a:pt x="984" y="240"/>
                  </a:lnTo>
                  <a:lnTo>
                    <a:pt x="1081" y="293"/>
                  </a:lnTo>
                  <a:lnTo>
                    <a:pt x="1174" y="351"/>
                  </a:lnTo>
                  <a:lnTo>
                    <a:pt x="1264" y="414"/>
                  </a:lnTo>
                  <a:lnTo>
                    <a:pt x="1351" y="482"/>
                  </a:lnTo>
                  <a:lnTo>
                    <a:pt x="1435" y="553"/>
                  </a:lnTo>
                  <a:lnTo>
                    <a:pt x="1515" y="628"/>
                  </a:lnTo>
                  <a:lnTo>
                    <a:pt x="1329" y="814"/>
                  </a:lnTo>
                  <a:lnTo>
                    <a:pt x="1254" y="744"/>
                  </a:lnTo>
                  <a:lnTo>
                    <a:pt x="1175" y="677"/>
                  </a:lnTo>
                  <a:lnTo>
                    <a:pt x="1094" y="614"/>
                  </a:lnTo>
                  <a:lnTo>
                    <a:pt x="1008" y="556"/>
                  </a:lnTo>
                  <a:lnTo>
                    <a:pt x="919" y="503"/>
                  </a:lnTo>
                  <a:lnTo>
                    <a:pt x="827" y="453"/>
                  </a:lnTo>
                  <a:lnTo>
                    <a:pt x="732" y="411"/>
                  </a:lnTo>
                  <a:lnTo>
                    <a:pt x="634" y="372"/>
                  </a:lnTo>
                  <a:lnTo>
                    <a:pt x="534" y="339"/>
                  </a:lnTo>
                  <a:lnTo>
                    <a:pt x="431" y="312"/>
                  </a:lnTo>
                  <a:lnTo>
                    <a:pt x="327" y="291"/>
                  </a:lnTo>
                  <a:lnTo>
                    <a:pt x="220" y="275"/>
                  </a:lnTo>
                  <a:lnTo>
                    <a:pt x="111" y="266"/>
                  </a:lnTo>
                  <a:lnTo>
                    <a:pt x="0" y="263"/>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grpSp>
        <p:nvGrpSpPr>
          <p:cNvPr id="31" name="Group 186"/>
          <p:cNvGrpSpPr>
            <a:grpSpLocks/>
          </p:cNvGrpSpPr>
          <p:nvPr/>
        </p:nvGrpSpPr>
        <p:grpSpPr bwMode="auto">
          <a:xfrm>
            <a:off x="508080" y="5157898"/>
            <a:ext cx="863520" cy="285750"/>
            <a:chOff x="3404" y="3058"/>
            <a:chExt cx="383" cy="88"/>
          </a:xfrm>
          <a:solidFill>
            <a:schemeClr val="accent2"/>
          </a:solidFill>
        </p:grpSpPr>
        <p:sp>
          <p:nvSpPr>
            <p:cNvPr id="55" name="Freeform 187"/>
            <p:cNvSpPr>
              <a:spLocks noChangeArrowheads="1"/>
            </p:cNvSpPr>
            <p:nvPr/>
          </p:nvSpPr>
          <p:spPr bwMode="auto">
            <a:xfrm>
              <a:off x="3496" y="3110"/>
              <a:ext cx="36" cy="36"/>
            </a:xfrm>
            <a:custGeom>
              <a:avLst/>
              <a:gdLst>
                <a:gd name="T0" fmla="*/ 0 w 333"/>
                <a:gd name="T1" fmla="*/ 0 h 332"/>
                <a:gd name="T2" fmla="*/ 0 w 333"/>
                <a:gd name="T3" fmla="*/ 0 h 332"/>
                <a:gd name="T4" fmla="*/ 0 w 333"/>
                <a:gd name="T5" fmla="*/ 0 h 332"/>
                <a:gd name="T6" fmla="*/ 0 w 333"/>
                <a:gd name="T7" fmla="*/ 0 h 332"/>
                <a:gd name="T8" fmla="*/ 0 w 333"/>
                <a:gd name="T9" fmla="*/ 0 h 332"/>
                <a:gd name="T10" fmla="*/ 0 w 333"/>
                <a:gd name="T11" fmla="*/ 0 h 332"/>
                <a:gd name="T12" fmla="*/ 0 w 333"/>
                <a:gd name="T13" fmla="*/ 0 h 332"/>
                <a:gd name="T14" fmla="*/ 0 w 333"/>
                <a:gd name="T15" fmla="*/ 0 h 332"/>
                <a:gd name="T16" fmla="*/ 0 w 333"/>
                <a:gd name="T17" fmla="*/ 0 h 332"/>
                <a:gd name="T18" fmla="*/ 0 w 333"/>
                <a:gd name="T19" fmla="*/ 0 h 332"/>
                <a:gd name="T20" fmla="*/ 0 w 333"/>
                <a:gd name="T21" fmla="*/ 0 h 332"/>
                <a:gd name="T22" fmla="*/ 0 w 333"/>
                <a:gd name="T23" fmla="*/ 0 h 332"/>
                <a:gd name="T24" fmla="*/ 0 w 333"/>
                <a:gd name="T25" fmla="*/ 0 h 332"/>
                <a:gd name="T26" fmla="*/ 0 w 333"/>
                <a:gd name="T27" fmla="*/ 0 h 332"/>
                <a:gd name="T28" fmla="*/ 0 w 333"/>
                <a:gd name="T29" fmla="*/ 0 h 332"/>
                <a:gd name="T30" fmla="*/ 0 w 333"/>
                <a:gd name="T31" fmla="*/ 0 h 332"/>
                <a:gd name="T32" fmla="*/ 0 w 333"/>
                <a:gd name="T33" fmla="*/ 0 h 332"/>
                <a:gd name="T34" fmla="*/ 0 w 333"/>
                <a:gd name="T35" fmla="*/ 0 h 332"/>
                <a:gd name="T36" fmla="*/ 0 w 333"/>
                <a:gd name="T37" fmla="*/ 0 h 332"/>
                <a:gd name="T38" fmla="*/ 0 w 333"/>
                <a:gd name="T39" fmla="*/ 0 h 332"/>
                <a:gd name="T40" fmla="*/ 0 w 333"/>
                <a:gd name="T41" fmla="*/ 0 h 332"/>
                <a:gd name="T42" fmla="*/ 0 w 333"/>
                <a:gd name="T43" fmla="*/ 0 h 332"/>
                <a:gd name="T44" fmla="*/ 0 w 333"/>
                <a:gd name="T45" fmla="*/ 0 h 332"/>
                <a:gd name="T46" fmla="*/ 0 w 333"/>
                <a:gd name="T47" fmla="*/ 0 h 332"/>
                <a:gd name="T48" fmla="*/ 0 w 333"/>
                <a:gd name="T49" fmla="*/ 0 h 332"/>
                <a:gd name="T50" fmla="*/ 0 w 333"/>
                <a:gd name="T51" fmla="*/ 0 h 332"/>
                <a:gd name="T52" fmla="*/ 0 w 333"/>
                <a:gd name="T53" fmla="*/ 0 h 332"/>
                <a:gd name="T54" fmla="*/ 0 w 333"/>
                <a:gd name="T55" fmla="*/ 0 h 332"/>
                <a:gd name="T56" fmla="*/ 0 w 333"/>
                <a:gd name="T57" fmla="*/ 0 h 332"/>
                <a:gd name="T58" fmla="*/ 0 w 333"/>
                <a:gd name="T59" fmla="*/ 0 h 332"/>
                <a:gd name="T60" fmla="*/ 0 w 333"/>
                <a:gd name="T61" fmla="*/ 0 h 332"/>
                <a:gd name="T62" fmla="*/ 0 w 333"/>
                <a:gd name="T63" fmla="*/ 0 h 332"/>
                <a:gd name="T64" fmla="*/ 0 w 333"/>
                <a:gd name="T65" fmla="*/ 0 h 332"/>
                <a:gd name="T66" fmla="*/ 0 w 333"/>
                <a:gd name="T67" fmla="*/ 0 h 332"/>
                <a:gd name="T68" fmla="*/ 0 w 333"/>
                <a:gd name="T69" fmla="*/ 0 h 332"/>
                <a:gd name="T70" fmla="*/ 0 w 333"/>
                <a:gd name="T71" fmla="*/ 0 h 332"/>
                <a:gd name="T72" fmla="*/ 0 w 333"/>
                <a:gd name="T73" fmla="*/ 0 h 332"/>
                <a:gd name="T74" fmla="*/ 0 w 333"/>
                <a:gd name="T75" fmla="*/ 0 h 332"/>
                <a:gd name="T76" fmla="*/ 0 w 333"/>
                <a:gd name="T77" fmla="*/ 0 h 332"/>
                <a:gd name="T78" fmla="*/ 0 w 333"/>
                <a:gd name="T79" fmla="*/ 0 h 332"/>
                <a:gd name="T80" fmla="*/ 0 w 333"/>
                <a:gd name="T81" fmla="*/ 0 h 332"/>
                <a:gd name="T82" fmla="*/ 0 w 333"/>
                <a:gd name="T83" fmla="*/ 0 h 332"/>
                <a:gd name="T84" fmla="*/ 0 w 333"/>
                <a:gd name="T85" fmla="*/ 0 h 332"/>
                <a:gd name="T86" fmla="*/ 0 w 333"/>
                <a:gd name="T87" fmla="*/ 0 h 332"/>
                <a:gd name="T88" fmla="*/ 0 w 333"/>
                <a:gd name="T89" fmla="*/ 0 h 332"/>
                <a:gd name="T90" fmla="*/ 0 w 333"/>
                <a:gd name="T91" fmla="*/ 0 h 332"/>
                <a:gd name="T92" fmla="*/ 0 w 333"/>
                <a:gd name="T93" fmla="*/ 0 h 332"/>
                <a:gd name="T94" fmla="*/ 0 w 333"/>
                <a:gd name="T95" fmla="*/ 0 h 332"/>
                <a:gd name="T96" fmla="*/ 0 w 333"/>
                <a:gd name="T97" fmla="*/ 0 h 332"/>
                <a:gd name="T98" fmla="*/ 0 w 333"/>
                <a:gd name="T99" fmla="*/ 0 h 332"/>
                <a:gd name="T100" fmla="*/ 0 w 333"/>
                <a:gd name="T101" fmla="*/ 0 h 332"/>
                <a:gd name="T102" fmla="*/ 0 w 333"/>
                <a:gd name="T103" fmla="*/ 0 h 332"/>
                <a:gd name="T104" fmla="*/ 0 w 333"/>
                <a:gd name="T105" fmla="*/ 0 h 332"/>
                <a:gd name="T106" fmla="*/ 0 w 333"/>
                <a:gd name="T107" fmla="*/ 0 h 332"/>
                <a:gd name="T108" fmla="*/ 0 w 333"/>
                <a:gd name="T109" fmla="*/ 0 h 332"/>
                <a:gd name="T110" fmla="*/ 0 w 333"/>
                <a:gd name="T111" fmla="*/ 0 h 332"/>
                <a:gd name="T112" fmla="*/ 0 w 333"/>
                <a:gd name="T113" fmla="*/ 0 h 332"/>
                <a:gd name="T114" fmla="*/ 0 w 333"/>
                <a:gd name="T115" fmla="*/ 0 h 332"/>
                <a:gd name="T116" fmla="*/ 0 w 333"/>
                <a:gd name="T117" fmla="*/ 0 h 332"/>
                <a:gd name="T118" fmla="*/ 0 w 333"/>
                <a:gd name="T119" fmla="*/ 0 h 332"/>
                <a:gd name="T120" fmla="*/ 0 w 333"/>
                <a:gd name="T121" fmla="*/ 0 h 332"/>
                <a:gd name="T122" fmla="*/ 0 w 333"/>
                <a:gd name="T123" fmla="*/ 0 h 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
                <a:gd name="T187" fmla="*/ 0 h 332"/>
                <a:gd name="T188" fmla="*/ 333 w 333"/>
                <a:gd name="T189" fmla="*/ 332 h 3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 h="332">
                  <a:moveTo>
                    <a:pt x="167" y="95"/>
                  </a:moveTo>
                  <a:lnTo>
                    <a:pt x="148" y="97"/>
                  </a:lnTo>
                  <a:lnTo>
                    <a:pt x="131" y="105"/>
                  </a:lnTo>
                  <a:lnTo>
                    <a:pt x="118" y="116"/>
                  </a:lnTo>
                  <a:lnTo>
                    <a:pt x="106" y="130"/>
                  </a:lnTo>
                  <a:lnTo>
                    <a:pt x="100" y="147"/>
                  </a:lnTo>
                  <a:lnTo>
                    <a:pt x="97" y="165"/>
                  </a:lnTo>
                  <a:lnTo>
                    <a:pt x="100" y="184"/>
                  </a:lnTo>
                  <a:lnTo>
                    <a:pt x="106" y="201"/>
                  </a:lnTo>
                  <a:lnTo>
                    <a:pt x="118" y="216"/>
                  </a:lnTo>
                  <a:lnTo>
                    <a:pt x="131" y="226"/>
                  </a:lnTo>
                  <a:lnTo>
                    <a:pt x="148" y="234"/>
                  </a:lnTo>
                  <a:lnTo>
                    <a:pt x="167" y="236"/>
                  </a:lnTo>
                  <a:lnTo>
                    <a:pt x="186" y="234"/>
                  </a:lnTo>
                  <a:lnTo>
                    <a:pt x="202" y="226"/>
                  </a:lnTo>
                  <a:lnTo>
                    <a:pt x="217" y="216"/>
                  </a:lnTo>
                  <a:lnTo>
                    <a:pt x="228" y="201"/>
                  </a:lnTo>
                  <a:lnTo>
                    <a:pt x="235" y="184"/>
                  </a:lnTo>
                  <a:lnTo>
                    <a:pt x="237" y="165"/>
                  </a:lnTo>
                  <a:lnTo>
                    <a:pt x="235" y="147"/>
                  </a:lnTo>
                  <a:lnTo>
                    <a:pt x="228" y="130"/>
                  </a:lnTo>
                  <a:lnTo>
                    <a:pt x="217" y="116"/>
                  </a:lnTo>
                  <a:lnTo>
                    <a:pt x="202" y="105"/>
                  </a:lnTo>
                  <a:lnTo>
                    <a:pt x="186" y="97"/>
                  </a:lnTo>
                  <a:lnTo>
                    <a:pt x="167" y="95"/>
                  </a:lnTo>
                  <a:close/>
                  <a:moveTo>
                    <a:pt x="167" y="0"/>
                  </a:moveTo>
                  <a:lnTo>
                    <a:pt x="197" y="2"/>
                  </a:lnTo>
                  <a:lnTo>
                    <a:pt x="225" y="11"/>
                  </a:lnTo>
                  <a:lnTo>
                    <a:pt x="251" y="22"/>
                  </a:lnTo>
                  <a:lnTo>
                    <a:pt x="275" y="39"/>
                  </a:lnTo>
                  <a:lnTo>
                    <a:pt x="295" y="59"/>
                  </a:lnTo>
                  <a:lnTo>
                    <a:pt x="310" y="82"/>
                  </a:lnTo>
                  <a:lnTo>
                    <a:pt x="323" y="108"/>
                  </a:lnTo>
                  <a:lnTo>
                    <a:pt x="330" y="136"/>
                  </a:lnTo>
                  <a:lnTo>
                    <a:pt x="333" y="167"/>
                  </a:lnTo>
                  <a:lnTo>
                    <a:pt x="330" y="196"/>
                  </a:lnTo>
                  <a:lnTo>
                    <a:pt x="323" y="224"/>
                  </a:lnTo>
                  <a:lnTo>
                    <a:pt x="310" y="250"/>
                  </a:lnTo>
                  <a:lnTo>
                    <a:pt x="295" y="273"/>
                  </a:lnTo>
                  <a:lnTo>
                    <a:pt x="275" y="293"/>
                  </a:lnTo>
                  <a:lnTo>
                    <a:pt x="251" y="310"/>
                  </a:lnTo>
                  <a:lnTo>
                    <a:pt x="225" y="322"/>
                  </a:lnTo>
                  <a:lnTo>
                    <a:pt x="197" y="330"/>
                  </a:lnTo>
                  <a:lnTo>
                    <a:pt x="167" y="332"/>
                  </a:lnTo>
                  <a:lnTo>
                    <a:pt x="137" y="330"/>
                  </a:lnTo>
                  <a:lnTo>
                    <a:pt x="109" y="322"/>
                  </a:lnTo>
                  <a:lnTo>
                    <a:pt x="83" y="310"/>
                  </a:lnTo>
                  <a:lnTo>
                    <a:pt x="60" y="293"/>
                  </a:lnTo>
                  <a:lnTo>
                    <a:pt x="40" y="273"/>
                  </a:lnTo>
                  <a:lnTo>
                    <a:pt x="23" y="250"/>
                  </a:lnTo>
                  <a:lnTo>
                    <a:pt x="11" y="224"/>
                  </a:lnTo>
                  <a:lnTo>
                    <a:pt x="3" y="196"/>
                  </a:lnTo>
                  <a:lnTo>
                    <a:pt x="0" y="167"/>
                  </a:lnTo>
                  <a:lnTo>
                    <a:pt x="3" y="136"/>
                  </a:lnTo>
                  <a:lnTo>
                    <a:pt x="11" y="108"/>
                  </a:lnTo>
                  <a:lnTo>
                    <a:pt x="23" y="82"/>
                  </a:lnTo>
                  <a:lnTo>
                    <a:pt x="40" y="59"/>
                  </a:lnTo>
                  <a:lnTo>
                    <a:pt x="60" y="39"/>
                  </a:lnTo>
                  <a:lnTo>
                    <a:pt x="83" y="22"/>
                  </a:lnTo>
                  <a:lnTo>
                    <a:pt x="109" y="11"/>
                  </a:lnTo>
                  <a:lnTo>
                    <a:pt x="137" y="2"/>
                  </a:lnTo>
                  <a:lnTo>
                    <a:pt x="167"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56" name="Freeform 188"/>
            <p:cNvSpPr>
              <a:spLocks noChangeArrowheads="1"/>
            </p:cNvSpPr>
            <p:nvPr/>
          </p:nvSpPr>
          <p:spPr bwMode="auto">
            <a:xfrm>
              <a:off x="3658" y="3110"/>
              <a:ext cx="36" cy="36"/>
            </a:xfrm>
            <a:custGeom>
              <a:avLst/>
              <a:gdLst>
                <a:gd name="T0" fmla="*/ 0 w 333"/>
                <a:gd name="T1" fmla="*/ 0 h 332"/>
                <a:gd name="T2" fmla="*/ 0 w 333"/>
                <a:gd name="T3" fmla="*/ 0 h 332"/>
                <a:gd name="T4" fmla="*/ 0 w 333"/>
                <a:gd name="T5" fmla="*/ 0 h 332"/>
                <a:gd name="T6" fmla="*/ 0 w 333"/>
                <a:gd name="T7" fmla="*/ 0 h 332"/>
                <a:gd name="T8" fmla="*/ 0 w 333"/>
                <a:gd name="T9" fmla="*/ 0 h 332"/>
                <a:gd name="T10" fmla="*/ 0 w 333"/>
                <a:gd name="T11" fmla="*/ 0 h 332"/>
                <a:gd name="T12" fmla="*/ 0 w 333"/>
                <a:gd name="T13" fmla="*/ 0 h 332"/>
                <a:gd name="T14" fmla="*/ 0 w 333"/>
                <a:gd name="T15" fmla="*/ 0 h 332"/>
                <a:gd name="T16" fmla="*/ 0 w 333"/>
                <a:gd name="T17" fmla="*/ 0 h 332"/>
                <a:gd name="T18" fmla="*/ 0 w 333"/>
                <a:gd name="T19" fmla="*/ 0 h 332"/>
                <a:gd name="T20" fmla="*/ 0 w 333"/>
                <a:gd name="T21" fmla="*/ 0 h 332"/>
                <a:gd name="T22" fmla="*/ 0 w 333"/>
                <a:gd name="T23" fmla="*/ 0 h 332"/>
                <a:gd name="T24" fmla="*/ 0 w 333"/>
                <a:gd name="T25" fmla="*/ 0 h 332"/>
                <a:gd name="T26" fmla="*/ 0 w 333"/>
                <a:gd name="T27" fmla="*/ 0 h 332"/>
                <a:gd name="T28" fmla="*/ 0 w 333"/>
                <a:gd name="T29" fmla="*/ 0 h 332"/>
                <a:gd name="T30" fmla="*/ 0 w 333"/>
                <a:gd name="T31" fmla="*/ 0 h 332"/>
                <a:gd name="T32" fmla="*/ 0 w 333"/>
                <a:gd name="T33" fmla="*/ 0 h 332"/>
                <a:gd name="T34" fmla="*/ 0 w 333"/>
                <a:gd name="T35" fmla="*/ 0 h 332"/>
                <a:gd name="T36" fmla="*/ 0 w 333"/>
                <a:gd name="T37" fmla="*/ 0 h 332"/>
                <a:gd name="T38" fmla="*/ 0 w 333"/>
                <a:gd name="T39" fmla="*/ 0 h 332"/>
                <a:gd name="T40" fmla="*/ 0 w 333"/>
                <a:gd name="T41" fmla="*/ 0 h 332"/>
                <a:gd name="T42" fmla="*/ 0 w 333"/>
                <a:gd name="T43" fmla="*/ 0 h 332"/>
                <a:gd name="T44" fmla="*/ 0 w 333"/>
                <a:gd name="T45" fmla="*/ 0 h 332"/>
                <a:gd name="T46" fmla="*/ 0 w 333"/>
                <a:gd name="T47" fmla="*/ 0 h 332"/>
                <a:gd name="T48" fmla="*/ 0 w 333"/>
                <a:gd name="T49" fmla="*/ 0 h 332"/>
                <a:gd name="T50" fmla="*/ 0 w 333"/>
                <a:gd name="T51" fmla="*/ 0 h 332"/>
                <a:gd name="T52" fmla="*/ 0 w 333"/>
                <a:gd name="T53" fmla="*/ 0 h 332"/>
                <a:gd name="T54" fmla="*/ 0 w 333"/>
                <a:gd name="T55" fmla="*/ 0 h 332"/>
                <a:gd name="T56" fmla="*/ 0 w 333"/>
                <a:gd name="T57" fmla="*/ 0 h 332"/>
                <a:gd name="T58" fmla="*/ 0 w 333"/>
                <a:gd name="T59" fmla="*/ 0 h 332"/>
                <a:gd name="T60" fmla="*/ 0 w 333"/>
                <a:gd name="T61" fmla="*/ 0 h 332"/>
                <a:gd name="T62" fmla="*/ 0 w 333"/>
                <a:gd name="T63" fmla="*/ 0 h 332"/>
                <a:gd name="T64" fmla="*/ 0 w 333"/>
                <a:gd name="T65" fmla="*/ 0 h 332"/>
                <a:gd name="T66" fmla="*/ 0 w 333"/>
                <a:gd name="T67" fmla="*/ 0 h 332"/>
                <a:gd name="T68" fmla="*/ 0 w 333"/>
                <a:gd name="T69" fmla="*/ 0 h 332"/>
                <a:gd name="T70" fmla="*/ 0 w 333"/>
                <a:gd name="T71" fmla="*/ 0 h 332"/>
                <a:gd name="T72" fmla="*/ 0 w 333"/>
                <a:gd name="T73" fmla="*/ 0 h 332"/>
                <a:gd name="T74" fmla="*/ 0 w 333"/>
                <a:gd name="T75" fmla="*/ 0 h 332"/>
                <a:gd name="T76" fmla="*/ 0 w 333"/>
                <a:gd name="T77" fmla="*/ 0 h 332"/>
                <a:gd name="T78" fmla="*/ 0 w 333"/>
                <a:gd name="T79" fmla="*/ 0 h 332"/>
                <a:gd name="T80" fmla="*/ 0 w 333"/>
                <a:gd name="T81" fmla="*/ 0 h 332"/>
                <a:gd name="T82" fmla="*/ 0 w 333"/>
                <a:gd name="T83" fmla="*/ 0 h 332"/>
                <a:gd name="T84" fmla="*/ 0 w 333"/>
                <a:gd name="T85" fmla="*/ 0 h 332"/>
                <a:gd name="T86" fmla="*/ 0 w 333"/>
                <a:gd name="T87" fmla="*/ 0 h 332"/>
                <a:gd name="T88" fmla="*/ 0 w 333"/>
                <a:gd name="T89" fmla="*/ 0 h 332"/>
                <a:gd name="T90" fmla="*/ 0 w 333"/>
                <a:gd name="T91" fmla="*/ 0 h 332"/>
                <a:gd name="T92" fmla="*/ 0 w 333"/>
                <a:gd name="T93" fmla="*/ 0 h 332"/>
                <a:gd name="T94" fmla="*/ 0 w 333"/>
                <a:gd name="T95" fmla="*/ 0 h 332"/>
                <a:gd name="T96" fmla="*/ 0 w 333"/>
                <a:gd name="T97" fmla="*/ 0 h 332"/>
                <a:gd name="T98" fmla="*/ 0 w 333"/>
                <a:gd name="T99" fmla="*/ 0 h 332"/>
                <a:gd name="T100" fmla="*/ 0 w 333"/>
                <a:gd name="T101" fmla="*/ 0 h 332"/>
                <a:gd name="T102" fmla="*/ 0 w 333"/>
                <a:gd name="T103" fmla="*/ 0 h 332"/>
                <a:gd name="T104" fmla="*/ 0 w 333"/>
                <a:gd name="T105" fmla="*/ 0 h 332"/>
                <a:gd name="T106" fmla="*/ 0 w 333"/>
                <a:gd name="T107" fmla="*/ 0 h 332"/>
                <a:gd name="T108" fmla="*/ 0 w 333"/>
                <a:gd name="T109" fmla="*/ 0 h 332"/>
                <a:gd name="T110" fmla="*/ 0 w 333"/>
                <a:gd name="T111" fmla="*/ 0 h 332"/>
                <a:gd name="T112" fmla="*/ 0 w 333"/>
                <a:gd name="T113" fmla="*/ 0 h 332"/>
                <a:gd name="T114" fmla="*/ 0 w 333"/>
                <a:gd name="T115" fmla="*/ 0 h 332"/>
                <a:gd name="T116" fmla="*/ 0 w 333"/>
                <a:gd name="T117" fmla="*/ 0 h 332"/>
                <a:gd name="T118" fmla="*/ 0 w 333"/>
                <a:gd name="T119" fmla="*/ 0 h 332"/>
                <a:gd name="T120" fmla="*/ 0 w 333"/>
                <a:gd name="T121" fmla="*/ 0 h 332"/>
                <a:gd name="T122" fmla="*/ 0 w 333"/>
                <a:gd name="T123" fmla="*/ 0 h 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
                <a:gd name="T187" fmla="*/ 0 h 332"/>
                <a:gd name="T188" fmla="*/ 333 w 333"/>
                <a:gd name="T189" fmla="*/ 332 h 3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 h="332">
                  <a:moveTo>
                    <a:pt x="167" y="95"/>
                  </a:moveTo>
                  <a:lnTo>
                    <a:pt x="148" y="97"/>
                  </a:lnTo>
                  <a:lnTo>
                    <a:pt x="131" y="105"/>
                  </a:lnTo>
                  <a:lnTo>
                    <a:pt x="117" y="116"/>
                  </a:lnTo>
                  <a:lnTo>
                    <a:pt x="106" y="130"/>
                  </a:lnTo>
                  <a:lnTo>
                    <a:pt x="100" y="147"/>
                  </a:lnTo>
                  <a:lnTo>
                    <a:pt x="96" y="165"/>
                  </a:lnTo>
                  <a:lnTo>
                    <a:pt x="100" y="184"/>
                  </a:lnTo>
                  <a:lnTo>
                    <a:pt x="106" y="201"/>
                  </a:lnTo>
                  <a:lnTo>
                    <a:pt x="117" y="216"/>
                  </a:lnTo>
                  <a:lnTo>
                    <a:pt x="131" y="226"/>
                  </a:lnTo>
                  <a:lnTo>
                    <a:pt x="148" y="234"/>
                  </a:lnTo>
                  <a:lnTo>
                    <a:pt x="167" y="236"/>
                  </a:lnTo>
                  <a:lnTo>
                    <a:pt x="186" y="234"/>
                  </a:lnTo>
                  <a:lnTo>
                    <a:pt x="202" y="226"/>
                  </a:lnTo>
                  <a:lnTo>
                    <a:pt x="217" y="216"/>
                  </a:lnTo>
                  <a:lnTo>
                    <a:pt x="227" y="201"/>
                  </a:lnTo>
                  <a:lnTo>
                    <a:pt x="235" y="184"/>
                  </a:lnTo>
                  <a:lnTo>
                    <a:pt x="237" y="165"/>
                  </a:lnTo>
                  <a:lnTo>
                    <a:pt x="235" y="147"/>
                  </a:lnTo>
                  <a:lnTo>
                    <a:pt x="227" y="130"/>
                  </a:lnTo>
                  <a:lnTo>
                    <a:pt x="217" y="116"/>
                  </a:lnTo>
                  <a:lnTo>
                    <a:pt x="202" y="105"/>
                  </a:lnTo>
                  <a:lnTo>
                    <a:pt x="186" y="97"/>
                  </a:lnTo>
                  <a:lnTo>
                    <a:pt x="167" y="95"/>
                  </a:lnTo>
                  <a:close/>
                  <a:moveTo>
                    <a:pt x="167" y="0"/>
                  </a:moveTo>
                  <a:lnTo>
                    <a:pt x="197" y="2"/>
                  </a:lnTo>
                  <a:lnTo>
                    <a:pt x="225" y="11"/>
                  </a:lnTo>
                  <a:lnTo>
                    <a:pt x="250" y="22"/>
                  </a:lnTo>
                  <a:lnTo>
                    <a:pt x="273" y="39"/>
                  </a:lnTo>
                  <a:lnTo>
                    <a:pt x="294" y="59"/>
                  </a:lnTo>
                  <a:lnTo>
                    <a:pt x="310" y="82"/>
                  </a:lnTo>
                  <a:lnTo>
                    <a:pt x="323" y="108"/>
                  </a:lnTo>
                  <a:lnTo>
                    <a:pt x="330" y="136"/>
                  </a:lnTo>
                  <a:lnTo>
                    <a:pt x="333" y="165"/>
                  </a:lnTo>
                  <a:lnTo>
                    <a:pt x="330" y="196"/>
                  </a:lnTo>
                  <a:lnTo>
                    <a:pt x="323" y="224"/>
                  </a:lnTo>
                  <a:lnTo>
                    <a:pt x="310" y="250"/>
                  </a:lnTo>
                  <a:lnTo>
                    <a:pt x="294" y="273"/>
                  </a:lnTo>
                  <a:lnTo>
                    <a:pt x="275" y="293"/>
                  </a:lnTo>
                  <a:lnTo>
                    <a:pt x="250" y="309"/>
                  </a:lnTo>
                  <a:lnTo>
                    <a:pt x="225" y="322"/>
                  </a:lnTo>
                  <a:lnTo>
                    <a:pt x="197" y="330"/>
                  </a:lnTo>
                  <a:lnTo>
                    <a:pt x="167" y="332"/>
                  </a:lnTo>
                  <a:lnTo>
                    <a:pt x="137" y="330"/>
                  </a:lnTo>
                  <a:lnTo>
                    <a:pt x="109" y="322"/>
                  </a:lnTo>
                  <a:lnTo>
                    <a:pt x="83" y="309"/>
                  </a:lnTo>
                  <a:lnTo>
                    <a:pt x="60" y="293"/>
                  </a:lnTo>
                  <a:lnTo>
                    <a:pt x="40" y="273"/>
                  </a:lnTo>
                  <a:lnTo>
                    <a:pt x="23" y="250"/>
                  </a:lnTo>
                  <a:lnTo>
                    <a:pt x="11" y="224"/>
                  </a:lnTo>
                  <a:lnTo>
                    <a:pt x="3" y="196"/>
                  </a:lnTo>
                  <a:lnTo>
                    <a:pt x="0" y="165"/>
                  </a:lnTo>
                  <a:lnTo>
                    <a:pt x="3" y="136"/>
                  </a:lnTo>
                  <a:lnTo>
                    <a:pt x="11" y="108"/>
                  </a:lnTo>
                  <a:lnTo>
                    <a:pt x="23" y="82"/>
                  </a:lnTo>
                  <a:lnTo>
                    <a:pt x="40" y="59"/>
                  </a:lnTo>
                  <a:lnTo>
                    <a:pt x="60" y="39"/>
                  </a:lnTo>
                  <a:lnTo>
                    <a:pt x="83" y="22"/>
                  </a:lnTo>
                  <a:lnTo>
                    <a:pt x="109" y="11"/>
                  </a:lnTo>
                  <a:lnTo>
                    <a:pt x="137" y="2"/>
                  </a:lnTo>
                  <a:lnTo>
                    <a:pt x="167"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57" name="Freeform 189"/>
            <p:cNvSpPr>
              <a:spLocks noChangeArrowheads="1"/>
            </p:cNvSpPr>
            <p:nvPr/>
          </p:nvSpPr>
          <p:spPr bwMode="auto">
            <a:xfrm>
              <a:off x="3477" y="3058"/>
              <a:ext cx="240" cy="75"/>
            </a:xfrm>
            <a:custGeom>
              <a:avLst/>
              <a:gdLst>
                <a:gd name="T0" fmla="*/ 0 w 2166"/>
                <a:gd name="T1" fmla="*/ 0 h 682"/>
                <a:gd name="T2" fmla="*/ 0 w 2166"/>
                <a:gd name="T3" fmla="*/ 0 h 682"/>
                <a:gd name="T4" fmla="*/ 0 w 2166"/>
                <a:gd name="T5" fmla="*/ 0 h 682"/>
                <a:gd name="T6" fmla="*/ 0 w 2166"/>
                <a:gd name="T7" fmla="*/ 0 h 682"/>
                <a:gd name="T8" fmla="*/ 0 w 2166"/>
                <a:gd name="T9" fmla="*/ 0 h 682"/>
                <a:gd name="T10" fmla="*/ 0 w 2166"/>
                <a:gd name="T11" fmla="*/ 0 h 682"/>
                <a:gd name="T12" fmla="*/ 0 w 2166"/>
                <a:gd name="T13" fmla="*/ 0 h 682"/>
                <a:gd name="T14" fmla="*/ 0 w 2166"/>
                <a:gd name="T15" fmla="*/ 0 h 682"/>
                <a:gd name="T16" fmla="*/ 0 w 2166"/>
                <a:gd name="T17" fmla="*/ 0 h 682"/>
                <a:gd name="T18" fmla="*/ 0 w 2166"/>
                <a:gd name="T19" fmla="*/ 0 h 682"/>
                <a:gd name="T20" fmla="*/ 0 w 2166"/>
                <a:gd name="T21" fmla="*/ 0 h 682"/>
                <a:gd name="T22" fmla="*/ 0 w 2166"/>
                <a:gd name="T23" fmla="*/ 0 h 682"/>
                <a:gd name="T24" fmla="*/ 0 w 2166"/>
                <a:gd name="T25" fmla="*/ 0 h 682"/>
                <a:gd name="T26" fmla="*/ 0 w 2166"/>
                <a:gd name="T27" fmla="*/ 0 h 682"/>
                <a:gd name="T28" fmla="*/ 0 w 2166"/>
                <a:gd name="T29" fmla="*/ 0 h 682"/>
                <a:gd name="T30" fmla="*/ 0 w 2166"/>
                <a:gd name="T31" fmla="*/ 0 h 682"/>
                <a:gd name="T32" fmla="*/ 0 w 2166"/>
                <a:gd name="T33" fmla="*/ 0 h 682"/>
                <a:gd name="T34" fmla="*/ 0 w 2166"/>
                <a:gd name="T35" fmla="*/ 0 h 682"/>
                <a:gd name="T36" fmla="*/ 0 w 2166"/>
                <a:gd name="T37" fmla="*/ 0 h 682"/>
                <a:gd name="T38" fmla="*/ 0 w 2166"/>
                <a:gd name="T39" fmla="*/ 0 h 682"/>
                <a:gd name="T40" fmla="*/ 0 w 2166"/>
                <a:gd name="T41" fmla="*/ 0 h 682"/>
                <a:gd name="T42" fmla="*/ 0 w 2166"/>
                <a:gd name="T43" fmla="*/ 0 h 682"/>
                <a:gd name="T44" fmla="*/ 0 w 2166"/>
                <a:gd name="T45" fmla="*/ 0 h 682"/>
                <a:gd name="T46" fmla="*/ 0 w 2166"/>
                <a:gd name="T47" fmla="*/ 0 h 682"/>
                <a:gd name="T48" fmla="*/ 0 w 2166"/>
                <a:gd name="T49" fmla="*/ 0 h 682"/>
                <a:gd name="T50" fmla="*/ 0 w 2166"/>
                <a:gd name="T51" fmla="*/ 0 h 682"/>
                <a:gd name="T52" fmla="*/ 0 w 2166"/>
                <a:gd name="T53" fmla="*/ 0 h 682"/>
                <a:gd name="T54" fmla="*/ 0 w 2166"/>
                <a:gd name="T55" fmla="*/ 0 h 682"/>
                <a:gd name="T56" fmla="*/ 0 w 2166"/>
                <a:gd name="T57" fmla="*/ 0 h 682"/>
                <a:gd name="T58" fmla="*/ 0 w 2166"/>
                <a:gd name="T59" fmla="*/ 0 h 682"/>
                <a:gd name="T60" fmla="*/ 0 w 2166"/>
                <a:gd name="T61" fmla="*/ 0 h 682"/>
                <a:gd name="T62" fmla="*/ 0 w 2166"/>
                <a:gd name="T63" fmla="*/ 0 h 682"/>
                <a:gd name="T64" fmla="*/ 0 w 2166"/>
                <a:gd name="T65" fmla="*/ 0 h 682"/>
                <a:gd name="T66" fmla="*/ 0 w 2166"/>
                <a:gd name="T67" fmla="*/ 0 h 682"/>
                <a:gd name="T68" fmla="*/ 0 w 2166"/>
                <a:gd name="T69" fmla="*/ 0 h 682"/>
                <a:gd name="T70" fmla="*/ 0 w 2166"/>
                <a:gd name="T71" fmla="*/ 0 h 682"/>
                <a:gd name="T72" fmla="*/ 0 w 2166"/>
                <a:gd name="T73" fmla="*/ 0 h 682"/>
                <a:gd name="T74" fmla="*/ 0 w 2166"/>
                <a:gd name="T75" fmla="*/ 0 h 682"/>
                <a:gd name="T76" fmla="*/ 0 w 2166"/>
                <a:gd name="T77" fmla="*/ 0 h 682"/>
                <a:gd name="T78" fmla="*/ 0 w 2166"/>
                <a:gd name="T79" fmla="*/ 0 h 682"/>
                <a:gd name="T80" fmla="*/ 0 w 2166"/>
                <a:gd name="T81" fmla="*/ 0 h 682"/>
                <a:gd name="T82" fmla="*/ 0 w 2166"/>
                <a:gd name="T83" fmla="*/ 0 h 682"/>
                <a:gd name="T84" fmla="*/ 0 w 2166"/>
                <a:gd name="T85" fmla="*/ 0 h 682"/>
                <a:gd name="T86" fmla="*/ 0 w 2166"/>
                <a:gd name="T87" fmla="*/ 0 h 682"/>
                <a:gd name="T88" fmla="*/ 0 w 2166"/>
                <a:gd name="T89" fmla="*/ 0 h 682"/>
                <a:gd name="T90" fmla="*/ 0 w 2166"/>
                <a:gd name="T91" fmla="*/ 0 h 682"/>
                <a:gd name="T92" fmla="*/ 0 w 2166"/>
                <a:gd name="T93" fmla="*/ 0 h 682"/>
                <a:gd name="T94" fmla="*/ 0 w 2166"/>
                <a:gd name="T95" fmla="*/ 0 h 682"/>
                <a:gd name="T96" fmla="*/ 0 w 2166"/>
                <a:gd name="T97" fmla="*/ 0 h 682"/>
                <a:gd name="T98" fmla="*/ 0 w 2166"/>
                <a:gd name="T99" fmla="*/ 0 h 682"/>
                <a:gd name="T100" fmla="*/ 0 w 2166"/>
                <a:gd name="T101" fmla="*/ 0 h 682"/>
                <a:gd name="T102" fmla="*/ 0 w 2166"/>
                <a:gd name="T103" fmla="*/ 0 h 682"/>
                <a:gd name="T104" fmla="*/ 0 w 2166"/>
                <a:gd name="T105" fmla="*/ 0 h 682"/>
                <a:gd name="T106" fmla="*/ 0 w 2166"/>
                <a:gd name="T107" fmla="*/ 0 h 682"/>
                <a:gd name="T108" fmla="*/ 0 w 2166"/>
                <a:gd name="T109" fmla="*/ 0 h 682"/>
                <a:gd name="T110" fmla="*/ 0 w 2166"/>
                <a:gd name="T111" fmla="*/ 0 h 682"/>
                <a:gd name="T112" fmla="*/ 0 w 2166"/>
                <a:gd name="T113" fmla="*/ 0 h 682"/>
                <a:gd name="T114" fmla="*/ 0 w 2166"/>
                <a:gd name="T115" fmla="*/ 0 h 682"/>
                <a:gd name="T116" fmla="*/ 0 w 2166"/>
                <a:gd name="T117" fmla="*/ 0 h 682"/>
                <a:gd name="T118" fmla="*/ 0 w 2166"/>
                <a:gd name="T119" fmla="*/ 0 h 682"/>
                <a:gd name="T120" fmla="*/ 0 w 2166"/>
                <a:gd name="T121" fmla="*/ 0 h 682"/>
                <a:gd name="T122" fmla="*/ 0 w 2166"/>
                <a:gd name="T123" fmla="*/ 0 h 6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6"/>
                <a:gd name="T187" fmla="*/ 0 h 682"/>
                <a:gd name="T188" fmla="*/ 2166 w 2166"/>
                <a:gd name="T189" fmla="*/ 682 h 6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6" h="682">
                  <a:moveTo>
                    <a:pt x="938" y="75"/>
                  </a:moveTo>
                  <a:lnTo>
                    <a:pt x="934" y="75"/>
                  </a:lnTo>
                  <a:lnTo>
                    <a:pt x="923" y="75"/>
                  </a:lnTo>
                  <a:lnTo>
                    <a:pt x="907" y="75"/>
                  </a:lnTo>
                  <a:lnTo>
                    <a:pt x="885" y="76"/>
                  </a:lnTo>
                  <a:lnTo>
                    <a:pt x="860" y="77"/>
                  </a:lnTo>
                  <a:lnTo>
                    <a:pt x="832" y="78"/>
                  </a:lnTo>
                  <a:lnTo>
                    <a:pt x="804" y="81"/>
                  </a:lnTo>
                  <a:lnTo>
                    <a:pt x="775" y="83"/>
                  </a:lnTo>
                  <a:lnTo>
                    <a:pt x="746" y="86"/>
                  </a:lnTo>
                  <a:lnTo>
                    <a:pt x="720" y="91"/>
                  </a:lnTo>
                  <a:lnTo>
                    <a:pt x="698" y="96"/>
                  </a:lnTo>
                  <a:lnTo>
                    <a:pt x="679" y="103"/>
                  </a:lnTo>
                  <a:lnTo>
                    <a:pt x="667" y="110"/>
                  </a:lnTo>
                  <a:lnTo>
                    <a:pt x="652" y="122"/>
                  </a:lnTo>
                  <a:lnTo>
                    <a:pt x="638" y="138"/>
                  </a:lnTo>
                  <a:lnTo>
                    <a:pt x="623" y="155"/>
                  </a:lnTo>
                  <a:lnTo>
                    <a:pt x="609" y="174"/>
                  </a:lnTo>
                  <a:lnTo>
                    <a:pt x="598" y="192"/>
                  </a:lnTo>
                  <a:lnTo>
                    <a:pt x="586" y="209"/>
                  </a:lnTo>
                  <a:lnTo>
                    <a:pt x="578" y="226"/>
                  </a:lnTo>
                  <a:lnTo>
                    <a:pt x="569" y="240"/>
                  </a:lnTo>
                  <a:lnTo>
                    <a:pt x="564" y="251"/>
                  </a:lnTo>
                  <a:lnTo>
                    <a:pt x="560" y="259"/>
                  </a:lnTo>
                  <a:lnTo>
                    <a:pt x="559" y="261"/>
                  </a:lnTo>
                  <a:lnTo>
                    <a:pt x="947" y="287"/>
                  </a:lnTo>
                  <a:lnTo>
                    <a:pt x="938" y="75"/>
                  </a:lnTo>
                  <a:close/>
                  <a:moveTo>
                    <a:pt x="1003" y="75"/>
                  </a:moveTo>
                  <a:lnTo>
                    <a:pt x="1016" y="290"/>
                  </a:lnTo>
                  <a:lnTo>
                    <a:pt x="1554" y="311"/>
                  </a:lnTo>
                  <a:lnTo>
                    <a:pt x="1555" y="311"/>
                  </a:lnTo>
                  <a:lnTo>
                    <a:pt x="1559" y="311"/>
                  </a:lnTo>
                  <a:lnTo>
                    <a:pt x="1564" y="312"/>
                  </a:lnTo>
                  <a:lnTo>
                    <a:pt x="1572" y="312"/>
                  </a:lnTo>
                  <a:lnTo>
                    <a:pt x="1579" y="312"/>
                  </a:lnTo>
                  <a:lnTo>
                    <a:pt x="1587" y="312"/>
                  </a:lnTo>
                  <a:lnTo>
                    <a:pt x="1596" y="311"/>
                  </a:lnTo>
                  <a:lnTo>
                    <a:pt x="1603" y="310"/>
                  </a:lnTo>
                  <a:lnTo>
                    <a:pt x="1609" y="308"/>
                  </a:lnTo>
                  <a:lnTo>
                    <a:pt x="1614" y="306"/>
                  </a:lnTo>
                  <a:lnTo>
                    <a:pt x="1617" y="302"/>
                  </a:lnTo>
                  <a:lnTo>
                    <a:pt x="1617" y="296"/>
                  </a:lnTo>
                  <a:lnTo>
                    <a:pt x="1614" y="290"/>
                  </a:lnTo>
                  <a:lnTo>
                    <a:pt x="1606" y="283"/>
                  </a:lnTo>
                  <a:lnTo>
                    <a:pt x="1596" y="274"/>
                  </a:lnTo>
                  <a:lnTo>
                    <a:pt x="1580" y="263"/>
                  </a:lnTo>
                  <a:lnTo>
                    <a:pt x="1560" y="250"/>
                  </a:lnTo>
                  <a:lnTo>
                    <a:pt x="1523" y="229"/>
                  </a:lnTo>
                  <a:lnTo>
                    <a:pt x="1481" y="206"/>
                  </a:lnTo>
                  <a:lnTo>
                    <a:pt x="1435" y="184"/>
                  </a:lnTo>
                  <a:lnTo>
                    <a:pt x="1385" y="162"/>
                  </a:lnTo>
                  <a:lnTo>
                    <a:pt x="1334" y="141"/>
                  </a:lnTo>
                  <a:lnTo>
                    <a:pt x="1281" y="121"/>
                  </a:lnTo>
                  <a:lnTo>
                    <a:pt x="1226" y="105"/>
                  </a:lnTo>
                  <a:lnTo>
                    <a:pt x="1171" y="91"/>
                  </a:lnTo>
                  <a:lnTo>
                    <a:pt x="1114" y="82"/>
                  </a:lnTo>
                  <a:lnTo>
                    <a:pt x="1059" y="75"/>
                  </a:lnTo>
                  <a:lnTo>
                    <a:pt x="1003" y="75"/>
                  </a:lnTo>
                  <a:close/>
                  <a:moveTo>
                    <a:pt x="950" y="0"/>
                  </a:moveTo>
                  <a:lnTo>
                    <a:pt x="992" y="0"/>
                  </a:lnTo>
                  <a:lnTo>
                    <a:pt x="1032" y="1"/>
                  </a:lnTo>
                  <a:lnTo>
                    <a:pt x="1070" y="3"/>
                  </a:lnTo>
                  <a:lnTo>
                    <a:pt x="1105" y="5"/>
                  </a:lnTo>
                  <a:lnTo>
                    <a:pt x="1134" y="8"/>
                  </a:lnTo>
                  <a:lnTo>
                    <a:pt x="1159" y="13"/>
                  </a:lnTo>
                  <a:lnTo>
                    <a:pt x="1179" y="18"/>
                  </a:lnTo>
                  <a:lnTo>
                    <a:pt x="1203" y="24"/>
                  </a:lnTo>
                  <a:lnTo>
                    <a:pt x="1230" y="33"/>
                  </a:lnTo>
                  <a:lnTo>
                    <a:pt x="1259" y="43"/>
                  </a:lnTo>
                  <a:lnTo>
                    <a:pt x="1290" y="55"/>
                  </a:lnTo>
                  <a:lnTo>
                    <a:pt x="1322" y="68"/>
                  </a:lnTo>
                  <a:lnTo>
                    <a:pt x="1357" y="82"/>
                  </a:lnTo>
                  <a:lnTo>
                    <a:pt x="1392" y="95"/>
                  </a:lnTo>
                  <a:lnTo>
                    <a:pt x="1426" y="110"/>
                  </a:lnTo>
                  <a:lnTo>
                    <a:pt x="1461" y="125"/>
                  </a:lnTo>
                  <a:lnTo>
                    <a:pt x="1494" y="139"/>
                  </a:lnTo>
                  <a:lnTo>
                    <a:pt x="1527" y="153"/>
                  </a:lnTo>
                  <a:lnTo>
                    <a:pt x="1558" y="168"/>
                  </a:lnTo>
                  <a:lnTo>
                    <a:pt x="1587" y="180"/>
                  </a:lnTo>
                  <a:lnTo>
                    <a:pt x="1614" y="192"/>
                  </a:lnTo>
                  <a:lnTo>
                    <a:pt x="1638" y="203"/>
                  </a:lnTo>
                  <a:lnTo>
                    <a:pt x="1659" y="213"/>
                  </a:lnTo>
                  <a:lnTo>
                    <a:pt x="1675" y="220"/>
                  </a:lnTo>
                  <a:lnTo>
                    <a:pt x="1688" y="225"/>
                  </a:lnTo>
                  <a:lnTo>
                    <a:pt x="1695" y="229"/>
                  </a:lnTo>
                  <a:lnTo>
                    <a:pt x="1698" y="230"/>
                  </a:lnTo>
                  <a:lnTo>
                    <a:pt x="1761" y="244"/>
                  </a:lnTo>
                  <a:lnTo>
                    <a:pt x="1820" y="259"/>
                  </a:lnTo>
                  <a:lnTo>
                    <a:pt x="1874" y="273"/>
                  </a:lnTo>
                  <a:lnTo>
                    <a:pt x="1925" y="288"/>
                  </a:lnTo>
                  <a:lnTo>
                    <a:pt x="1970" y="304"/>
                  </a:lnTo>
                  <a:lnTo>
                    <a:pt x="2011" y="320"/>
                  </a:lnTo>
                  <a:lnTo>
                    <a:pt x="2046" y="338"/>
                  </a:lnTo>
                  <a:lnTo>
                    <a:pt x="2077" y="357"/>
                  </a:lnTo>
                  <a:lnTo>
                    <a:pt x="2102" y="378"/>
                  </a:lnTo>
                  <a:lnTo>
                    <a:pt x="2118" y="399"/>
                  </a:lnTo>
                  <a:lnTo>
                    <a:pt x="2132" y="423"/>
                  </a:lnTo>
                  <a:lnTo>
                    <a:pt x="2143" y="449"/>
                  </a:lnTo>
                  <a:lnTo>
                    <a:pt x="2151" y="479"/>
                  </a:lnTo>
                  <a:lnTo>
                    <a:pt x="2157" y="509"/>
                  </a:lnTo>
                  <a:lnTo>
                    <a:pt x="2161" y="538"/>
                  </a:lnTo>
                  <a:lnTo>
                    <a:pt x="2163" y="568"/>
                  </a:lnTo>
                  <a:lnTo>
                    <a:pt x="2166" y="595"/>
                  </a:lnTo>
                  <a:lnTo>
                    <a:pt x="2166" y="619"/>
                  </a:lnTo>
                  <a:lnTo>
                    <a:pt x="2166" y="640"/>
                  </a:lnTo>
                  <a:lnTo>
                    <a:pt x="2166" y="656"/>
                  </a:lnTo>
                  <a:lnTo>
                    <a:pt x="2166" y="666"/>
                  </a:lnTo>
                  <a:lnTo>
                    <a:pt x="2164" y="669"/>
                  </a:lnTo>
                  <a:lnTo>
                    <a:pt x="2151" y="673"/>
                  </a:lnTo>
                  <a:lnTo>
                    <a:pt x="2132" y="676"/>
                  </a:lnTo>
                  <a:lnTo>
                    <a:pt x="2111" y="678"/>
                  </a:lnTo>
                  <a:lnTo>
                    <a:pt x="2088" y="679"/>
                  </a:lnTo>
                  <a:lnTo>
                    <a:pt x="2066" y="679"/>
                  </a:lnTo>
                  <a:lnTo>
                    <a:pt x="2045" y="679"/>
                  </a:lnTo>
                  <a:lnTo>
                    <a:pt x="2026" y="679"/>
                  </a:lnTo>
                  <a:lnTo>
                    <a:pt x="2011" y="678"/>
                  </a:lnTo>
                  <a:lnTo>
                    <a:pt x="2001" y="678"/>
                  </a:lnTo>
                  <a:lnTo>
                    <a:pt x="1997" y="678"/>
                  </a:lnTo>
                  <a:lnTo>
                    <a:pt x="1993" y="621"/>
                  </a:lnTo>
                  <a:lnTo>
                    <a:pt x="1991" y="589"/>
                  </a:lnTo>
                  <a:lnTo>
                    <a:pt x="1982" y="557"/>
                  </a:lnTo>
                  <a:lnTo>
                    <a:pt x="1970" y="530"/>
                  </a:lnTo>
                  <a:lnTo>
                    <a:pt x="1952" y="505"/>
                  </a:lnTo>
                  <a:lnTo>
                    <a:pt x="1931" y="482"/>
                  </a:lnTo>
                  <a:lnTo>
                    <a:pt x="1907" y="463"/>
                  </a:lnTo>
                  <a:lnTo>
                    <a:pt x="1880" y="448"/>
                  </a:lnTo>
                  <a:lnTo>
                    <a:pt x="1850" y="437"/>
                  </a:lnTo>
                  <a:lnTo>
                    <a:pt x="1819" y="429"/>
                  </a:lnTo>
                  <a:lnTo>
                    <a:pt x="1785" y="427"/>
                  </a:lnTo>
                  <a:lnTo>
                    <a:pt x="1750" y="430"/>
                  </a:lnTo>
                  <a:lnTo>
                    <a:pt x="1716" y="439"/>
                  </a:lnTo>
                  <a:lnTo>
                    <a:pt x="1686" y="452"/>
                  </a:lnTo>
                  <a:lnTo>
                    <a:pt x="1659" y="471"/>
                  </a:lnTo>
                  <a:lnTo>
                    <a:pt x="1636" y="494"/>
                  </a:lnTo>
                  <a:lnTo>
                    <a:pt x="1617" y="520"/>
                  </a:lnTo>
                  <a:lnTo>
                    <a:pt x="1602" y="551"/>
                  </a:lnTo>
                  <a:lnTo>
                    <a:pt x="1594" y="584"/>
                  </a:lnTo>
                  <a:lnTo>
                    <a:pt x="1591" y="621"/>
                  </a:lnTo>
                  <a:lnTo>
                    <a:pt x="1591" y="682"/>
                  </a:lnTo>
                  <a:lnTo>
                    <a:pt x="537" y="682"/>
                  </a:lnTo>
                  <a:lnTo>
                    <a:pt x="533" y="632"/>
                  </a:lnTo>
                  <a:lnTo>
                    <a:pt x="530" y="597"/>
                  </a:lnTo>
                  <a:lnTo>
                    <a:pt x="520" y="562"/>
                  </a:lnTo>
                  <a:lnTo>
                    <a:pt x="506" y="531"/>
                  </a:lnTo>
                  <a:lnTo>
                    <a:pt x="486" y="504"/>
                  </a:lnTo>
                  <a:lnTo>
                    <a:pt x="462" y="479"/>
                  </a:lnTo>
                  <a:lnTo>
                    <a:pt x="433" y="459"/>
                  </a:lnTo>
                  <a:lnTo>
                    <a:pt x="402" y="444"/>
                  </a:lnTo>
                  <a:lnTo>
                    <a:pt x="368" y="435"/>
                  </a:lnTo>
                  <a:lnTo>
                    <a:pt x="332" y="431"/>
                  </a:lnTo>
                  <a:lnTo>
                    <a:pt x="296" y="435"/>
                  </a:lnTo>
                  <a:lnTo>
                    <a:pt x="262" y="444"/>
                  </a:lnTo>
                  <a:lnTo>
                    <a:pt x="230" y="459"/>
                  </a:lnTo>
                  <a:lnTo>
                    <a:pt x="202" y="479"/>
                  </a:lnTo>
                  <a:lnTo>
                    <a:pt x="178" y="504"/>
                  </a:lnTo>
                  <a:lnTo>
                    <a:pt x="158" y="531"/>
                  </a:lnTo>
                  <a:lnTo>
                    <a:pt x="143" y="562"/>
                  </a:lnTo>
                  <a:lnTo>
                    <a:pt x="134" y="597"/>
                  </a:lnTo>
                  <a:lnTo>
                    <a:pt x="131" y="632"/>
                  </a:lnTo>
                  <a:lnTo>
                    <a:pt x="129" y="682"/>
                  </a:lnTo>
                  <a:lnTo>
                    <a:pt x="8" y="682"/>
                  </a:lnTo>
                  <a:lnTo>
                    <a:pt x="6" y="669"/>
                  </a:lnTo>
                  <a:lnTo>
                    <a:pt x="4" y="652"/>
                  </a:lnTo>
                  <a:lnTo>
                    <a:pt x="3" y="631"/>
                  </a:lnTo>
                  <a:lnTo>
                    <a:pt x="2" y="608"/>
                  </a:lnTo>
                  <a:lnTo>
                    <a:pt x="1" y="585"/>
                  </a:lnTo>
                  <a:lnTo>
                    <a:pt x="1" y="563"/>
                  </a:lnTo>
                  <a:lnTo>
                    <a:pt x="0" y="543"/>
                  </a:lnTo>
                  <a:lnTo>
                    <a:pt x="0" y="527"/>
                  </a:lnTo>
                  <a:lnTo>
                    <a:pt x="0" y="516"/>
                  </a:lnTo>
                  <a:lnTo>
                    <a:pt x="0" y="513"/>
                  </a:lnTo>
                  <a:lnTo>
                    <a:pt x="40" y="281"/>
                  </a:lnTo>
                  <a:lnTo>
                    <a:pt x="286" y="160"/>
                  </a:lnTo>
                  <a:lnTo>
                    <a:pt x="537" y="38"/>
                  </a:lnTo>
                  <a:lnTo>
                    <a:pt x="548" y="32"/>
                  </a:lnTo>
                  <a:lnTo>
                    <a:pt x="565" y="28"/>
                  </a:lnTo>
                  <a:lnTo>
                    <a:pt x="588" y="24"/>
                  </a:lnTo>
                  <a:lnTo>
                    <a:pt x="618" y="20"/>
                  </a:lnTo>
                  <a:lnTo>
                    <a:pt x="651" y="16"/>
                  </a:lnTo>
                  <a:lnTo>
                    <a:pt x="688" y="13"/>
                  </a:lnTo>
                  <a:lnTo>
                    <a:pt x="729" y="9"/>
                  </a:lnTo>
                  <a:lnTo>
                    <a:pt x="771" y="6"/>
                  </a:lnTo>
                  <a:lnTo>
                    <a:pt x="815" y="4"/>
                  </a:lnTo>
                  <a:lnTo>
                    <a:pt x="860" y="2"/>
                  </a:lnTo>
                  <a:lnTo>
                    <a:pt x="905" y="1"/>
                  </a:lnTo>
                  <a:lnTo>
                    <a:pt x="95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58" name="Freeform 190"/>
            <p:cNvSpPr>
              <a:spLocks noChangeArrowheads="1"/>
            </p:cNvSpPr>
            <p:nvPr/>
          </p:nvSpPr>
          <p:spPr bwMode="auto">
            <a:xfrm>
              <a:off x="3741" y="3110"/>
              <a:ext cx="36" cy="36"/>
            </a:xfrm>
            <a:custGeom>
              <a:avLst/>
              <a:gdLst>
                <a:gd name="T0" fmla="*/ 0 w 333"/>
                <a:gd name="T1" fmla="*/ 0 h 332"/>
                <a:gd name="T2" fmla="*/ 0 w 333"/>
                <a:gd name="T3" fmla="*/ 0 h 332"/>
                <a:gd name="T4" fmla="*/ 0 w 333"/>
                <a:gd name="T5" fmla="*/ 0 h 332"/>
                <a:gd name="T6" fmla="*/ 0 w 333"/>
                <a:gd name="T7" fmla="*/ 0 h 332"/>
                <a:gd name="T8" fmla="*/ 0 w 333"/>
                <a:gd name="T9" fmla="*/ 0 h 332"/>
                <a:gd name="T10" fmla="*/ 0 w 333"/>
                <a:gd name="T11" fmla="*/ 0 h 332"/>
                <a:gd name="T12" fmla="*/ 0 w 333"/>
                <a:gd name="T13" fmla="*/ 0 h 332"/>
                <a:gd name="T14" fmla="*/ 0 w 333"/>
                <a:gd name="T15" fmla="*/ 0 h 332"/>
                <a:gd name="T16" fmla="*/ 0 w 333"/>
                <a:gd name="T17" fmla="*/ 0 h 332"/>
                <a:gd name="T18" fmla="*/ 0 w 333"/>
                <a:gd name="T19" fmla="*/ 0 h 332"/>
                <a:gd name="T20" fmla="*/ 0 w 333"/>
                <a:gd name="T21" fmla="*/ 0 h 332"/>
                <a:gd name="T22" fmla="*/ 0 w 333"/>
                <a:gd name="T23" fmla="*/ 0 h 332"/>
                <a:gd name="T24" fmla="*/ 0 w 333"/>
                <a:gd name="T25" fmla="*/ 0 h 332"/>
                <a:gd name="T26" fmla="*/ 0 w 333"/>
                <a:gd name="T27" fmla="*/ 0 h 332"/>
                <a:gd name="T28" fmla="*/ 0 w 333"/>
                <a:gd name="T29" fmla="*/ 0 h 332"/>
                <a:gd name="T30" fmla="*/ 0 w 333"/>
                <a:gd name="T31" fmla="*/ 0 h 332"/>
                <a:gd name="T32" fmla="*/ 0 w 333"/>
                <a:gd name="T33" fmla="*/ 0 h 332"/>
                <a:gd name="T34" fmla="*/ 0 w 333"/>
                <a:gd name="T35" fmla="*/ 0 h 332"/>
                <a:gd name="T36" fmla="*/ 0 w 333"/>
                <a:gd name="T37" fmla="*/ 0 h 332"/>
                <a:gd name="T38" fmla="*/ 0 w 333"/>
                <a:gd name="T39" fmla="*/ 0 h 332"/>
                <a:gd name="T40" fmla="*/ 0 w 333"/>
                <a:gd name="T41" fmla="*/ 0 h 332"/>
                <a:gd name="T42" fmla="*/ 0 w 333"/>
                <a:gd name="T43" fmla="*/ 0 h 332"/>
                <a:gd name="T44" fmla="*/ 0 w 333"/>
                <a:gd name="T45" fmla="*/ 0 h 332"/>
                <a:gd name="T46" fmla="*/ 0 w 333"/>
                <a:gd name="T47" fmla="*/ 0 h 332"/>
                <a:gd name="T48" fmla="*/ 0 w 333"/>
                <a:gd name="T49" fmla="*/ 0 h 332"/>
                <a:gd name="T50" fmla="*/ 0 w 333"/>
                <a:gd name="T51" fmla="*/ 0 h 332"/>
                <a:gd name="T52" fmla="*/ 0 w 333"/>
                <a:gd name="T53" fmla="*/ 0 h 332"/>
                <a:gd name="T54" fmla="*/ 0 w 333"/>
                <a:gd name="T55" fmla="*/ 0 h 332"/>
                <a:gd name="T56" fmla="*/ 0 w 333"/>
                <a:gd name="T57" fmla="*/ 0 h 332"/>
                <a:gd name="T58" fmla="*/ 0 w 333"/>
                <a:gd name="T59" fmla="*/ 0 h 332"/>
                <a:gd name="T60" fmla="*/ 0 w 333"/>
                <a:gd name="T61" fmla="*/ 0 h 332"/>
                <a:gd name="T62" fmla="*/ 0 w 333"/>
                <a:gd name="T63" fmla="*/ 0 h 332"/>
                <a:gd name="T64" fmla="*/ 0 w 333"/>
                <a:gd name="T65" fmla="*/ 0 h 332"/>
                <a:gd name="T66" fmla="*/ 0 w 333"/>
                <a:gd name="T67" fmla="*/ 0 h 332"/>
                <a:gd name="T68" fmla="*/ 0 w 333"/>
                <a:gd name="T69" fmla="*/ 0 h 332"/>
                <a:gd name="T70" fmla="*/ 0 w 333"/>
                <a:gd name="T71" fmla="*/ 0 h 332"/>
                <a:gd name="T72" fmla="*/ 0 w 333"/>
                <a:gd name="T73" fmla="*/ 0 h 332"/>
                <a:gd name="T74" fmla="*/ 0 w 333"/>
                <a:gd name="T75" fmla="*/ 0 h 332"/>
                <a:gd name="T76" fmla="*/ 0 w 333"/>
                <a:gd name="T77" fmla="*/ 0 h 332"/>
                <a:gd name="T78" fmla="*/ 0 w 333"/>
                <a:gd name="T79" fmla="*/ 0 h 332"/>
                <a:gd name="T80" fmla="*/ 0 w 333"/>
                <a:gd name="T81" fmla="*/ 0 h 332"/>
                <a:gd name="T82" fmla="*/ 0 w 333"/>
                <a:gd name="T83" fmla="*/ 0 h 332"/>
                <a:gd name="T84" fmla="*/ 0 w 333"/>
                <a:gd name="T85" fmla="*/ 0 h 332"/>
                <a:gd name="T86" fmla="*/ 0 w 333"/>
                <a:gd name="T87" fmla="*/ 0 h 332"/>
                <a:gd name="T88" fmla="*/ 0 w 333"/>
                <a:gd name="T89" fmla="*/ 0 h 332"/>
                <a:gd name="T90" fmla="*/ 0 w 333"/>
                <a:gd name="T91" fmla="*/ 0 h 332"/>
                <a:gd name="T92" fmla="*/ 0 w 333"/>
                <a:gd name="T93" fmla="*/ 0 h 332"/>
                <a:gd name="T94" fmla="*/ 0 w 333"/>
                <a:gd name="T95" fmla="*/ 0 h 332"/>
                <a:gd name="T96" fmla="*/ 0 w 333"/>
                <a:gd name="T97" fmla="*/ 0 h 332"/>
                <a:gd name="T98" fmla="*/ 0 w 333"/>
                <a:gd name="T99" fmla="*/ 0 h 332"/>
                <a:gd name="T100" fmla="*/ 0 w 333"/>
                <a:gd name="T101" fmla="*/ 0 h 332"/>
                <a:gd name="T102" fmla="*/ 0 w 333"/>
                <a:gd name="T103" fmla="*/ 0 h 332"/>
                <a:gd name="T104" fmla="*/ 0 w 333"/>
                <a:gd name="T105" fmla="*/ 0 h 332"/>
                <a:gd name="T106" fmla="*/ 0 w 333"/>
                <a:gd name="T107" fmla="*/ 0 h 332"/>
                <a:gd name="T108" fmla="*/ 0 w 333"/>
                <a:gd name="T109" fmla="*/ 0 h 332"/>
                <a:gd name="T110" fmla="*/ 0 w 333"/>
                <a:gd name="T111" fmla="*/ 0 h 332"/>
                <a:gd name="T112" fmla="*/ 0 w 333"/>
                <a:gd name="T113" fmla="*/ 0 h 332"/>
                <a:gd name="T114" fmla="*/ 0 w 333"/>
                <a:gd name="T115" fmla="*/ 0 h 332"/>
                <a:gd name="T116" fmla="*/ 0 w 333"/>
                <a:gd name="T117" fmla="*/ 0 h 332"/>
                <a:gd name="T118" fmla="*/ 0 w 333"/>
                <a:gd name="T119" fmla="*/ 0 h 332"/>
                <a:gd name="T120" fmla="*/ 0 w 333"/>
                <a:gd name="T121" fmla="*/ 0 h 332"/>
                <a:gd name="T122" fmla="*/ 0 w 333"/>
                <a:gd name="T123" fmla="*/ 0 h 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
                <a:gd name="T187" fmla="*/ 0 h 332"/>
                <a:gd name="T188" fmla="*/ 333 w 333"/>
                <a:gd name="T189" fmla="*/ 332 h 3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 h="332">
                  <a:moveTo>
                    <a:pt x="166" y="95"/>
                  </a:moveTo>
                  <a:lnTo>
                    <a:pt x="148" y="97"/>
                  </a:lnTo>
                  <a:lnTo>
                    <a:pt x="131" y="105"/>
                  </a:lnTo>
                  <a:lnTo>
                    <a:pt x="117" y="116"/>
                  </a:lnTo>
                  <a:lnTo>
                    <a:pt x="106" y="130"/>
                  </a:lnTo>
                  <a:lnTo>
                    <a:pt x="98" y="147"/>
                  </a:lnTo>
                  <a:lnTo>
                    <a:pt x="96" y="165"/>
                  </a:lnTo>
                  <a:lnTo>
                    <a:pt x="98" y="184"/>
                  </a:lnTo>
                  <a:lnTo>
                    <a:pt x="106" y="201"/>
                  </a:lnTo>
                  <a:lnTo>
                    <a:pt x="117" y="216"/>
                  </a:lnTo>
                  <a:lnTo>
                    <a:pt x="131" y="226"/>
                  </a:lnTo>
                  <a:lnTo>
                    <a:pt x="148" y="234"/>
                  </a:lnTo>
                  <a:lnTo>
                    <a:pt x="166" y="236"/>
                  </a:lnTo>
                  <a:lnTo>
                    <a:pt x="185" y="234"/>
                  </a:lnTo>
                  <a:lnTo>
                    <a:pt x="202" y="226"/>
                  </a:lnTo>
                  <a:lnTo>
                    <a:pt x="216" y="216"/>
                  </a:lnTo>
                  <a:lnTo>
                    <a:pt x="227" y="201"/>
                  </a:lnTo>
                  <a:lnTo>
                    <a:pt x="235" y="184"/>
                  </a:lnTo>
                  <a:lnTo>
                    <a:pt x="237" y="165"/>
                  </a:lnTo>
                  <a:lnTo>
                    <a:pt x="235" y="147"/>
                  </a:lnTo>
                  <a:lnTo>
                    <a:pt x="227" y="130"/>
                  </a:lnTo>
                  <a:lnTo>
                    <a:pt x="216" y="116"/>
                  </a:lnTo>
                  <a:lnTo>
                    <a:pt x="202" y="105"/>
                  </a:lnTo>
                  <a:lnTo>
                    <a:pt x="185" y="97"/>
                  </a:lnTo>
                  <a:lnTo>
                    <a:pt x="166" y="95"/>
                  </a:lnTo>
                  <a:close/>
                  <a:moveTo>
                    <a:pt x="166" y="0"/>
                  </a:moveTo>
                  <a:lnTo>
                    <a:pt x="197" y="2"/>
                  </a:lnTo>
                  <a:lnTo>
                    <a:pt x="224" y="11"/>
                  </a:lnTo>
                  <a:lnTo>
                    <a:pt x="250" y="22"/>
                  </a:lnTo>
                  <a:lnTo>
                    <a:pt x="273" y="39"/>
                  </a:lnTo>
                  <a:lnTo>
                    <a:pt x="293" y="59"/>
                  </a:lnTo>
                  <a:lnTo>
                    <a:pt x="310" y="82"/>
                  </a:lnTo>
                  <a:lnTo>
                    <a:pt x="323" y="108"/>
                  </a:lnTo>
                  <a:lnTo>
                    <a:pt x="330" y="136"/>
                  </a:lnTo>
                  <a:lnTo>
                    <a:pt x="333" y="167"/>
                  </a:lnTo>
                  <a:lnTo>
                    <a:pt x="330" y="196"/>
                  </a:lnTo>
                  <a:lnTo>
                    <a:pt x="323" y="224"/>
                  </a:lnTo>
                  <a:lnTo>
                    <a:pt x="310" y="250"/>
                  </a:lnTo>
                  <a:lnTo>
                    <a:pt x="293" y="273"/>
                  </a:lnTo>
                  <a:lnTo>
                    <a:pt x="273" y="293"/>
                  </a:lnTo>
                  <a:lnTo>
                    <a:pt x="250" y="310"/>
                  </a:lnTo>
                  <a:lnTo>
                    <a:pt x="224" y="322"/>
                  </a:lnTo>
                  <a:lnTo>
                    <a:pt x="197" y="330"/>
                  </a:lnTo>
                  <a:lnTo>
                    <a:pt x="166" y="332"/>
                  </a:lnTo>
                  <a:lnTo>
                    <a:pt x="137" y="330"/>
                  </a:lnTo>
                  <a:lnTo>
                    <a:pt x="109" y="322"/>
                  </a:lnTo>
                  <a:lnTo>
                    <a:pt x="83" y="310"/>
                  </a:lnTo>
                  <a:lnTo>
                    <a:pt x="60" y="293"/>
                  </a:lnTo>
                  <a:lnTo>
                    <a:pt x="40" y="273"/>
                  </a:lnTo>
                  <a:lnTo>
                    <a:pt x="23" y="250"/>
                  </a:lnTo>
                  <a:lnTo>
                    <a:pt x="10" y="224"/>
                  </a:lnTo>
                  <a:lnTo>
                    <a:pt x="3" y="196"/>
                  </a:lnTo>
                  <a:lnTo>
                    <a:pt x="0" y="167"/>
                  </a:lnTo>
                  <a:lnTo>
                    <a:pt x="3" y="136"/>
                  </a:lnTo>
                  <a:lnTo>
                    <a:pt x="10" y="108"/>
                  </a:lnTo>
                  <a:lnTo>
                    <a:pt x="23" y="82"/>
                  </a:lnTo>
                  <a:lnTo>
                    <a:pt x="40" y="59"/>
                  </a:lnTo>
                  <a:lnTo>
                    <a:pt x="60" y="39"/>
                  </a:lnTo>
                  <a:lnTo>
                    <a:pt x="83" y="22"/>
                  </a:lnTo>
                  <a:lnTo>
                    <a:pt x="109" y="11"/>
                  </a:lnTo>
                  <a:lnTo>
                    <a:pt x="137" y="2"/>
                  </a:lnTo>
                  <a:lnTo>
                    <a:pt x="166"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59" name="Freeform 191"/>
            <p:cNvSpPr>
              <a:spLocks noChangeArrowheads="1"/>
            </p:cNvSpPr>
            <p:nvPr/>
          </p:nvSpPr>
          <p:spPr bwMode="auto">
            <a:xfrm>
              <a:off x="3723" y="3061"/>
              <a:ext cx="64" cy="72"/>
            </a:xfrm>
            <a:custGeom>
              <a:avLst/>
              <a:gdLst>
                <a:gd name="T0" fmla="*/ 0 w 588"/>
                <a:gd name="T1" fmla="*/ 0 h 656"/>
                <a:gd name="T2" fmla="*/ 0 w 588"/>
                <a:gd name="T3" fmla="*/ 0 h 656"/>
                <a:gd name="T4" fmla="*/ 0 w 588"/>
                <a:gd name="T5" fmla="*/ 0 h 656"/>
                <a:gd name="T6" fmla="*/ 0 w 588"/>
                <a:gd name="T7" fmla="*/ 0 h 656"/>
                <a:gd name="T8" fmla="*/ 0 w 588"/>
                <a:gd name="T9" fmla="*/ 0 h 656"/>
                <a:gd name="T10" fmla="*/ 0 w 588"/>
                <a:gd name="T11" fmla="*/ 0 h 656"/>
                <a:gd name="T12" fmla="*/ 0 w 588"/>
                <a:gd name="T13" fmla="*/ 0 h 656"/>
                <a:gd name="T14" fmla="*/ 0 w 588"/>
                <a:gd name="T15" fmla="*/ 0 h 656"/>
                <a:gd name="T16" fmla="*/ 0 w 588"/>
                <a:gd name="T17" fmla="*/ 0 h 656"/>
                <a:gd name="T18" fmla="*/ 0 w 588"/>
                <a:gd name="T19" fmla="*/ 0 h 656"/>
                <a:gd name="T20" fmla="*/ 0 w 588"/>
                <a:gd name="T21" fmla="*/ 0 h 656"/>
                <a:gd name="T22" fmla="*/ 0 w 588"/>
                <a:gd name="T23" fmla="*/ 0 h 656"/>
                <a:gd name="T24" fmla="*/ 0 w 588"/>
                <a:gd name="T25" fmla="*/ 0 h 656"/>
                <a:gd name="T26" fmla="*/ 0 w 588"/>
                <a:gd name="T27" fmla="*/ 0 h 656"/>
                <a:gd name="T28" fmla="*/ 0 w 588"/>
                <a:gd name="T29" fmla="*/ 0 h 656"/>
                <a:gd name="T30" fmla="*/ 0 w 588"/>
                <a:gd name="T31" fmla="*/ 0 h 656"/>
                <a:gd name="T32" fmla="*/ 0 w 588"/>
                <a:gd name="T33" fmla="*/ 0 h 656"/>
                <a:gd name="T34" fmla="*/ 0 w 588"/>
                <a:gd name="T35" fmla="*/ 0 h 656"/>
                <a:gd name="T36" fmla="*/ 0 w 588"/>
                <a:gd name="T37" fmla="*/ 0 h 656"/>
                <a:gd name="T38" fmla="*/ 0 w 588"/>
                <a:gd name="T39" fmla="*/ 0 h 656"/>
                <a:gd name="T40" fmla="*/ 0 w 588"/>
                <a:gd name="T41" fmla="*/ 0 h 656"/>
                <a:gd name="T42" fmla="*/ 0 w 588"/>
                <a:gd name="T43" fmla="*/ 0 h 656"/>
                <a:gd name="T44" fmla="*/ 0 w 588"/>
                <a:gd name="T45" fmla="*/ 0 h 656"/>
                <a:gd name="T46" fmla="*/ 0 w 588"/>
                <a:gd name="T47" fmla="*/ 0 h 656"/>
                <a:gd name="T48" fmla="*/ 0 w 588"/>
                <a:gd name="T49" fmla="*/ 0 h 656"/>
                <a:gd name="T50" fmla="*/ 0 w 588"/>
                <a:gd name="T51" fmla="*/ 0 h 656"/>
                <a:gd name="T52" fmla="*/ 0 w 588"/>
                <a:gd name="T53" fmla="*/ 0 h 656"/>
                <a:gd name="T54" fmla="*/ 0 w 588"/>
                <a:gd name="T55" fmla="*/ 0 h 656"/>
                <a:gd name="T56" fmla="*/ 0 w 588"/>
                <a:gd name="T57" fmla="*/ 0 h 656"/>
                <a:gd name="T58" fmla="*/ 0 w 588"/>
                <a:gd name="T59" fmla="*/ 0 h 656"/>
                <a:gd name="T60" fmla="*/ 0 w 588"/>
                <a:gd name="T61" fmla="*/ 0 h 656"/>
                <a:gd name="T62" fmla="*/ 0 w 588"/>
                <a:gd name="T63" fmla="*/ 0 h 656"/>
                <a:gd name="T64" fmla="*/ 0 w 588"/>
                <a:gd name="T65" fmla="*/ 0 h 656"/>
                <a:gd name="T66" fmla="*/ 0 w 588"/>
                <a:gd name="T67" fmla="*/ 0 h 656"/>
                <a:gd name="T68" fmla="*/ 0 w 588"/>
                <a:gd name="T69" fmla="*/ 0 h 656"/>
                <a:gd name="T70" fmla="*/ 0 w 588"/>
                <a:gd name="T71" fmla="*/ 0 h 656"/>
                <a:gd name="T72" fmla="*/ 0 w 588"/>
                <a:gd name="T73" fmla="*/ 0 h 6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8"/>
                <a:gd name="T112" fmla="*/ 0 h 656"/>
                <a:gd name="T113" fmla="*/ 588 w 588"/>
                <a:gd name="T114" fmla="*/ 656 h 6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8" h="656">
                  <a:moveTo>
                    <a:pt x="588" y="0"/>
                  </a:moveTo>
                  <a:lnTo>
                    <a:pt x="588" y="656"/>
                  </a:lnTo>
                  <a:lnTo>
                    <a:pt x="537" y="656"/>
                  </a:lnTo>
                  <a:lnTo>
                    <a:pt x="534" y="606"/>
                  </a:lnTo>
                  <a:lnTo>
                    <a:pt x="530" y="571"/>
                  </a:lnTo>
                  <a:lnTo>
                    <a:pt x="521" y="536"/>
                  </a:lnTo>
                  <a:lnTo>
                    <a:pt x="506" y="505"/>
                  </a:lnTo>
                  <a:lnTo>
                    <a:pt x="486" y="478"/>
                  </a:lnTo>
                  <a:lnTo>
                    <a:pt x="462" y="453"/>
                  </a:lnTo>
                  <a:lnTo>
                    <a:pt x="434" y="433"/>
                  </a:lnTo>
                  <a:lnTo>
                    <a:pt x="403" y="418"/>
                  </a:lnTo>
                  <a:lnTo>
                    <a:pt x="369" y="409"/>
                  </a:lnTo>
                  <a:lnTo>
                    <a:pt x="332" y="405"/>
                  </a:lnTo>
                  <a:lnTo>
                    <a:pt x="296" y="409"/>
                  </a:lnTo>
                  <a:lnTo>
                    <a:pt x="262" y="418"/>
                  </a:lnTo>
                  <a:lnTo>
                    <a:pt x="231" y="433"/>
                  </a:lnTo>
                  <a:lnTo>
                    <a:pt x="203" y="453"/>
                  </a:lnTo>
                  <a:lnTo>
                    <a:pt x="179" y="478"/>
                  </a:lnTo>
                  <a:lnTo>
                    <a:pt x="159" y="505"/>
                  </a:lnTo>
                  <a:lnTo>
                    <a:pt x="144" y="536"/>
                  </a:lnTo>
                  <a:lnTo>
                    <a:pt x="135" y="571"/>
                  </a:lnTo>
                  <a:lnTo>
                    <a:pt x="131" y="606"/>
                  </a:lnTo>
                  <a:lnTo>
                    <a:pt x="129" y="656"/>
                  </a:lnTo>
                  <a:lnTo>
                    <a:pt x="9" y="656"/>
                  </a:lnTo>
                  <a:lnTo>
                    <a:pt x="7" y="643"/>
                  </a:lnTo>
                  <a:lnTo>
                    <a:pt x="5" y="626"/>
                  </a:lnTo>
                  <a:lnTo>
                    <a:pt x="4" y="605"/>
                  </a:lnTo>
                  <a:lnTo>
                    <a:pt x="3" y="582"/>
                  </a:lnTo>
                  <a:lnTo>
                    <a:pt x="2" y="559"/>
                  </a:lnTo>
                  <a:lnTo>
                    <a:pt x="0" y="537"/>
                  </a:lnTo>
                  <a:lnTo>
                    <a:pt x="0" y="517"/>
                  </a:lnTo>
                  <a:lnTo>
                    <a:pt x="0" y="501"/>
                  </a:lnTo>
                  <a:lnTo>
                    <a:pt x="0" y="490"/>
                  </a:lnTo>
                  <a:lnTo>
                    <a:pt x="0" y="487"/>
                  </a:lnTo>
                  <a:lnTo>
                    <a:pt x="40" y="255"/>
                  </a:lnTo>
                  <a:lnTo>
                    <a:pt x="286" y="134"/>
                  </a:lnTo>
                  <a:lnTo>
                    <a:pt x="588"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60" name="Freeform 192"/>
            <p:cNvSpPr>
              <a:spLocks noChangeArrowheads="1"/>
            </p:cNvSpPr>
            <p:nvPr/>
          </p:nvSpPr>
          <p:spPr bwMode="auto">
            <a:xfrm>
              <a:off x="3413" y="3110"/>
              <a:ext cx="36" cy="36"/>
            </a:xfrm>
            <a:custGeom>
              <a:avLst/>
              <a:gdLst>
                <a:gd name="T0" fmla="*/ 0 w 332"/>
                <a:gd name="T1" fmla="*/ 0 h 332"/>
                <a:gd name="T2" fmla="*/ 0 w 332"/>
                <a:gd name="T3" fmla="*/ 0 h 332"/>
                <a:gd name="T4" fmla="*/ 0 w 332"/>
                <a:gd name="T5" fmla="*/ 0 h 332"/>
                <a:gd name="T6" fmla="*/ 0 w 332"/>
                <a:gd name="T7" fmla="*/ 0 h 332"/>
                <a:gd name="T8" fmla="*/ 0 w 332"/>
                <a:gd name="T9" fmla="*/ 0 h 332"/>
                <a:gd name="T10" fmla="*/ 0 w 332"/>
                <a:gd name="T11" fmla="*/ 0 h 332"/>
                <a:gd name="T12" fmla="*/ 0 w 332"/>
                <a:gd name="T13" fmla="*/ 0 h 332"/>
                <a:gd name="T14" fmla="*/ 0 w 332"/>
                <a:gd name="T15" fmla="*/ 0 h 332"/>
                <a:gd name="T16" fmla="*/ 0 w 332"/>
                <a:gd name="T17" fmla="*/ 0 h 332"/>
                <a:gd name="T18" fmla="*/ 0 w 332"/>
                <a:gd name="T19" fmla="*/ 0 h 332"/>
                <a:gd name="T20" fmla="*/ 0 w 332"/>
                <a:gd name="T21" fmla="*/ 0 h 332"/>
                <a:gd name="T22" fmla="*/ 0 w 332"/>
                <a:gd name="T23" fmla="*/ 0 h 332"/>
                <a:gd name="T24" fmla="*/ 0 w 332"/>
                <a:gd name="T25" fmla="*/ 0 h 332"/>
                <a:gd name="T26" fmla="*/ 0 w 332"/>
                <a:gd name="T27" fmla="*/ 0 h 332"/>
                <a:gd name="T28" fmla="*/ 0 w 332"/>
                <a:gd name="T29" fmla="*/ 0 h 332"/>
                <a:gd name="T30" fmla="*/ 0 w 332"/>
                <a:gd name="T31" fmla="*/ 0 h 332"/>
                <a:gd name="T32" fmla="*/ 0 w 332"/>
                <a:gd name="T33" fmla="*/ 0 h 332"/>
                <a:gd name="T34" fmla="*/ 0 w 332"/>
                <a:gd name="T35" fmla="*/ 0 h 332"/>
                <a:gd name="T36" fmla="*/ 0 w 332"/>
                <a:gd name="T37" fmla="*/ 0 h 332"/>
                <a:gd name="T38" fmla="*/ 0 w 332"/>
                <a:gd name="T39" fmla="*/ 0 h 332"/>
                <a:gd name="T40" fmla="*/ 0 w 332"/>
                <a:gd name="T41" fmla="*/ 0 h 332"/>
                <a:gd name="T42" fmla="*/ 0 w 332"/>
                <a:gd name="T43" fmla="*/ 0 h 332"/>
                <a:gd name="T44" fmla="*/ 0 w 332"/>
                <a:gd name="T45" fmla="*/ 0 h 332"/>
                <a:gd name="T46" fmla="*/ 0 w 332"/>
                <a:gd name="T47" fmla="*/ 0 h 332"/>
                <a:gd name="T48" fmla="*/ 0 w 332"/>
                <a:gd name="T49" fmla="*/ 0 h 332"/>
                <a:gd name="T50" fmla="*/ 0 w 332"/>
                <a:gd name="T51" fmla="*/ 0 h 332"/>
                <a:gd name="T52" fmla="*/ 0 w 332"/>
                <a:gd name="T53" fmla="*/ 0 h 332"/>
                <a:gd name="T54" fmla="*/ 0 w 332"/>
                <a:gd name="T55" fmla="*/ 0 h 332"/>
                <a:gd name="T56" fmla="*/ 0 w 332"/>
                <a:gd name="T57" fmla="*/ 0 h 332"/>
                <a:gd name="T58" fmla="*/ 0 w 332"/>
                <a:gd name="T59" fmla="*/ 0 h 332"/>
                <a:gd name="T60" fmla="*/ 0 w 332"/>
                <a:gd name="T61" fmla="*/ 0 h 332"/>
                <a:gd name="T62" fmla="*/ 0 w 332"/>
                <a:gd name="T63" fmla="*/ 0 h 332"/>
                <a:gd name="T64" fmla="*/ 0 w 332"/>
                <a:gd name="T65" fmla="*/ 0 h 332"/>
                <a:gd name="T66" fmla="*/ 0 w 332"/>
                <a:gd name="T67" fmla="*/ 0 h 332"/>
                <a:gd name="T68" fmla="*/ 0 w 332"/>
                <a:gd name="T69" fmla="*/ 0 h 332"/>
                <a:gd name="T70" fmla="*/ 0 w 332"/>
                <a:gd name="T71" fmla="*/ 0 h 332"/>
                <a:gd name="T72" fmla="*/ 0 w 332"/>
                <a:gd name="T73" fmla="*/ 0 h 332"/>
                <a:gd name="T74" fmla="*/ 0 w 332"/>
                <a:gd name="T75" fmla="*/ 0 h 332"/>
                <a:gd name="T76" fmla="*/ 0 w 332"/>
                <a:gd name="T77" fmla="*/ 0 h 332"/>
                <a:gd name="T78" fmla="*/ 0 w 332"/>
                <a:gd name="T79" fmla="*/ 0 h 332"/>
                <a:gd name="T80" fmla="*/ 0 w 332"/>
                <a:gd name="T81" fmla="*/ 0 h 332"/>
                <a:gd name="T82" fmla="*/ 0 w 332"/>
                <a:gd name="T83" fmla="*/ 0 h 332"/>
                <a:gd name="T84" fmla="*/ 0 w 332"/>
                <a:gd name="T85" fmla="*/ 0 h 332"/>
                <a:gd name="T86" fmla="*/ 0 w 332"/>
                <a:gd name="T87" fmla="*/ 0 h 332"/>
                <a:gd name="T88" fmla="*/ 0 w 332"/>
                <a:gd name="T89" fmla="*/ 0 h 332"/>
                <a:gd name="T90" fmla="*/ 0 w 332"/>
                <a:gd name="T91" fmla="*/ 0 h 332"/>
                <a:gd name="T92" fmla="*/ 0 w 332"/>
                <a:gd name="T93" fmla="*/ 0 h 332"/>
                <a:gd name="T94" fmla="*/ 0 w 332"/>
                <a:gd name="T95" fmla="*/ 0 h 332"/>
                <a:gd name="T96" fmla="*/ 0 w 332"/>
                <a:gd name="T97" fmla="*/ 0 h 332"/>
                <a:gd name="T98" fmla="*/ 0 w 332"/>
                <a:gd name="T99" fmla="*/ 0 h 332"/>
                <a:gd name="T100" fmla="*/ 0 w 332"/>
                <a:gd name="T101" fmla="*/ 0 h 332"/>
                <a:gd name="T102" fmla="*/ 0 w 332"/>
                <a:gd name="T103" fmla="*/ 0 h 332"/>
                <a:gd name="T104" fmla="*/ 0 w 332"/>
                <a:gd name="T105" fmla="*/ 0 h 332"/>
                <a:gd name="T106" fmla="*/ 0 w 332"/>
                <a:gd name="T107" fmla="*/ 0 h 332"/>
                <a:gd name="T108" fmla="*/ 0 w 332"/>
                <a:gd name="T109" fmla="*/ 0 h 332"/>
                <a:gd name="T110" fmla="*/ 0 w 332"/>
                <a:gd name="T111" fmla="*/ 0 h 332"/>
                <a:gd name="T112" fmla="*/ 0 w 332"/>
                <a:gd name="T113" fmla="*/ 0 h 332"/>
                <a:gd name="T114" fmla="*/ 0 w 332"/>
                <a:gd name="T115" fmla="*/ 0 h 332"/>
                <a:gd name="T116" fmla="*/ 0 w 332"/>
                <a:gd name="T117" fmla="*/ 0 h 332"/>
                <a:gd name="T118" fmla="*/ 0 w 332"/>
                <a:gd name="T119" fmla="*/ 0 h 332"/>
                <a:gd name="T120" fmla="*/ 0 w 332"/>
                <a:gd name="T121" fmla="*/ 0 h 332"/>
                <a:gd name="T122" fmla="*/ 0 w 332"/>
                <a:gd name="T123" fmla="*/ 0 h 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
                <a:gd name="T187" fmla="*/ 0 h 332"/>
                <a:gd name="T188" fmla="*/ 332 w 332"/>
                <a:gd name="T189" fmla="*/ 332 h 3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 h="332">
                  <a:moveTo>
                    <a:pt x="166" y="95"/>
                  </a:moveTo>
                  <a:lnTo>
                    <a:pt x="147" y="97"/>
                  </a:lnTo>
                  <a:lnTo>
                    <a:pt x="131" y="105"/>
                  </a:lnTo>
                  <a:lnTo>
                    <a:pt x="116" y="116"/>
                  </a:lnTo>
                  <a:lnTo>
                    <a:pt x="106" y="130"/>
                  </a:lnTo>
                  <a:lnTo>
                    <a:pt x="98" y="147"/>
                  </a:lnTo>
                  <a:lnTo>
                    <a:pt x="96" y="165"/>
                  </a:lnTo>
                  <a:lnTo>
                    <a:pt x="98" y="184"/>
                  </a:lnTo>
                  <a:lnTo>
                    <a:pt x="106" y="201"/>
                  </a:lnTo>
                  <a:lnTo>
                    <a:pt x="116" y="216"/>
                  </a:lnTo>
                  <a:lnTo>
                    <a:pt x="131" y="226"/>
                  </a:lnTo>
                  <a:lnTo>
                    <a:pt x="147" y="234"/>
                  </a:lnTo>
                  <a:lnTo>
                    <a:pt x="166" y="236"/>
                  </a:lnTo>
                  <a:lnTo>
                    <a:pt x="184" y="234"/>
                  </a:lnTo>
                  <a:lnTo>
                    <a:pt x="201" y="226"/>
                  </a:lnTo>
                  <a:lnTo>
                    <a:pt x="216" y="216"/>
                  </a:lnTo>
                  <a:lnTo>
                    <a:pt x="226" y="201"/>
                  </a:lnTo>
                  <a:lnTo>
                    <a:pt x="233" y="184"/>
                  </a:lnTo>
                  <a:lnTo>
                    <a:pt x="237" y="165"/>
                  </a:lnTo>
                  <a:lnTo>
                    <a:pt x="233" y="147"/>
                  </a:lnTo>
                  <a:lnTo>
                    <a:pt x="226" y="130"/>
                  </a:lnTo>
                  <a:lnTo>
                    <a:pt x="216" y="116"/>
                  </a:lnTo>
                  <a:lnTo>
                    <a:pt x="201" y="105"/>
                  </a:lnTo>
                  <a:lnTo>
                    <a:pt x="184" y="97"/>
                  </a:lnTo>
                  <a:lnTo>
                    <a:pt x="166" y="95"/>
                  </a:lnTo>
                  <a:close/>
                  <a:moveTo>
                    <a:pt x="166" y="0"/>
                  </a:moveTo>
                  <a:lnTo>
                    <a:pt x="196" y="2"/>
                  </a:lnTo>
                  <a:lnTo>
                    <a:pt x="224" y="11"/>
                  </a:lnTo>
                  <a:lnTo>
                    <a:pt x="250" y="22"/>
                  </a:lnTo>
                  <a:lnTo>
                    <a:pt x="273" y="39"/>
                  </a:lnTo>
                  <a:lnTo>
                    <a:pt x="293" y="59"/>
                  </a:lnTo>
                  <a:lnTo>
                    <a:pt x="310" y="82"/>
                  </a:lnTo>
                  <a:lnTo>
                    <a:pt x="321" y="108"/>
                  </a:lnTo>
                  <a:lnTo>
                    <a:pt x="330" y="136"/>
                  </a:lnTo>
                  <a:lnTo>
                    <a:pt x="332" y="165"/>
                  </a:lnTo>
                  <a:lnTo>
                    <a:pt x="330" y="196"/>
                  </a:lnTo>
                  <a:lnTo>
                    <a:pt x="321" y="224"/>
                  </a:lnTo>
                  <a:lnTo>
                    <a:pt x="310" y="250"/>
                  </a:lnTo>
                  <a:lnTo>
                    <a:pt x="293" y="273"/>
                  </a:lnTo>
                  <a:lnTo>
                    <a:pt x="273" y="293"/>
                  </a:lnTo>
                  <a:lnTo>
                    <a:pt x="250" y="309"/>
                  </a:lnTo>
                  <a:lnTo>
                    <a:pt x="224" y="322"/>
                  </a:lnTo>
                  <a:lnTo>
                    <a:pt x="196" y="330"/>
                  </a:lnTo>
                  <a:lnTo>
                    <a:pt x="166" y="332"/>
                  </a:lnTo>
                  <a:lnTo>
                    <a:pt x="136" y="330"/>
                  </a:lnTo>
                  <a:lnTo>
                    <a:pt x="108" y="322"/>
                  </a:lnTo>
                  <a:lnTo>
                    <a:pt x="83" y="309"/>
                  </a:lnTo>
                  <a:lnTo>
                    <a:pt x="58" y="293"/>
                  </a:lnTo>
                  <a:lnTo>
                    <a:pt x="39" y="273"/>
                  </a:lnTo>
                  <a:lnTo>
                    <a:pt x="23" y="250"/>
                  </a:lnTo>
                  <a:lnTo>
                    <a:pt x="10" y="224"/>
                  </a:lnTo>
                  <a:lnTo>
                    <a:pt x="2" y="196"/>
                  </a:lnTo>
                  <a:lnTo>
                    <a:pt x="0" y="165"/>
                  </a:lnTo>
                  <a:lnTo>
                    <a:pt x="2" y="136"/>
                  </a:lnTo>
                  <a:lnTo>
                    <a:pt x="10" y="108"/>
                  </a:lnTo>
                  <a:lnTo>
                    <a:pt x="23" y="82"/>
                  </a:lnTo>
                  <a:lnTo>
                    <a:pt x="39" y="59"/>
                  </a:lnTo>
                  <a:lnTo>
                    <a:pt x="58" y="39"/>
                  </a:lnTo>
                  <a:lnTo>
                    <a:pt x="83" y="22"/>
                  </a:lnTo>
                  <a:lnTo>
                    <a:pt x="108" y="11"/>
                  </a:lnTo>
                  <a:lnTo>
                    <a:pt x="136" y="2"/>
                  </a:lnTo>
                  <a:lnTo>
                    <a:pt x="166"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61" name="Freeform 193"/>
            <p:cNvSpPr>
              <a:spLocks noChangeArrowheads="1"/>
            </p:cNvSpPr>
            <p:nvPr/>
          </p:nvSpPr>
          <p:spPr bwMode="auto">
            <a:xfrm>
              <a:off x="3404" y="3079"/>
              <a:ext cx="68" cy="54"/>
            </a:xfrm>
            <a:custGeom>
              <a:avLst/>
              <a:gdLst>
                <a:gd name="T0" fmla="*/ 0 w 625"/>
                <a:gd name="T1" fmla="*/ 0 h 497"/>
                <a:gd name="T2" fmla="*/ 0 w 625"/>
                <a:gd name="T3" fmla="*/ 0 h 497"/>
                <a:gd name="T4" fmla="*/ 0 w 625"/>
                <a:gd name="T5" fmla="*/ 0 h 497"/>
                <a:gd name="T6" fmla="*/ 0 w 625"/>
                <a:gd name="T7" fmla="*/ 0 h 497"/>
                <a:gd name="T8" fmla="*/ 0 w 625"/>
                <a:gd name="T9" fmla="*/ 0 h 497"/>
                <a:gd name="T10" fmla="*/ 0 w 625"/>
                <a:gd name="T11" fmla="*/ 0 h 497"/>
                <a:gd name="T12" fmla="*/ 0 w 625"/>
                <a:gd name="T13" fmla="*/ 0 h 497"/>
                <a:gd name="T14" fmla="*/ 0 w 625"/>
                <a:gd name="T15" fmla="*/ 0 h 497"/>
                <a:gd name="T16" fmla="*/ 0 w 625"/>
                <a:gd name="T17" fmla="*/ 0 h 497"/>
                <a:gd name="T18" fmla="*/ 0 w 625"/>
                <a:gd name="T19" fmla="*/ 0 h 497"/>
                <a:gd name="T20" fmla="*/ 0 w 625"/>
                <a:gd name="T21" fmla="*/ 0 h 497"/>
                <a:gd name="T22" fmla="*/ 0 w 625"/>
                <a:gd name="T23" fmla="*/ 0 h 497"/>
                <a:gd name="T24" fmla="*/ 0 w 625"/>
                <a:gd name="T25" fmla="*/ 0 h 497"/>
                <a:gd name="T26" fmla="*/ 0 w 625"/>
                <a:gd name="T27" fmla="*/ 0 h 497"/>
                <a:gd name="T28" fmla="*/ 0 w 625"/>
                <a:gd name="T29" fmla="*/ 0 h 497"/>
                <a:gd name="T30" fmla="*/ 0 w 625"/>
                <a:gd name="T31" fmla="*/ 0 h 497"/>
                <a:gd name="T32" fmla="*/ 0 w 625"/>
                <a:gd name="T33" fmla="*/ 0 h 497"/>
                <a:gd name="T34" fmla="*/ 0 w 625"/>
                <a:gd name="T35" fmla="*/ 0 h 497"/>
                <a:gd name="T36" fmla="*/ 0 w 625"/>
                <a:gd name="T37" fmla="*/ 0 h 497"/>
                <a:gd name="T38" fmla="*/ 0 w 625"/>
                <a:gd name="T39" fmla="*/ 0 h 497"/>
                <a:gd name="T40" fmla="*/ 0 w 625"/>
                <a:gd name="T41" fmla="*/ 0 h 497"/>
                <a:gd name="T42" fmla="*/ 0 w 625"/>
                <a:gd name="T43" fmla="*/ 0 h 497"/>
                <a:gd name="T44" fmla="*/ 0 w 625"/>
                <a:gd name="T45" fmla="*/ 0 h 497"/>
                <a:gd name="T46" fmla="*/ 0 w 625"/>
                <a:gd name="T47" fmla="*/ 0 h 497"/>
                <a:gd name="T48" fmla="*/ 0 w 625"/>
                <a:gd name="T49" fmla="*/ 0 h 497"/>
                <a:gd name="T50" fmla="*/ 0 w 625"/>
                <a:gd name="T51" fmla="*/ 0 h 497"/>
                <a:gd name="T52" fmla="*/ 0 w 625"/>
                <a:gd name="T53" fmla="*/ 0 h 497"/>
                <a:gd name="T54" fmla="*/ 0 w 625"/>
                <a:gd name="T55" fmla="*/ 0 h 497"/>
                <a:gd name="T56" fmla="*/ 0 w 625"/>
                <a:gd name="T57" fmla="*/ 0 h 497"/>
                <a:gd name="T58" fmla="*/ 0 w 625"/>
                <a:gd name="T59" fmla="*/ 0 h 497"/>
                <a:gd name="T60" fmla="*/ 0 w 625"/>
                <a:gd name="T61" fmla="*/ 0 h 497"/>
                <a:gd name="T62" fmla="*/ 0 w 625"/>
                <a:gd name="T63" fmla="*/ 0 h 497"/>
                <a:gd name="T64" fmla="*/ 0 w 625"/>
                <a:gd name="T65" fmla="*/ 0 h 497"/>
                <a:gd name="T66" fmla="*/ 0 w 625"/>
                <a:gd name="T67" fmla="*/ 0 h 497"/>
                <a:gd name="T68" fmla="*/ 0 w 625"/>
                <a:gd name="T69" fmla="*/ 0 h 497"/>
                <a:gd name="T70" fmla="*/ 0 w 625"/>
                <a:gd name="T71" fmla="*/ 0 h 497"/>
                <a:gd name="T72" fmla="*/ 0 w 625"/>
                <a:gd name="T73" fmla="*/ 0 h 497"/>
                <a:gd name="T74" fmla="*/ 0 w 625"/>
                <a:gd name="T75" fmla="*/ 0 h 497"/>
                <a:gd name="T76" fmla="*/ 0 w 625"/>
                <a:gd name="T77" fmla="*/ 0 h 497"/>
                <a:gd name="T78" fmla="*/ 0 w 625"/>
                <a:gd name="T79" fmla="*/ 0 h 497"/>
                <a:gd name="T80" fmla="*/ 0 w 625"/>
                <a:gd name="T81" fmla="*/ 0 h 497"/>
                <a:gd name="T82" fmla="*/ 0 w 625"/>
                <a:gd name="T83" fmla="*/ 0 h 497"/>
                <a:gd name="T84" fmla="*/ 0 w 625"/>
                <a:gd name="T85" fmla="*/ 0 h 497"/>
                <a:gd name="T86" fmla="*/ 0 w 625"/>
                <a:gd name="T87" fmla="*/ 0 h 497"/>
                <a:gd name="T88" fmla="*/ 0 w 625"/>
                <a:gd name="T89" fmla="*/ 0 h 497"/>
                <a:gd name="T90" fmla="*/ 0 w 625"/>
                <a:gd name="T91" fmla="*/ 0 h 497"/>
                <a:gd name="T92" fmla="*/ 0 w 625"/>
                <a:gd name="T93" fmla="*/ 0 h 497"/>
                <a:gd name="T94" fmla="*/ 0 w 625"/>
                <a:gd name="T95" fmla="*/ 0 h 497"/>
                <a:gd name="T96" fmla="*/ 0 w 625"/>
                <a:gd name="T97" fmla="*/ 0 h 497"/>
                <a:gd name="T98" fmla="*/ 0 w 625"/>
                <a:gd name="T99" fmla="*/ 0 h 497"/>
                <a:gd name="T100" fmla="*/ 0 w 625"/>
                <a:gd name="T101" fmla="*/ 0 h 497"/>
                <a:gd name="T102" fmla="*/ 0 w 625"/>
                <a:gd name="T103" fmla="*/ 0 h 497"/>
                <a:gd name="T104" fmla="*/ 0 w 625"/>
                <a:gd name="T105" fmla="*/ 0 h 497"/>
                <a:gd name="T106" fmla="*/ 0 w 625"/>
                <a:gd name="T107" fmla="*/ 0 h 497"/>
                <a:gd name="T108" fmla="*/ 0 w 625"/>
                <a:gd name="T109" fmla="*/ 0 h 497"/>
                <a:gd name="T110" fmla="*/ 0 w 625"/>
                <a:gd name="T111" fmla="*/ 0 h 497"/>
                <a:gd name="T112" fmla="*/ 0 w 625"/>
                <a:gd name="T113" fmla="*/ 0 h 497"/>
                <a:gd name="T114" fmla="*/ 0 w 625"/>
                <a:gd name="T115" fmla="*/ 0 h 49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5"/>
                <a:gd name="T175" fmla="*/ 0 h 497"/>
                <a:gd name="T176" fmla="*/ 625 w 625"/>
                <a:gd name="T177" fmla="*/ 497 h 49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5" h="497">
                  <a:moveTo>
                    <a:pt x="0" y="0"/>
                  </a:moveTo>
                  <a:lnTo>
                    <a:pt x="157" y="45"/>
                  </a:lnTo>
                  <a:lnTo>
                    <a:pt x="220" y="59"/>
                  </a:lnTo>
                  <a:lnTo>
                    <a:pt x="280" y="74"/>
                  </a:lnTo>
                  <a:lnTo>
                    <a:pt x="334" y="88"/>
                  </a:lnTo>
                  <a:lnTo>
                    <a:pt x="383" y="103"/>
                  </a:lnTo>
                  <a:lnTo>
                    <a:pt x="428" y="119"/>
                  </a:lnTo>
                  <a:lnTo>
                    <a:pt x="469" y="135"/>
                  </a:lnTo>
                  <a:lnTo>
                    <a:pt x="505" y="153"/>
                  </a:lnTo>
                  <a:lnTo>
                    <a:pt x="535" y="172"/>
                  </a:lnTo>
                  <a:lnTo>
                    <a:pt x="561" y="193"/>
                  </a:lnTo>
                  <a:lnTo>
                    <a:pt x="578" y="214"/>
                  </a:lnTo>
                  <a:lnTo>
                    <a:pt x="591" y="238"/>
                  </a:lnTo>
                  <a:lnTo>
                    <a:pt x="601" y="264"/>
                  </a:lnTo>
                  <a:lnTo>
                    <a:pt x="610" y="294"/>
                  </a:lnTo>
                  <a:lnTo>
                    <a:pt x="616" y="324"/>
                  </a:lnTo>
                  <a:lnTo>
                    <a:pt x="620" y="353"/>
                  </a:lnTo>
                  <a:lnTo>
                    <a:pt x="623" y="383"/>
                  </a:lnTo>
                  <a:lnTo>
                    <a:pt x="624" y="410"/>
                  </a:lnTo>
                  <a:lnTo>
                    <a:pt x="625" y="434"/>
                  </a:lnTo>
                  <a:lnTo>
                    <a:pt x="625" y="455"/>
                  </a:lnTo>
                  <a:lnTo>
                    <a:pt x="624" y="471"/>
                  </a:lnTo>
                  <a:lnTo>
                    <a:pt x="624" y="481"/>
                  </a:lnTo>
                  <a:lnTo>
                    <a:pt x="624" y="484"/>
                  </a:lnTo>
                  <a:lnTo>
                    <a:pt x="610" y="488"/>
                  </a:lnTo>
                  <a:lnTo>
                    <a:pt x="591" y="491"/>
                  </a:lnTo>
                  <a:lnTo>
                    <a:pt x="570" y="493"/>
                  </a:lnTo>
                  <a:lnTo>
                    <a:pt x="548" y="494"/>
                  </a:lnTo>
                  <a:lnTo>
                    <a:pt x="525" y="494"/>
                  </a:lnTo>
                  <a:lnTo>
                    <a:pt x="504" y="494"/>
                  </a:lnTo>
                  <a:lnTo>
                    <a:pt x="485" y="494"/>
                  </a:lnTo>
                  <a:lnTo>
                    <a:pt x="470" y="493"/>
                  </a:lnTo>
                  <a:lnTo>
                    <a:pt x="460" y="493"/>
                  </a:lnTo>
                  <a:lnTo>
                    <a:pt x="457" y="493"/>
                  </a:lnTo>
                  <a:lnTo>
                    <a:pt x="452" y="436"/>
                  </a:lnTo>
                  <a:lnTo>
                    <a:pt x="449" y="404"/>
                  </a:lnTo>
                  <a:lnTo>
                    <a:pt x="441" y="373"/>
                  </a:lnTo>
                  <a:lnTo>
                    <a:pt x="428" y="345"/>
                  </a:lnTo>
                  <a:lnTo>
                    <a:pt x="412" y="320"/>
                  </a:lnTo>
                  <a:lnTo>
                    <a:pt x="391" y="297"/>
                  </a:lnTo>
                  <a:lnTo>
                    <a:pt x="365" y="278"/>
                  </a:lnTo>
                  <a:lnTo>
                    <a:pt x="338" y="263"/>
                  </a:lnTo>
                  <a:lnTo>
                    <a:pt x="309" y="252"/>
                  </a:lnTo>
                  <a:lnTo>
                    <a:pt x="278" y="244"/>
                  </a:lnTo>
                  <a:lnTo>
                    <a:pt x="245" y="242"/>
                  </a:lnTo>
                  <a:lnTo>
                    <a:pt x="213" y="244"/>
                  </a:lnTo>
                  <a:lnTo>
                    <a:pt x="182" y="252"/>
                  </a:lnTo>
                  <a:lnTo>
                    <a:pt x="154" y="263"/>
                  </a:lnTo>
                  <a:lnTo>
                    <a:pt x="128" y="278"/>
                  </a:lnTo>
                  <a:lnTo>
                    <a:pt x="106" y="297"/>
                  </a:lnTo>
                  <a:lnTo>
                    <a:pt x="86" y="320"/>
                  </a:lnTo>
                  <a:lnTo>
                    <a:pt x="71" y="345"/>
                  </a:lnTo>
                  <a:lnTo>
                    <a:pt x="60" y="373"/>
                  </a:lnTo>
                  <a:lnTo>
                    <a:pt x="52" y="404"/>
                  </a:lnTo>
                  <a:lnTo>
                    <a:pt x="49" y="436"/>
                  </a:lnTo>
                  <a:lnTo>
                    <a:pt x="49" y="497"/>
                  </a:lnTo>
                  <a:lnTo>
                    <a:pt x="0" y="497"/>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sp>
        <p:nvSpPr>
          <p:cNvPr id="63" name="TextBox 62"/>
          <p:cNvSpPr txBox="1"/>
          <p:nvPr/>
        </p:nvSpPr>
        <p:spPr>
          <a:xfrm>
            <a:off x="7699422" y="2032833"/>
            <a:ext cx="1179512" cy="415498"/>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Integrated fare management</a:t>
            </a:r>
            <a:endParaRPr lang="en-US" sz="1050" dirty="0">
              <a:solidFill>
                <a:srgbClr val="000000"/>
              </a:solidFill>
              <a:latin typeface="Arial"/>
            </a:endParaRPr>
          </a:p>
        </p:txBody>
      </p:sp>
      <p:sp>
        <p:nvSpPr>
          <p:cNvPr id="64" name="TextBox 63"/>
          <p:cNvSpPr txBox="1"/>
          <p:nvPr/>
        </p:nvSpPr>
        <p:spPr>
          <a:xfrm>
            <a:off x="346379" y="2051720"/>
            <a:ext cx="1179512" cy="415498"/>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Savings potential</a:t>
            </a:r>
            <a:endParaRPr lang="en-US" sz="1050" dirty="0">
              <a:solidFill>
                <a:srgbClr val="000000"/>
              </a:solidFill>
              <a:latin typeface="Arial"/>
            </a:endParaRPr>
          </a:p>
        </p:txBody>
      </p:sp>
      <p:sp>
        <p:nvSpPr>
          <p:cNvPr id="65" name="TextBox 64"/>
          <p:cNvSpPr txBox="1"/>
          <p:nvPr/>
        </p:nvSpPr>
        <p:spPr>
          <a:xfrm>
            <a:off x="6063152" y="2032833"/>
            <a:ext cx="1267887" cy="415498"/>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Mobility planning  apps</a:t>
            </a:r>
            <a:endParaRPr lang="en-US" sz="1050" dirty="0">
              <a:solidFill>
                <a:srgbClr val="000000"/>
              </a:solidFill>
              <a:latin typeface="Arial"/>
            </a:endParaRPr>
          </a:p>
        </p:txBody>
      </p:sp>
      <p:sp>
        <p:nvSpPr>
          <p:cNvPr id="66" name="TextBox 65"/>
          <p:cNvSpPr txBox="1"/>
          <p:nvPr/>
        </p:nvSpPr>
        <p:spPr>
          <a:xfrm>
            <a:off x="304800" y="5462698"/>
            <a:ext cx="1267887"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Road trains </a:t>
            </a:r>
            <a:endParaRPr lang="en-US" sz="1050" dirty="0">
              <a:solidFill>
                <a:srgbClr val="000000"/>
              </a:solidFill>
              <a:latin typeface="Arial"/>
            </a:endParaRPr>
          </a:p>
        </p:txBody>
      </p:sp>
      <p:sp>
        <p:nvSpPr>
          <p:cNvPr id="67" name="TextBox 66"/>
          <p:cNvSpPr txBox="1"/>
          <p:nvPr/>
        </p:nvSpPr>
        <p:spPr>
          <a:xfrm>
            <a:off x="213161" y="4423102"/>
            <a:ext cx="1267887"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Rapid shuttles</a:t>
            </a:r>
            <a:endParaRPr lang="en-US" sz="1050" dirty="0">
              <a:solidFill>
                <a:srgbClr val="000000"/>
              </a:solidFill>
              <a:latin typeface="Arial"/>
            </a:endParaRPr>
          </a:p>
        </p:txBody>
      </p:sp>
      <p:sp>
        <p:nvSpPr>
          <p:cNvPr id="68" name="TextBox 67"/>
          <p:cNvSpPr txBox="1"/>
          <p:nvPr/>
        </p:nvSpPr>
        <p:spPr>
          <a:xfrm>
            <a:off x="3481503" y="5566102"/>
            <a:ext cx="1267887"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Self learning car</a:t>
            </a:r>
            <a:endParaRPr lang="en-US" sz="1050" dirty="0">
              <a:solidFill>
                <a:srgbClr val="000000"/>
              </a:solidFill>
              <a:latin typeface="Arial"/>
            </a:endParaRPr>
          </a:p>
        </p:txBody>
      </p:sp>
      <p:sp>
        <p:nvSpPr>
          <p:cNvPr id="69" name="TextBox 68"/>
          <p:cNvSpPr txBox="1"/>
          <p:nvPr/>
        </p:nvSpPr>
        <p:spPr>
          <a:xfrm>
            <a:off x="4518529" y="2073260"/>
            <a:ext cx="1267887"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Smart access</a:t>
            </a:r>
            <a:endParaRPr lang="en-US" sz="1050" dirty="0">
              <a:solidFill>
                <a:srgbClr val="000000"/>
              </a:solidFill>
              <a:latin typeface="Arial"/>
            </a:endParaRPr>
          </a:p>
        </p:txBody>
      </p:sp>
      <p:sp>
        <p:nvSpPr>
          <p:cNvPr id="70" name="TextBox 69"/>
          <p:cNvSpPr txBox="1"/>
          <p:nvPr/>
        </p:nvSpPr>
        <p:spPr>
          <a:xfrm>
            <a:off x="7654640" y="5644145"/>
            <a:ext cx="1267887"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Dedicated lane</a:t>
            </a:r>
            <a:endParaRPr lang="en-US" sz="1050" dirty="0">
              <a:solidFill>
                <a:srgbClr val="000000"/>
              </a:solidFill>
              <a:latin typeface="Arial"/>
            </a:endParaRPr>
          </a:p>
        </p:txBody>
      </p:sp>
      <p:sp>
        <p:nvSpPr>
          <p:cNvPr id="71" name="TextBox 70"/>
          <p:cNvSpPr txBox="1"/>
          <p:nvPr/>
        </p:nvSpPr>
        <p:spPr>
          <a:xfrm>
            <a:off x="7645115" y="3375215"/>
            <a:ext cx="1267887" cy="253916"/>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Smart parking</a:t>
            </a:r>
            <a:endParaRPr lang="en-US" sz="1050" dirty="0">
              <a:solidFill>
                <a:srgbClr val="000000"/>
              </a:solidFill>
              <a:latin typeface="Arial"/>
            </a:endParaRPr>
          </a:p>
        </p:txBody>
      </p:sp>
      <p:sp>
        <p:nvSpPr>
          <p:cNvPr id="72" name="TextBox 71"/>
          <p:cNvSpPr txBox="1"/>
          <p:nvPr/>
        </p:nvSpPr>
        <p:spPr>
          <a:xfrm>
            <a:off x="7652502" y="4395033"/>
            <a:ext cx="1267887" cy="415498"/>
          </a:xfrm>
          <a:prstGeom prst="rect">
            <a:avLst/>
          </a:prstGeom>
          <a:noFill/>
        </p:spPr>
        <p:txBody>
          <a:bodyPr wrap="square" rtlCol="0">
            <a:spAutoFit/>
          </a:bodyPr>
          <a:lstStyle/>
          <a:p>
            <a:pPr algn="ctr" fontAlgn="auto">
              <a:spcBef>
                <a:spcPts val="0"/>
              </a:spcBef>
              <a:spcAft>
                <a:spcPts val="0"/>
              </a:spcAft>
            </a:pPr>
            <a:r>
              <a:rPr lang="en-US" sz="1050" dirty="0" smtClean="0">
                <a:solidFill>
                  <a:srgbClr val="000000"/>
                </a:solidFill>
                <a:latin typeface="Arial"/>
              </a:rPr>
              <a:t>Real-time traffic management</a:t>
            </a:r>
            <a:endParaRPr lang="en-US" sz="1050" dirty="0">
              <a:solidFill>
                <a:srgbClr val="000000"/>
              </a:solidFill>
              <a:latin typeface="Arial"/>
            </a:endParaRPr>
          </a:p>
        </p:txBody>
      </p:sp>
      <p:sp>
        <p:nvSpPr>
          <p:cNvPr id="62" name="Oval 61"/>
          <p:cNvSpPr/>
          <p:nvPr/>
        </p:nvSpPr>
        <p:spPr>
          <a:xfrm>
            <a:off x="4156879" y="3280102"/>
            <a:ext cx="872321" cy="78586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endParaRPr lang="en-US" dirty="0">
              <a:solidFill>
                <a:srgbClr val="000000"/>
              </a:solidFill>
            </a:endParaRPr>
          </a:p>
        </p:txBody>
      </p:sp>
      <p:pic>
        <p:nvPicPr>
          <p:cNvPr id="92" name="Picture 21" descr="Automotive-and-transportation_050211.png"/>
          <p:cNvPicPr>
            <a:picLocks noChangeAspect="1"/>
          </p:cNvPicPr>
          <p:nvPr/>
        </p:nvPicPr>
        <p:blipFill>
          <a:blip r:embed="rId3" cstate="print">
            <a:duotone>
              <a:schemeClr val="accent2">
                <a:shade val="45000"/>
                <a:satMod val="135000"/>
              </a:schemeClr>
              <a:prstClr val="white"/>
            </a:duotone>
          </a:blip>
          <a:srcRect/>
          <a:stretch>
            <a:fillRect/>
          </a:stretch>
        </p:blipFill>
        <p:spPr bwMode="auto">
          <a:xfrm>
            <a:off x="3806965" y="5265926"/>
            <a:ext cx="745331" cy="257175"/>
          </a:xfrm>
          <a:prstGeom prst="rect">
            <a:avLst/>
          </a:prstGeom>
          <a:noFill/>
          <a:ln w="9525">
            <a:noFill/>
            <a:miter lim="800000"/>
            <a:headEnd/>
            <a:tailEnd/>
          </a:ln>
        </p:spPr>
      </p:pic>
      <p:sp>
        <p:nvSpPr>
          <p:cNvPr id="3" name="TextBox 2"/>
          <p:cNvSpPr txBox="1"/>
          <p:nvPr/>
        </p:nvSpPr>
        <p:spPr>
          <a:xfrm>
            <a:off x="4724246" y="1488067"/>
            <a:ext cx="533400" cy="400110"/>
          </a:xfrm>
          <a:prstGeom prst="rect">
            <a:avLst/>
          </a:prstGeom>
          <a:noFill/>
        </p:spPr>
        <p:txBody>
          <a:bodyPr wrap="square" rtlCol="0">
            <a:spAutoFit/>
          </a:bodyPr>
          <a:lstStyle/>
          <a:p>
            <a:pPr fontAlgn="auto">
              <a:spcBef>
                <a:spcPts val="0"/>
              </a:spcBef>
              <a:spcAft>
                <a:spcPts val="0"/>
              </a:spcAft>
            </a:pPr>
            <a:r>
              <a:rPr lang="en-US" sz="2000" dirty="0" smtClean="0">
                <a:solidFill>
                  <a:srgbClr val="06325C"/>
                </a:solidFill>
                <a:latin typeface="Monotype Corsiva" pitchFamily="66" charset="0"/>
              </a:rPr>
              <a:t>i</a:t>
            </a:r>
            <a:endParaRPr lang="en-US" sz="2000" dirty="0">
              <a:solidFill>
                <a:srgbClr val="06325C"/>
              </a:solidFill>
              <a:latin typeface="Monotype Corsiva" pitchFamily="66" charset="0"/>
            </a:endParaRPr>
          </a:p>
        </p:txBody>
      </p:sp>
      <p:sp>
        <p:nvSpPr>
          <p:cNvPr id="93" name="Freeform 23"/>
          <p:cNvSpPr>
            <a:spLocks noChangeArrowheads="1"/>
          </p:cNvSpPr>
          <p:nvPr/>
        </p:nvSpPr>
        <p:spPr bwMode="auto">
          <a:xfrm>
            <a:off x="4385227" y="5056143"/>
            <a:ext cx="428869" cy="349250"/>
          </a:xfrm>
          <a:custGeom>
            <a:avLst/>
            <a:gdLst>
              <a:gd name="T0" fmla="*/ 2147483647 w 3456"/>
              <a:gd name="T1" fmla="*/ 2147483647 h 2952"/>
              <a:gd name="T2" fmla="*/ 2147483647 w 3456"/>
              <a:gd name="T3" fmla="*/ 2147483647 h 2952"/>
              <a:gd name="T4" fmla="*/ 2147483647 w 3456"/>
              <a:gd name="T5" fmla="*/ 2147483647 h 2952"/>
              <a:gd name="T6" fmla="*/ 2147483647 w 3456"/>
              <a:gd name="T7" fmla="*/ 2147483647 h 2952"/>
              <a:gd name="T8" fmla="*/ 2147483647 w 3456"/>
              <a:gd name="T9" fmla="*/ 2147483647 h 2952"/>
              <a:gd name="T10" fmla="*/ 2147483647 w 3456"/>
              <a:gd name="T11" fmla="*/ 2147483647 h 2952"/>
              <a:gd name="T12" fmla="*/ 2147483647 w 3456"/>
              <a:gd name="T13" fmla="*/ 2147483647 h 2952"/>
              <a:gd name="T14" fmla="*/ 2147483647 w 3456"/>
              <a:gd name="T15" fmla="*/ 2147483647 h 2952"/>
              <a:gd name="T16" fmla="*/ 2147483647 w 3456"/>
              <a:gd name="T17" fmla="*/ 2147483647 h 2952"/>
              <a:gd name="T18" fmla="*/ 2147483647 w 3456"/>
              <a:gd name="T19" fmla="*/ 2147483647 h 2952"/>
              <a:gd name="T20" fmla="*/ 2147483647 w 3456"/>
              <a:gd name="T21" fmla="*/ 2147483647 h 2952"/>
              <a:gd name="T22" fmla="*/ 2147483647 w 3456"/>
              <a:gd name="T23" fmla="*/ 2147483647 h 2952"/>
              <a:gd name="T24" fmla="*/ 2147483647 w 3456"/>
              <a:gd name="T25" fmla="*/ 2147483647 h 2952"/>
              <a:gd name="T26" fmla="*/ 2147483647 w 3456"/>
              <a:gd name="T27" fmla="*/ 2147483647 h 2952"/>
              <a:gd name="T28" fmla="*/ 2147483647 w 3456"/>
              <a:gd name="T29" fmla="*/ 2147483647 h 2952"/>
              <a:gd name="T30" fmla="*/ 2147483647 w 3456"/>
              <a:gd name="T31" fmla="*/ 2147483647 h 2952"/>
              <a:gd name="T32" fmla="*/ 2147483647 w 3456"/>
              <a:gd name="T33" fmla="*/ 2147483647 h 2952"/>
              <a:gd name="T34" fmla="*/ 2147483647 w 3456"/>
              <a:gd name="T35" fmla="*/ 2147483647 h 2952"/>
              <a:gd name="T36" fmla="*/ 2147483647 w 3456"/>
              <a:gd name="T37" fmla="*/ 2147483647 h 2952"/>
              <a:gd name="T38" fmla="*/ 2147483647 w 3456"/>
              <a:gd name="T39" fmla="*/ 2147483647 h 2952"/>
              <a:gd name="T40" fmla="*/ 2147483647 w 3456"/>
              <a:gd name="T41" fmla="*/ 2147483647 h 2952"/>
              <a:gd name="T42" fmla="*/ 2147483647 w 3456"/>
              <a:gd name="T43" fmla="*/ 2147483647 h 2952"/>
              <a:gd name="T44" fmla="*/ 2147483647 w 3456"/>
              <a:gd name="T45" fmla="*/ 2147483647 h 2952"/>
              <a:gd name="T46" fmla="*/ 2147483647 w 3456"/>
              <a:gd name="T47" fmla="*/ 2147483647 h 2952"/>
              <a:gd name="T48" fmla="*/ 2147483647 w 3456"/>
              <a:gd name="T49" fmla="*/ 2147483647 h 2952"/>
              <a:gd name="T50" fmla="*/ 2147483647 w 3456"/>
              <a:gd name="T51" fmla="*/ 2147483647 h 2952"/>
              <a:gd name="T52" fmla="*/ 2147483647 w 3456"/>
              <a:gd name="T53" fmla="*/ 2147483647 h 2952"/>
              <a:gd name="T54" fmla="*/ 2147483647 w 3456"/>
              <a:gd name="T55" fmla="*/ 2147483647 h 2952"/>
              <a:gd name="T56" fmla="*/ 2147483647 w 3456"/>
              <a:gd name="T57" fmla="*/ 2147483647 h 2952"/>
              <a:gd name="T58" fmla="*/ 2147483647 w 3456"/>
              <a:gd name="T59" fmla="*/ 2147483647 h 2952"/>
              <a:gd name="T60" fmla="*/ 2147483647 w 3456"/>
              <a:gd name="T61" fmla="*/ 2147483647 h 2952"/>
              <a:gd name="T62" fmla="*/ 2147483647 w 3456"/>
              <a:gd name="T63" fmla="*/ 2147483647 h 2952"/>
              <a:gd name="T64" fmla="*/ 2147483647 w 3456"/>
              <a:gd name="T65" fmla="*/ 2147483647 h 2952"/>
              <a:gd name="T66" fmla="*/ 2147483647 w 3456"/>
              <a:gd name="T67" fmla="*/ 2147483647 h 2952"/>
              <a:gd name="T68" fmla="*/ 2147483647 w 3456"/>
              <a:gd name="T69" fmla="*/ 2147483647 h 2952"/>
              <a:gd name="T70" fmla="*/ 2147483647 w 3456"/>
              <a:gd name="T71" fmla="*/ 2147483647 h 2952"/>
              <a:gd name="T72" fmla="*/ 2147483647 w 3456"/>
              <a:gd name="T73" fmla="*/ 2147483647 h 2952"/>
              <a:gd name="T74" fmla="*/ 2147483647 w 3456"/>
              <a:gd name="T75" fmla="*/ 2147483647 h 2952"/>
              <a:gd name="T76" fmla="*/ 2147483647 w 3456"/>
              <a:gd name="T77" fmla="*/ 2147483647 h 2952"/>
              <a:gd name="T78" fmla="*/ 2147483647 w 3456"/>
              <a:gd name="T79" fmla="*/ 2147483647 h 2952"/>
              <a:gd name="T80" fmla="*/ 2147483647 w 3456"/>
              <a:gd name="T81" fmla="*/ 2147483647 h 2952"/>
              <a:gd name="T82" fmla="*/ 2147483647 w 3456"/>
              <a:gd name="T83" fmla="*/ 2147483647 h 2952"/>
              <a:gd name="T84" fmla="*/ 2147483647 w 3456"/>
              <a:gd name="T85" fmla="*/ 2147483647 h 2952"/>
              <a:gd name="T86" fmla="*/ 2147483647 w 3456"/>
              <a:gd name="T87" fmla="*/ 2147483647 h 2952"/>
              <a:gd name="T88" fmla="*/ 2147483647 w 3456"/>
              <a:gd name="T89" fmla="*/ 2147483647 h 2952"/>
              <a:gd name="T90" fmla="*/ 2147483647 w 3456"/>
              <a:gd name="T91" fmla="*/ 2147483647 h 2952"/>
              <a:gd name="T92" fmla="*/ 2147483647 w 3456"/>
              <a:gd name="T93" fmla="*/ 2147483647 h 2952"/>
              <a:gd name="T94" fmla="*/ 2147483647 w 3456"/>
              <a:gd name="T95" fmla="*/ 2147483647 h 2952"/>
              <a:gd name="T96" fmla="*/ 2147483647 w 3456"/>
              <a:gd name="T97" fmla="*/ 2147483647 h 2952"/>
              <a:gd name="T98" fmla="*/ 2147483647 w 3456"/>
              <a:gd name="T99" fmla="*/ 2147483647 h 2952"/>
              <a:gd name="T100" fmla="*/ 2147483647 w 3456"/>
              <a:gd name="T101" fmla="*/ 2147483647 h 2952"/>
              <a:gd name="T102" fmla="*/ 2147483647 w 3456"/>
              <a:gd name="T103" fmla="*/ 2147483647 h 2952"/>
              <a:gd name="T104" fmla="*/ 2147483647 w 3456"/>
              <a:gd name="T105" fmla="*/ 2147483647 h 2952"/>
              <a:gd name="T106" fmla="*/ 2147483647 w 3456"/>
              <a:gd name="T107" fmla="*/ 2147483647 h 2952"/>
              <a:gd name="T108" fmla="*/ 2147483647 w 3456"/>
              <a:gd name="T109" fmla="*/ 2147483647 h 2952"/>
              <a:gd name="T110" fmla="*/ 2147483647 w 3456"/>
              <a:gd name="T111" fmla="*/ 2147483647 h 2952"/>
              <a:gd name="T112" fmla="*/ 2147483647 w 3456"/>
              <a:gd name="T113" fmla="*/ 2147483647 h 2952"/>
              <a:gd name="T114" fmla="*/ 2147483647 w 3456"/>
              <a:gd name="T115" fmla="*/ 2147483647 h 29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56"/>
              <a:gd name="T175" fmla="*/ 0 h 2952"/>
              <a:gd name="T176" fmla="*/ 3456 w 3456"/>
              <a:gd name="T177" fmla="*/ 2952 h 295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56" h="2952">
                <a:moveTo>
                  <a:pt x="1954" y="0"/>
                </a:moveTo>
                <a:lnTo>
                  <a:pt x="2009" y="3"/>
                </a:lnTo>
                <a:lnTo>
                  <a:pt x="2061" y="11"/>
                </a:lnTo>
                <a:lnTo>
                  <a:pt x="2111" y="23"/>
                </a:lnTo>
                <a:lnTo>
                  <a:pt x="2161" y="40"/>
                </a:lnTo>
                <a:lnTo>
                  <a:pt x="2207" y="62"/>
                </a:lnTo>
                <a:lnTo>
                  <a:pt x="2252" y="87"/>
                </a:lnTo>
                <a:lnTo>
                  <a:pt x="2292" y="117"/>
                </a:lnTo>
                <a:lnTo>
                  <a:pt x="2331" y="149"/>
                </a:lnTo>
                <a:lnTo>
                  <a:pt x="2373" y="141"/>
                </a:lnTo>
                <a:lnTo>
                  <a:pt x="2417" y="135"/>
                </a:lnTo>
                <a:lnTo>
                  <a:pt x="2461" y="133"/>
                </a:lnTo>
                <a:lnTo>
                  <a:pt x="2522" y="136"/>
                </a:lnTo>
                <a:lnTo>
                  <a:pt x="2580" y="146"/>
                </a:lnTo>
                <a:lnTo>
                  <a:pt x="2637" y="162"/>
                </a:lnTo>
                <a:lnTo>
                  <a:pt x="2690" y="184"/>
                </a:lnTo>
                <a:lnTo>
                  <a:pt x="2742" y="210"/>
                </a:lnTo>
                <a:lnTo>
                  <a:pt x="2789" y="241"/>
                </a:lnTo>
                <a:lnTo>
                  <a:pt x="2833" y="278"/>
                </a:lnTo>
                <a:lnTo>
                  <a:pt x="2874" y="319"/>
                </a:lnTo>
                <a:lnTo>
                  <a:pt x="2909" y="363"/>
                </a:lnTo>
                <a:lnTo>
                  <a:pt x="2941" y="411"/>
                </a:lnTo>
                <a:lnTo>
                  <a:pt x="2967" y="462"/>
                </a:lnTo>
                <a:lnTo>
                  <a:pt x="3018" y="481"/>
                </a:lnTo>
                <a:lnTo>
                  <a:pt x="3067" y="504"/>
                </a:lnTo>
                <a:lnTo>
                  <a:pt x="3114" y="531"/>
                </a:lnTo>
                <a:lnTo>
                  <a:pt x="3156" y="564"/>
                </a:lnTo>
                <a:lnTo>
                  <a:pt x="3196" y="599"/>
                </a:lnTo>
                <a:lnTo>
                  <a:pt x="3233" y="639"/>
                </a:lnTo>
                <a:lnTo>
                  <a:pt x="3265" y="682"/>
                </a:lnTo>
                <a:lnTo>
                  <a:pt x="3294" y="728"/>
                </a:lnTo>
                <a:lnTo>
                  <a:pt x="3317" y="776"/>
                </a:lnTo>
                <a:lnTo>
                  <a:pt x="3336" y="828"/>
                </a:lnTo>
                <a:lnTo>
                  <a:pt x="3350" y="881"/>
                </a:lnTo>
                <a:lnTo>
                  <a:pt x="3359" y="937"/>
                </a:lnTo>
                <a:lnTo>
                  <a:pt x="3361" y="994"/>
                </a:lnTo>
                <a:lnTo>
                  <a:pt x="3359" y="1044"/>
                </a:lnTo>
                <a:lnTo>
                  <a:pt x="3352" y="1092"/>
                </a:lnTo>
                <a:lnTo>
                  <a:pt x="3342" y="1139"/>
                </a:lnTo>
                <a:lnTo>
                  <a:pt x="3371" y="1180"/>
                </a:lnTo>
                <a:lnTo>
                  <a:pt x="3395" y="1224"/>
                </a:lnTo>
                <a:lnTo>
                  <a:pt x="3417" y="1271"/>
                </a:lnTo>
                <a:lnTo>
                  <a:pt x="3434" y="1319"/>
                </a:lnTo>
                <a:lnTo>
                  <a:pt x="3446" y="1369"/>
                </a:lnTo>
                <a:lnTo>
                  <a:pt x="3454" y="1422"/>
                </a:lnTo>
                <a:lnTo>
                  <a:pt x="3456" y="1475"/>
                </a:lnTo>
                <a:lnTo>
                  <a:pt x="3453" y="1530"/>
                </a:lnTo>
                <a:lnTo>
                  <a:pt x="3446" y="1583"/>
                </a:lnTo>
                <a:lnTo>
                  <a:pt x="3433" y="1634"/>
                </a:lnTo>
                <a:lnTo>
                  <a:pt x="3415" y="1684"/>
                </a:lnTo>
                <a:lnTo>
                  <a:pt x="3393" y="1731"/>
                </a:lnTo>
                <a:lnTo>
                  <a:pt x="3368" y="1775"/>
                </a:lnTo>
                <a:lnTo>
                  <a:pt x="3338" y="1817"/>
                </a:lnTo>
                <a:lnTo>
                  <a:pt x="3304" y="1856"/>
                </a:lnTo>
                <a:lnTo>
                  <a:pt x="3297" y="1912"/>
                </a:lnTo>
                <a:lnTo>
                  <a:pt x="3284" y="1966"/>
                </a:lnTo>
                <a:lnTo>
                  <a:pt x="3266" y="2019"/>
                </a:lnTo>
                <a:lnTo>
                  <a:pt x="3243" y="2069"/>
                </a:lnTo>
                <a:lnTo>
                  <a:pt x="3216" y="2116"/>
                </a:lnTo>
                <a:lnTo>
                  <a:pt x="3184" y="2160"/>
                </a:lnTo>
                <a:lnTo>
                  <a:pt x="3148" y="2201"/>
                </a:lnTo>
                <a:lnTo>
                  <a:pt x="3108" y="2238"/>
                </a:lnTo>
                <a:lnTo>
                  <a:pt x="3065" y="2270"/>
                </a:lnTo>
                <a:lnTo>
                  <a:pt x="3019" y="2299"/>
                </a:lnTo>
                <a:lnTo>
                  <a:pt x="2970" y="2324"/>
                </a:lnTo>
                <a:lnTo>
                  <a:pt x="2970" y="2326"/>
                </a:lnTo>
                <a:lnTo>
                  <a:pt x="2915" y="2360"/>
                </a:lnTo>
                <a:lnTo>
                  <a:pt x="2864" y="2399"/>
                </a:lnTo>
                <a:lnTo>
                  <a:pt x="2817" y="2441"/>
                </a:lnTo>
                <a:lnTo>
                  <a:pt x="2773" y="2487"/>
                </a:lnTo>
                <a:lnTo>
                  <a:pt x="2734" y="2535"/>
                </a:lnTo>
                <a:lnTo>
                  <a:pt x="2699" y="2587"/>
                </a:lnTo>
                <a:lnTo>
                  <a:pt x="2666" y="2642"/>
                </a:lnTo>
                <a:lnTo>
                  <a:pt x="2639" y="2700"/>
                </a:lnTo>
                <a:lnTo>
                  <a:pt x="2615" y="2759"/>
                </a:lnTo>
                <a:lnTo>
                  <a:pt x="2595" y="2821"/>
                </a:lnTo>
                <a:lnTo>
                  <a:pt x="2578" y="2886"/>
                </a:lnTo>
                <a:lnTo>
                  <a:pt x="2567" y="2952"/>
                </a:lnTo>
                <a:lnTo>
                  <a:pt x="2357" y="2952"/>
                </a:lnTo>
                <a:lnTo>
                  <a:pt x="2357" y="2326"/>
                </a:lnTo>
                <a:lnTo>
                  <a:pt x="2360" y="2269"/>
                </a:lnTo>
                <a:lnTo>
                  <a:pt x="2365" y="2217"/>
                </a:lnTo>
                <a:lnTo>
                  <a:pt x="2375" y="2169"/>
                </a:lnTo>
                <a:lnTo>
                  <a:pt x="2388" y="2123"/>
                </a:lnTo>
                <a:lnTo>
                  <a:pt x="2406" y="2083"/>
                </a:lnTo>
                <a:lnTo>
                  <a:pt x="2425" y="2045"/>
                </a:lnTo>
                <a:lnTo>
                  <a:pt x="2451" y="2011"/>
                </a:lnTo>
                <a:lnTo>
                  <a:pt x="2479" y="1980"/>
                </a:lnTo>
                <a:lnTo>
                  <a:pt x="2512" y="1953"/>
                </a:lnTo>
                <a:lnTo>
                  <a:pt x="2549" y="1929"/>
                </a:lnTo>
                <a:lnTo>
                  <a:pt x="2594" y="1899"/>
                </a:lnTo>
                <a:lnTo>
                  <a:pt x="2637" y="1869"/>
                </a:lnTo>
                <a:lnTo>
                  <a:pt x="2675" y="1835"/>
                </a:lnTo>
                <a:lnTo>
                  <a:pt x="2716" y="1852"/>
                </a:lnTo>
                <a:lnTo>
                  <a:pt x="2754" y="1873"/>
                </a:lnTo>
                <a:lnTo>
                  <a:pt x="2790" y="1897"/>
                </a:lnTo>
                <a:lnTo>
                  <a:pt x="2824" y="1927"/>
                </a:lnTo>
                <a:lnTo>
                  <a:pt x="2856" y="1958"/>
                </a:lnTo>
                <a:lnTo>
                  <a:pt x="2884" y="1994"/>
                </a:lnTo>
                <a:lnTo>
                  <a:pt x="2909" y="2033"/>
                </a:lnTo>
                <a:lnTo>
                  <a:pt x="2919" y="2046"/>
                </a:lnTo>
                <a:lnTo>
                  <a:pt x="2931" y="2055"/>
                </a:lnTo>
                <a:lnTo>
                  <a:pt x="2945" y="2061"/>
                </a:lnTo>
                <a:lnTo>
                  <a:pt x="2961" y="2063"/>
                </a:lnTo>
                <a:lnTo>
                  <a:pt x="2974" y="2061"/>
                </a:lnTo>
                <a:lnTo>
                  <a:pt x="2989" y="2055"/>
                </a:lnTo>
                <a:lnTo>
                  <a:pt x="3001" y="2046"/>
                </a:lnTo>
                <a:lnTo>
                  <a:pt x="3011" y="2033"/>
                </a:lnTo>
                <a:lnTo>
                  <a:pt x="3017" y="2020"/>
                </a:lnTo>
                <a:lnTo>
                  <a:pt x="3019" y="2005"/>
                </a:lnTo>
                <a:lnTo>
                  <a:pt x="3017" y="1989"/>
                </a:lnTo>
                <a:lnTo>
                  <a:pt x="3012" y="1975"/>
                </a:lnTo>
                <a:lnTo>
                  <a:pt x="3011" y="1975"/>
                </a:lnTo>
                <a:lnTo>
                  <a:pt x="2984" y="1931"/>
                </a:lnTo>
                <a:lnTo>
                  <a:pt x="2952" y="1890"/>
                </a:lnTo>
                <a:lnTo>
                  <a:pt x="2918" y="1853"/>
                </a:lnTo>
                <a:lnTo>
                  <a:pt x="2881" y="1820"/>
                </a:lnTo>
                <a:lnTo>
                  <a:pt x="2841" y="1790"/>
                </a:lnTo>
                <a:lnTo>
                  <a:pt x="2799" y="1764"/>
                </a:lnTo>
                <a:lnTo>
                  <a:pt x="2755" y="1742"/>
                </a:lnTo>
                <a:lnTo>
                  <a:pt x="2776" y="1706"/>
                </a:lnTo>
                <a:lnTo>
                  <a:pt x="2795" y="1668"/>
                </a:lnTo>
                <a:lnTo>
                  <a:pt x="2810" y="1627"/>
                </a:lnTo>
                <a:lnTo>
                  <a:pt x="2822" y="1585"/>
                </a:lnTo>
                <a:lnTo>
                  <a:pt x="2831" y="1540"/>
                </a:lnTo>
                <a:lnTo>
                  <a:pt x="2836" y="1494"/>
                </a:lnTo>
                <a:lnTo>
                  <a:pt x="2837" y="1445"/>
                </a:lnTo>
                <a:lnTo>
                  <a:pt x="2837" y="1444"/>
                </a:lnTo>
                <a:lnTo>
                  <a:pt x="2838" y="1443"/>
                </a:lnTo>
                <a:lnTo>
                  <a:pt x="2835" y="1390"/>
                </a:lnTo>
                <a:lnTo>
                  <a:pt x="2828" y="1339"/>
                </a:lnTo>
                <a:lnTo>
                  <a:pt x="2816" y="1290"/>
                </a:lnTo>
                <a:lnTo>
                  <a:pt x="2867" y="1277"/>
                </a:lnTo>
                <a:lnTo>
                  <a:pt x="2917" y="1260"/>
                </a:lnTo>
                <a:lnTo>
                  <a:pt x="2964" y="1239"/>
                </a:lnTo>
                <a:lnTo>
                  <a:pt x="3009" y="1214"/>
                </a:lnTo>
                <a:lnTo>
                  <a:pt x="3051" y="1185"/>
                </a:lnTo>
                <a:lnTo>
                  <a:pt x="3089" y="1152"/>
                </a:lnTo>
                <a:lnTo>
                  <a:pt x="3125" y="1117"/>
                </a:lnTo>
                <a:lnTo>
                  <a:pt x="3134" y="1103"/>
                </a:lnTo>
                <a:lnTo>
                  <a:pt x="3140" y="1089"/>
                </a:lnTo>
                <a:lnTo>
                  <a:pt x="3141" y="1074"/>
                </a:lnTo>
                <a:lnTo>
                  <a:pt x="3138" y="1059"/>
                </a:lnTo>
                <a:lnTo>
                  <a:pt x="3131" y="1046"/>
                </a:lnTo>
                <a:lnTo>
                  <a:pt x="3121" y="1034"/>
                </a:lnTo>
                <a:lnTo>
                  <a:pt x="3108" y="1025"/>
                </a:lnTo>
                <a:lnTo>
                  <a:pt x="3094" y="1019"/>
                </a:lnTo>
                <a:lnTo>
                  <a:pt x="3079" y="1018"/>
                </a:lnTo>
                <a:lnTo>
                  <a:pt x="3064" y="1022"/>
                </a:lnTo>
                <a:lnTo>
                  <a:pt x="3051" y="1028"/>
                </a:lnTo>
                <a:lnTo>
                  <a:pt x="3039" y="1037"/>
                </a:lnTo>
                <a:lnTo>
                  <a:pt x="3003" y="1073"/>
                </a:lnTo>
                <a:lnTo>
                  <a:pt x="2962" y="1104"/>
                </a:lnTo>
                <a:lnTo>
                  <a:pt x="2919" y="1130"/>
                </a:lnTo>
                <a:lnTo>
                  <a:pt x="2872" y="1152"/>
                </a:lnTo>
                <a:lnTo>
                  <a:pt x="2822" y="1168"/>
                </a:lnTo>
                <a:lnTo>
                  <a:pt x="2770" y="1179"/>
                </a:lnTo>
                <a:lnTo>
                  <a:pt x="2743" y="1133"/>
                </a:lnTo>
                <a:lnTo>
                  <a:pt x="2711" y="1090"/>
                </a:lnTo>
                <a:lnTo>
                  <a:pt x="2676" y="1050"/>
                </a:lnTo>
                <a:lnTo>
                  <a:pt x="2636" y="1013"/>
                </a:lnTo>
                <a:lnTo>
                  <a:pt x="2593" y="982"/>
                </a:lnTo>
                <a:lnTo>
                  <a:pt x="2548" y="953"/>
                </a:lnTo>
                <a:lnTo>
                  <a:pt x="2500" y="929"/>
                </a:lnTo>
                <a:lnTo>
                  <a:pt x="2449" y="911"/>
                </a:lnTo>
                <a:lnTo>
                  <a:pt x="2396" y="897"/>
                </a:lnTo>
                <a:lnTo>
                  <a:pt x="2342" y="887"/>
                </a:lnTo>
                <a:lnTo>
                  <a:pt x="2350" y="838"/>
                </a:lnTo>
                <a:lnTo>
                  <a:pt x="2364" y="792"/>
                </a:lnTo>
                <a:lnTo>
                  <a:pt x="2384" y="747"/>
                </a:lnTo>
                <a:lnTo>
                  <a:pt x="2407" y="705"/>
                </a:lnTo>
                <a:lnTo>
                  <a:pt x="2435" y="666"/>
                </a:lnTo>
                <a:lnTo>
                  <a:pt x="2466" y="631"/>
                </a:lnTo>
                <a:lnTo>
                  <a:pt x="2476" y="618"/>
                </a:lnTo>
                <a:lnTo>
                  <a:pt x="2482" y="604"/>
                </a:lnTo>
                <a:lnTo>
                  <a:pt x="2483" y="589"/>
                </a:lnTo>
                <a:lnTo>
                  <a:pt x="2482" y="574"/>
                </a:lnTo>
                <a:lnTo>
                  <a:pt x="2476" y="561"/>
                </a:lnTo>
                <a:lnTo>
                  <a:pt x="2466" y="548"/>
                </a:lnTo>
                <a:lnTo>
                  <a:pt x="2454" y="539"/>
                </a:lnTo>
                <a:lnTo>
                  <a:pt x="2440" y="532"/>
                </a:lnTo>
                <a:lnTo>
                  <a:pt x="2425" y="530"/>
                </a:lnTo>
                <a:lnTo>
                  <a:pt x="2410" y="532"/>
                </a:lnTo>
                <a:lnTo>
                  <a:pt x="2396" y="539"/>
                </a:lnTo>
                <a:lnTo>
                  <a:pt x="2384" y="548"/>
                </a:lnTo>
                <a:lnTo>
                  <a:pt x="2348" y="587"/>
                </a:lnTo>
                <a:lnTo>
                  <a:pt x="2317" y="629"/>
                </a:lnTo>
                <a:lnTo>
                  <a:pt x="2288" y="675"/>
                </a:lnTo>
                <a:lnTo>
                  <a:pt x="2265" y="723"/>
                </a:lnTo>
                <a:lnTo>
                  <a:pt x="2246" y="773"/>
                </a:lnTo>
                <a:lnTo>
                  <a:pt x="2233" y="826"/>
                </a:lnTo>
                <a:lnTo>
                  <a:pt x="2223" y="880"/>
                </a:lnTo>
                <a:lnTo>
                  <a:pt x="2174" y="872"/>
                </a:lnTo>
                <a:lnTo>
                  <a:pt x="2127" y="857"/>
                </a:lnTo>
                <a:lnTo>
                  <a:pt x="2082" y="838"/>
                </a:lnTo>
                <a:lnTo>
                  <a:pt x="2040" y="814"/>
                </a:lnTo>
                <a:lnTo>
                  <a:pt x="2001" y="786"/>
                </a:lnTo>
                <a:lnTo>
                  <a:pt x="1966" y="753"/>
                </a:lnTo>
                <a:lnTo>
                  <a:pt x="1933" y="718"/>
                </a:lnTo>
                <a:lnTo>
                  <a:pt x="1905" y="678"/>
                </a:lnTo>
                <a:lnTo>
                  <a:pt x="1882" y="636"/>
                </a:lnTo>
                <a:lnTo>
                  <a:pt x="1863" y="591"/>
                </a:lnTo>
                <a:lnTo>
                  <a:pt x="1849" y="543"/>
                </a:lnTo>
                <a:lnTo>
                  <a:pt x="1840" y="494"/>
                </a:lnTo>
                <a:lnTo>
                  <a:pt x="1837" y="442"/>
                </a:lnTo>
                <a:lnTo>
                  <a:pt x="1835" y="425"/>
                </a:lnTo>
                <a:lnTo>
                  <a:pt x="1826" y="408"/>
                </a:lnTo>
                <a:lnTo>
                  <a:pt x="1813" y="395"/>
                </a:lnTo>
                <a:lnTo>
                  <a:pt x="1797" y="387"/>
                </a:lnTo>
                <a:lnTo>
                  <a:pt x="1779" y="384"/>
                </a:lnTo>
                <a:lnTo>
                  <a:pt x="1760" y="387"/>
                </a:lnTo>
                <a:lnTo>
                  <a:pt x="1744" y="395"/>
                </a:lnTo>
                <a:lnTo>
                  <a:pt x="1731" y="408"/>
                </a:lnTo>
                <a:lnTo>
                  <a:pt x="1723" y="425"/>
                </a:lnTo>
                <a:lnTo>
                  <a:pt x="1721" y="442"/>
                </a:lnTo>
                <a:lnTo>
                  <a:pt x="1723" y="499"/>
                </a:lnTo>
                <a:lnTo>
                  <a:pt x="1731" y="552"/>
                </a:lnTo>
                <a:lnTo>
                  <a:pt x="1694" y="582"/>
                </a:lnTo>
                <a:lnTo>
                  <a:pt x="1656" y="606"/>
                </a:lnTo>
                <a:lnTo>
                  <a:pt x="1615" y="625"/>
                </a:lnTo>
                <a:lnTo>
                  <a:pt x="1573" y="640"/>
                </a:lnTo>
                <a:lnTo>
                  <a:pt x="1530" y="652"/>
                </a:lnTo>
                <a:lnTo>
                  <a:pt x="1487" y="658"/>
                </a:lnTo>
                <a:lnTo>
                  <a:pt x="1443" y="660"/>
                </a:lnTo>
                <a:lnTo>
                  <a:pt x="1392" y="657"/>
                </a:lnTo>
                <a:lnTo>
                  <a:pt x="1342" y="649"/>
                </a:lnTo>
                <a:lnTo>
                  <a:pt x="1292" y="634"/>
                </a:lnTo>
                <a:lnTo>
                  <a:pt x="1291" y="633"/>
                </a:lnTo>
                <a:lnTo>
                  <a:pt x="1247" y="615"/>
                </a:lnTo>
                <a:lnTo>
                  <a:pt x="1206" y="592"/>
                </a:lnTo>
                <a:lnTo>
                  <a:pt x="1168" y="564"/>
                </a:lnTo>
                <a:lnTo>
                  <a:pt x="1131" y="531"/>
                </a:lnTo>
                <a:lnTo>
                  <a:pt x="1118" y="521"/>
                </a:lnTo>
                <a:lnTo>
                  <a:pt x="1104" y="516"/>
                </a:lnTo>
                <a:lnTo>
                  <a:pt x="1089" y="514"/>
                </a:lnTo>
                <a:lnTo>
                  <a:pt x="1075" y="516"/>
                </a:lnTo>
                <a:lnTo>
                  <a:pt x="1060" y="521"/>
                </a:lnTo>
                <a:lnTo>
                  <a:pt x="1047" y="531"/>
                </a:lnTo>
                <a:lnTo>
                  <a:pt x="1038" y="543"/>
                </a:lnTo>
                <a:lnTo>
                  <a:pt x="1033" y="558"/>
                </a:lnTo>
                <a:lnTo>
                  <a:pt x="1031" y="572"/>
                </a:lnTo>
                <a:lnTo>
                  <a:pt x="1033" y="587"/>
                </a:lnTo>
                <a:lnTo>
                  <a:pt x="1038" y="602"/>
                </a:lnTo>
                <a:lnTo>
                  <a:pt x="1047" y="613"/>
                </a:lnTo>
                <a:lnTo>
                  <a:pt x="1085" y="648"/>
                </a:lnTo>
                <a:lnTo>
                  <a:pt x="1125" y="678"/>
                </a:lnTo>
                <a:lnTo>
                  <a:pt x="1166" y="704"/>
                </a:lnTo>
                <a:lnTo>
                  <a:pt x="1209" y="726"/>
                </a:lnTo>
                <a:lnTo>
                  <a:pt x="1202" y="773"/>
                </a:lnTo>
                <a:lnTo>
                  <a:pt x="1190" y="819"/>
                </a:lnTo>
                <a:lnTo>
                  <a:pt x="1174" y="863"/>
                </a:lnTo>
                <a:lnTo>
                  <a:pt x="1153" y="905"/>
                </a:lnTo>
                <a:lnTo>
                  <a:pt x="1128" y="944"/>
                </a:lnTo>
                <a:lnTo>
                  <a:pt x="1100" y="980"/>
                </a:lnTo>
                <a:lnTo>
                  <a:pt x="1067" y="1013"/>
                </a:lnTo>
                <a:lnTo>
                  <a:pt x="1032" y="1042"/>
                </a:lnTo>
                <a:lnTo>
                  <a:pt x="993" y="1068"/>
                </a:lnTo>
                <a:lnTo>
                  <a:pt x="961" y="1025"/>
                </a:lnTo>
                <a:lnTo>
                  <a:pt x="927" y="984"/>
                </a:lnTo>
                <a:lnTo>
                  <a:pt x="887" y="947"/>
                </a:lnTo>
                <a:lnTo>
                  <a:pt x="844" y="915"/>
                </a:lnTo>
                <a:lnTo>
                  <a:pt x="798" y="885"/>
                </a:lnTo>
                <a:lnTo>
                  <a:pt x="748" y="860"/>
                </a:lnTo>
                <a:lnTo>
                  <a:pt x="695" y="841"/>
                </a:lnTo>
                <a:lnTo>
                  <a:pt x="680" y="838"/>
                </a:lnTo>
                <a:lnTo>
                  <a:pt x="664" y="839"/>
                </a:lnTo>
                <a:lnTo>
                  <a:pt x="650" y="845"/>
                </a:lnTo>
                <a:lnTo>
                  <a:pt x="638" y="853"/>
                </a:lnTo>
                <a:lnTo>
                  <a:pt x="627" y="864"/>
                </a:lnTo>
                <a:lnTo>
                  <a:pt x="621" y="879"/>
                </a:lnTo>
                <a:lnTo>
                  <a:pt x="618" y="895"/>
                </a:lnTo>
                <a:lnTo>
                  <a:pt x="620" y="909"/>
                </a:lnTo>
                <a:lnTo>
                  <a:pt x="625" y="923"/>
                </a:lnTo>
                <a:lnTo>
                  <a:pt x="634" y="936"/>
                </a:lnTo>
                <a:lnTo>
                  <a:pt x="645" y="946"/>
                </a:lnTo>
                <a:lnTo>
                  <a:pt x="659" y="952"/>
                </a:lnTo>
                <a:lnTo>
                  <a:pt x="705" y="969"/>
                </a:lnTo>
                <a:lnTo>
                  <a:pt x="747" y="991"/>
                </a:lnTo>
                <a:lnTo>
                  <a:pt x="785" y="1016"/>
                </a:lnTo>
                <a:lnTo>
                  <a:pt x="822" y="1046"/>
                </a:lnTo>
                <a:lnTo>
                  <a:pt x="855" y="1078"/>
                </a:lnTo>
                <a:lnTo>
                  <a:pt x="883" y="1114"/>
                </a:lnTo>
                <a:lnTo>
                  <a:pt x="846" y="1122"/>
                </a:lnTo>
                <a:lnTo>
                  <a:pt x="808" y="1127"/>
                </a:lnTo>
                <a:lnTo>
                  <a:pt x="769" y="1129"/>
                </a:lnTo>
                <a:lnTo>
                  <a:pt x="762" y="1129"/>
                </a:lnTo>
                <a:lnTo>
                  <a:pt x="706" y="1132"/>
                </a:lnTo>
                <a:lnTo>
                  <a:pt x="652" y="1140"/>
                </a:lnTo>
                <a:lnTo>
                  <a:pt x="599" y="1154"/>
                </a:lnTo>
                <a:lnTo>
                  <a:pt x="549" y="1171"/>
                </a:lnTo>
                <a:lnTo>
                  <a:pt x="501" y="1193"/>
                </a:lnTo>
                <a:lnTo>
                  <a:pt x="455" y="1221"/>
                </a:lnTo>
                <a:lnTo>
                  <a:pt x="413" y="1252"/>
                </a:lnTo>
                <a:lnTo>
                  <a:pt x="373" y="1287"/>
                </a:lnTo>
                <a:lnTo>
                  <a:pt x="363" y="1299"/>
                </a:lnTo>
                <a:lnTo>
                  <a:pt x="357" y="1313"/>
                </a:lnTo>
                <a:lnTo>
                  <a:pt x="355" y="1328"/>
                </a:lnTo>
                <a:lnTo>
                  <a:pt x="356" y="1343"/>
                </a:lnTo>
                <a:lnTo>
                  <a:pt x="362" y="1357"/>
                </a:lnTo>
                <a:lnTo>
                  <a:pt x="372" y="1369"/>
                </a:lnTo>
                <a:lnTo>
                  <a:pt x="384" y="1380"/>
                </a:lnTo>
                <a:lnTo>
                  <a:pt x="399" y="1385"/>
                </a:lnTo>
                <a:lnTo>
                  <a:pt x="415" y="1387"/>
                </a:lnTo>
                <a:lnTo>
                  <a:pt x="428" y="1385"/>
                </a:lnTo>
                <a:lnTo>
                  <a:pt x="442" y="1380"/>
                </a:lnTo>
                <a:lnTo>
                  <a:pt x="453" y="1370"/>
                </a:lnTo>
                <a:lnTo>
                  <a:pt x="490" y="1339"/>
                </a:lnTo>
                <a:lnTo>
                  <a:pt x="529" y="1312"/>
                </a:lnTo>
                <a:lnTo>
                  <a:pt x="571" y="1289"/>
                </a:lnTo>
                <a:lnTo>
                  <a:pt x="616" y="1271"/>
                </a:lnTo>
                <a:lnTo>
                  <a:pt x="663" y="1257"/>
                </a:lnTo>
                <a:lnTo>
                  <a:pt x="711" y="1249"/>
                </a:lnTo>
                <a:lnTo>
                  <a:pt x="762" y="1246"/>
                </a:lnTo>
                <a:lnTo>
                  <a:pt x="769" y="1246"/>
                </a:lnTo>
                <a:lnTo>
                  <a:pt x="828" y="1243"/>
                </a:lnTo>
                <a:lnTo>
                  <a:pt x="887" y="1233"/>
                </a:lnTo>
                <a:lnTo>
                  <a:pt x="943" y="1218"/>
                </a:lnTo>
                <a:lnTo>
                  <a:pt x="996" y="1198"/>
                </a:lnTo>
                <a:lnTo>
                  <a:pt x="1046" y="1172"/>
                </a:lnTo>
                <a:lnTo>
                  <a:pt x="1093" y="1142"/>
                </a:lnTo>
                <a:lnTo>
                  <a:pt x="1137" y="1107"/>
                </a:lnTo>
                <a:lnTo>
                  <a:pt x="1178" y="1068"/>
                </a:lnTo>
                <a:lnTo>
                  <a:pt x="1214" y="1025"/>
                </a:lnTo>
                <a:lnTo>
                  <a:pt x="1245" y="979"/>
                </a:lnTo>
                <a:lnTo>
                  <a:pt x="1272" y="928"/>
                </a:lnTo>
                <a:lnTo>
                  <a:pt x="1294" y="876"/>
                </a:lnTo>
                <a:lnTo>
                  <a:pt x="1311" y="821"/>
                </a:lnTo>
                <a:lnTo>
                  <a:pt x="1322" y="764"/>
                </a:lnTo>
                <a:lnTo>
                  <a:pt x="1382" y="773"/>
                </a:lnTo>
                <a:lnTo>
                  <a:pt x="1443" y="777"/>
                </a:lnTo>
                <a:lnTo>
                  <a:pt x="1491" y="775"/>
                </a:lnTo>
                <a:lnTo>
                  <a:pt x="1541" y="768"/>
                </a:lnTo>
                <a:lnTo>
                  <a:pt x="1589" y="758"/>
                </a:lnTo>
                <a:lnTo>
                  <a:pt x="1636" y="743"/>
                </a:lnTo>
                <a:lnTo>
                  <a:pt x="1682" y="723"/>
                </a:lnTo>
                <a:lnTo>
                  <a:pt x="1727" y="700"/>
                </a:lnTo>
                <a:lnTo>
                  <a:pt x="1770" y="672"/>
                </a:lnTo>
                <a:lnTo>
                  <a:pt x="1793" y="719"/>
                </a:lnTo>
                <a:lnTo>
                  <a:pt x="1822" y="764"/>
                </a:lnTo>
                <a:lnTo>
                  <a:pt x="1854" y="805"/>
                </a:lnTo>
                <a:lnTo>
                  <a:pt x="1890" y="843"/>
                </a:lnTo>
                <a:lnTo>
                  <a:pt x="1929" y="878"/>
                </a:lnTo>
                <a:lnTo>
                  <a:pt x="1897" y="922"/>
                </a:lnTo>
                <a:lnTo>
                  <a:pt x="1869" y="969"/>
                </a:lnTo>
                <a:lnTo>
                  <a:pt x="1847" y="1017"/>
                </a:lnTo>
                <a:lnTo>
                  <a:pt x="1830" y="1067"/>
                </a:lnTo>
                <a:lnTo>
                  <a:pt x="1816" y="1118"/>
                </a:lnTo>
                <a:lnTo>
                  <a:pt x="1809" y="1170"/>
                </a:lnTo>
                <a:lnTo>
                  <a:pt x="1764" y="1164"/>
                </a:lnTo>
                <a:lnTo>
                  <a:pt x="1718" y="1163"/>
                </a:lnTo>
                <a:lnTo>
                  <a:pt x="1664" y="1165"/>
                </a:lnTo>
                <a:lnTo>
                  <a:pt x="1612" y="1172"/>
                </a:lnTo>
                <a:lnTo>
                  <a:pt x="1558" y="1186"/>
                </a:lnTo>
                <a:lnTo>
                  <a:pt x="1507" y="1204"/>
                </a:lnTo>
                <a:lnTo>
                  <a:pt x="1456" y="1228"/>
                </a:lnTo>
                <a:lnTo>
                  <a:pt x="1443" y="1237"/>
                </a:lnTo>
                <a:lnTo>
                  <a:pt x="1434" y="1249"/>
                </a:lnTo>
                <a:lnTo>
                  <a:pt x="1427" y="1262"/>
                </a:lnTo>
                <a:lnTo>
                  <a:pt x="1425" y="1277"/>
                </a:lnTo>
                <a:lnTo>
                  <a:pt x="1426" y="1293"/>
                </a:lnTo>
                <a:lnTo>
                  <a:pt x="1432" y="1308"/>
                </a:lnTo>
                <a:lnTo>
                  <a:pt x="1441" y="1320"/>
                </a:lnTo>
                <a:lnTo>
                  <a:pt x="1454" y="1331"/>
                </a:lnTo>
                <a:lnTo>
                  <a:pt x="1468" y="1336"/>
                </a:lnTo>
                <a:lnTo>
                  <a:pt x="1484" y="1338"/>
                </a:lnTo>
                <a:lnTo>
                  <a:pt x="1498" y="1337"/>
                </a:lnTo>
                <a:lnTo>
                  <a:pt x="1510" y="1332"/>
                </a:lnTo>
                <a:lnTo>
                  <a:pt x="1561" y="1309"/>
                </a:lnTo>
                <a:lnTo>
                  <a:pt x="1613" y="1292"/>
                </a:lnTo>
                <a:lnTo>
                  <a:pt x="1665" y="1282"/>
                </a:lnTo>
                <a:lnTo>
                  <a:pt x="1718" y="1279"/>
                </a:lnTo>
                <a:lnTo>
                  <a:pt x="1764" y="1281"/>
                </a:lnTo>
                <a:lnTo>
                  <a:pt x="1809" y="1289"/>
                </a:lnTo>
                <a:lnTo>
                  <a:pt x="1816" y="1340"/>
                </a:lnTo>
                <a:lnTo>
                  <a:pt x="1829" y="1389"/>
                </a:lnTo>
                <a:lnTo>
                  <a:pt x="1846" y="1438"/>
                </a:lnTo>
                <a:lnTo>
                  <a:pt x="1867" y="1486"/>
                </a:lnTo>
                <a:lnTo>
                  <a:pt x="1895" y="1532"/>
                </a:lnTo>
                <a:lnTo>
                  <a:pt x="1925" y="1575"/>
                </a:lnTo>
                <a:lnTo>
                  <a:pt x="1960" y="1615"/>
                </a:lnTo>
                <a:lnTo>
                  <a:pt x="1973" y="1626"/>
                </a:lnTo>
                <a:lnTo>
                  <a:pt x="1988" y="1632"/>
                </a:lnTo>
                <a:lnTo>
                  <a:pt x="2002" y="1634"/>
                </a:lnTo>
                <a:lnTo>
                  <a:pt x="2017" y="1632"/>
                </a:lnTo>
                <a:lnTo>
                  <a:pt x="2031" y="1627"/>
                </a:lnTo>
                <a:lnTo>
                  <a:pt x="2043" y="1618"/>
                </a:lnTo>
                <a:lnTo>
                  <a:pt x="2054" y="1605"/>
                </a:lnTo>
                <a:lnTo>
                  <a:pt x="2060" y="1591"/>
                </a:lnTo>
                <a:lnTo>
                  <a:pt x="2062" y="1577"/>
                </a:lnTo>
                <a:lnTo>
                  <a:pt x="2060" y="1562"/>
                </a:lnTo>
                <a:lnTo>
                  <a:pt x="2055" y="1547"/>
                </a:lnTo>
                <a:lnTo>
                  <a:pt x="2045" y="1535"/>
                </a:lnTo>
                <a:lnTo>
                  <a:pt x="2044" y="1535"/>
                </a:lnTo>
                <a:lnTo>
                  <a:pt x="2014" y="1498"/>
                </a:lnTo>
                <a:lnTo>
                  <a:pt x="1987" y="1459"/>
                </a:lnTo>
                <a:lnTo>
                  <a:pt x="1965" y="1417"/>
                </a:lnTo>
                <a:lnTo>
                  <a:pt x="1947" y="1376"/>
                </a:lnTo>
                <a:lnTo>
                  <a:pt x="1934" y="1332"/>
                </a:lnTo>
                <a:lnTo>
                  <a:pt x="1926" y="1287"/>
                </a:lnTo>
                <a:lnTo>
                  <a:pt x="1923" y="1240"/>
                </a:lnTo>
                <a:lnTo>
                  <a:pt x="1923" y="1238"/>
                </a:lnTo>
                <a:lnTo>
                  <a:pt x="1923" y="1236"/>
                </a:lnTo>
                <a:lnTo>
                  <a:pt x="1923" y="1230"/>
                </a:lnTo>
                <a:lnTo>
                  <a:pt x="1925" y="1185"/>
                </a:lnTo>
                <a:lnTo>
                  <a:pt x="1931" y="1142"/>
                </a:lnTo>
                <a:lnTo>
                  <a:pt x="1942" y="1099"/>
                </a:lnTo>
                <a:lnTo>
                  <a:pt x="1957" y="1057"/>
                </a:lnTo>
                <a:lnTo>
                  <a:pt x="1976" y="1017"/>
                </a:lnTo>
                <a:lnTo>
                  <a:pt x="2000" y="979"/>
                </a:lnTo>
                <a:lnTo>
                  <a:pt x="2029" y="942"/>
                </a:lnTo>
                <a:lnTo>
                  <a:pt x="2075" y="963"/>
                </a:lnTo>
                <a:lnTo>
                  <a:pt x="2123" y="979"/>
                </a:lnTo>
                <a:lnTo>
                  <a:pt x="2173" y="991"/>
                </a:lnTo>
                <a:lnTo>
                  <a:pt x="2224" y="999"/>
                </a:lnTo>
                <a:lnTo>
                  <a:pt x="2278" y="1001"/>
                </a:lnTo>
                <a:lnTo>
                  <a:pt x="2279" y="1001"/>
                </a:lnTo>
                <a:lnTo>
                  <a:pt x="2280" y="1001"/>
                </a:lnTo>
                <a:lnTo>
                  <a:pt x="2331" y="1004"/>
                </a:lnTo>
                <a:lnTo>
                  <a:pt x="2380" y="1013"/>
                </a:lnTo>
                <a:lnTo>
                  <a:pt x="2428" y="1027"/>
                </a:lnTo>
                <a:lnTo>
                  <a:pt x="2473" y="1047"/>
                </a:lnTo>
                <a:lnTo>
                  <a:pt x="2516" y="1070"/>
                </a:lnTo>
                <a:lnTo>
                  <a:pt x="2555" y="1098"/>
                </a:lnTo>
                <a:lnTo>
                  <a:pt x="2591" y="1130"/>
                </a:lnTo>
                <a:lnTo>
                  <a:pt x="2623" y="1166"/>
                </a:lnTo>
                <a:lnTo>
                  <a:pt x="2652" y="1206"/>
                </a:lnTo>
                <a:lnTo>
                  <a:pt x="2675" y="1248"/>
                </a:lnTo>
                <a:lnTo>
                  <a:pt x="2695" y="1293"/>
                </a:lnTo>
                <a:lnTo>
                  <a:pt x="2708" y="1340"/>
                </a:lnTo>
                <a:lnTo>
                  <a:pt x="2717" y="1390"/>
                </a:lnTo>
                <a:lnTo>
                  <a:pt x="2720" y="1442"/>
                </a:lnTo>
                <a:lnTo>
                  <a:pt x="2674" y="1431"/>
                </a:lnTo>
                <a:lnTo>
                  <a:pt x="2627" y="1425"/>
                </a:lnTo>
                <a:lnTo>
                  <a:pt x="2578" y="1423"/>
                </a:lnTo>
                <a:lnTo>
                  <a:pt x="2526" y="1425"/>
                </a:lnTo>
                <a:lnTo>
                  <a:pt x="2474" y="1433"/>
                </a:lnTo>
                <a:lnTo>
                  <a:pt x="2421" y="1446"/>
                </a:lnTo>
                <a:lnTo>
                  <a:pt x="2370" y="1464"/>
                </a:lnTo>
                <a:lnTo>
                  <a:pt x="2356" y="1472"/>
                </a:lnTo>
                <a:lnTo>
                  <a:pt x="2345" y="1482"/>
                </a:lnTo>
                <a:lnTo>
                  <a:pt x="2338" y="1495"/>
                </a:lnTo>
                <a:lnTo>
                  <a:pt x="2333" y="1510"/>
                </a:lnTo>
                <a:lnTo>
                  <a:pt x="2333" y="1524"/>
                </a:lnTo>
                <a:lnTo>
                  <a:pt x="2338" y="1540"/>
                </a:lnTo>
                <a:lnTo>
                  <a:pt x="2345" y="1554"/>
                </a:lnTo>
                <a:lnTo>
                  <a:pt x="2355" y="1564"/>
                </a:lnTo>
                <a:lnTo>
                  <a:pt x="2369" y="1571"/>
                </a:lnTo>
                <a:lnTo>
                  <a:pt x="2383" y="1576"/>
                </a:lnTo>
                <a:lnTo>
                  <a:pt x="2398" y="1576"/>
                </a:lnTo>
                <a:lnTo>
                  <a:pt x="2413" y="1573"/>
                </a:lnTo>
                <a:lnTo>
                  <a:pt x="2468" y="1554"/>
                </a:lnTo>
                <a:lnTo>
                  <a:pt x="2523" y="1543"/>
                </a:lnTo>
                <a:lnTo>
                  <a:pt x="2578" y="1540"/>
                </a:lnTo>
                <a:lnTo>
                  <a:pt x="2622" y="1542"/>
                </a:lnTo>
                <a:lnTo>
                  <a:pt x="2665" y="1548"/>
                </a:lnTo>
                <a:lnTo>
                  <a:pt x="2707" y="1559"/>
                </a:lnTo>
                <a:lnTo>
                  <a:pt x="2697" y="1597"/>
                </a:lnTo>
                <a:lnTo>
                  <a:pt x="2683" y="1632"/>
                </a:lnTo>
                <a:lnTo>
                  <a:pt x="2666" y="1665"/>
                </a:lnTo>
                <a:lnTo>
                  <a:pt x="2645" y="1695"/>
                </a:lnTo>
                <a:lnTo>
                  <a:pt x="2621" y="1724"/>
                </a:lnTo>
                <a:lnTo>
                  <a:pt x="2616" y="1729"/>
                </a:lnTo>
                <a:lnTo>
                  <a:pt x="2612" y="1734"/>
                </a:lnTo>
                <a:lnTo>
                  <a:pt x="2576" y="1766"/>
                </a:lnTo>
                <a:lnTo>
                  <a:pt x="2535" y="1797"/>
                </a:lnTo>
                <a:lnTo>
                  <a:pt x="2489" y="1827"/>
                </a:lnTo>
                <a:lnTo>
                  <a:pt x="2445" y="1856"/>
                </a:lnTo>
                <a:lnTo>
                  <a:pt x="2406" y="1889"/>
                </a:lnTo>
                <a:lnTo>
                  <a:pt x="2370" y="1926"/>
                </a:lnTo>
                <a:lnTo>
                  <a:pt x="2339" y="1965"/>
                </a:lnTo>
                <a:lnTo>
                  <a:pt x="2312" y="2008"/>
                </a:lnTo>
                <a:lnTo>
                  <a:pt x="2289" y="2054"/>
                </a:lnTo>
                <a:lnTo>
                  <a:pt x="2272" y="2104"/>
                </a:lnTo>
                <a:lnTo>
                  <a:pt x="2257" y="2156"/>
                </a:lnTo>
                <a:lnTo>
                  <a:pt x="2247" y="2210"/>
                </a:lnTo>
                <a:lnTo>
                  <a:pt x="2242" y="2267"/>
                </a:lnTo>
                <a:lnTo>
                  <a:pt x="2240" y="2326"/>
                </a:lnTo>
                <a:lnTo>
                  <a:pt x="2240" y="2952"/>
                </a:lnTo>
                <a:lnTo>
                  <a:pt x="2040" y="2952"/>
                </a:lnTo>
                <a:lnTo>
                  <a:pt x="2040" y="2356"/>
                </a:lnTo>
                <a:lnTo>
                  <a:pt x="2038" y="2302"/>
                </a:lnTo>
                <a:lnTo>
                  <a:pt x="2030" y="2248"/>
                </a:lnTo>
                <a:lnTo>
                  <a:pt x="2016" y="2196"/>
                </a:lnTo>
                <a:lnTo>
                  <a:pt x="1998" y="2145"/>
                </a:lnTo>
                <a:lnTo>
                  <a:pt x="1976" y="2097"/>
                </a:lnTo>
                <a:lnTo>
                  <a:pt x="1950" y="2052"/>
                </a:lnTo>
                <a:lnTo>
                  <a:pt x="1921" y="2009"/>
                </a:lnTo>
                <a:lnTo>
                  <a:pt x="1887" y="1969"/>
                </a:lnTo>
                <a:lnTo>
                  <a:pt x="1852" y="1935"/>
                </a:lnTo>
                <a:lnTo>
                  <a:pt x="1813" y="1904"/>
                </a:lnTo>
                <a:lnTo>
                  <a:pt x="1773" y="1877"/>
                </a:lnTo>
                <a:lnTo>
                  <a:pt x="1730" y="1856"/>
                </a:lnTo>
                <a:lnTo>
                  <a:pt x="1689" y="1839"/>
                </a:lnTo>
                <a:lnTo>
                  <a:pt x="1647" y="1817"/>
                </a:lnTo>
                <a:lnTo>
                  <a:pt x="1608" y="1792"/>
                </a:lnTo>
                <a:lnTo>
                  <a:pt x="1569" y="1765"/>
                </a:lnTo>
                <a:lnTo>
                  <a:pt x="1532" y="1734"/>
                </a:lnTo>
                <a:lnTo>
                  <a:pt x="1499" y="1700"/>
                </a:lnTo>
                <a:lnTo>
                  <a:pt x="1454" y="1729"/>
                </a:lnTo>
                <a:lnTo>
                  <a:pt x="1404" y="1753"/>
                </a:lnTo>
                <a:lnTo>
                  <a:pt x="1353" y="1772"/>
                </a:lnTo>
                <a:lnTo>
                  <a:pt x="1300" y="1785"/>
                </a:lnTo>
                <a:lnTo>
                  <a:pt x="1244" y="1794"/>
                </a:lnTo>
                <a:lnTo>
                  <a:pt x="1188" y="1797"/>
                </a:lnTo>
                <a:lnTo>
                  <a:pt x="1130" y="1794"/>
                </a:lnTo>
                <a:lnTo>
                  <a:pt x="1076" y="1785"/>
                </a:lnTo>
                <a:lnTo>
                  <a:pt x="1022" y="1772"/>
                </a:lnTo>
                <a:lnTo>
                  <a:pt x="971" y="1753"/>
                </a:lnTo>
                <a:lnTo>
                  <a:pt x="922" y="1730"/>
                </a:lnTo>
                <a:lnTo>
                  <a:pt x="876" y="1701"/>
                </a:lnTo>
                <a:lnTo>
                  <a:pt x="830" y="1729"/>
                </a:lnTo>
                <a:lnTo>
                  <a:pt x="782" y="1751"/>
                </a:lnTo>
                <a:lnTo>
                  <a:pt x="731" y="1769"/>
                </a:lnTo>
                <a:lnTo>
                  <a:pt x="679" y="1782"/>
                </a:lnTo>
                <a:lnTo>
                  <a:pt x="623" y="1790"/>
                </a:lnTo>
                <a:lnTo>
                  <a:pt x="567" y="1794"/>
                </a:lnTo>
                <a:lnTo>
                  <a:pt x="505" y="1790"/>
                </a:lnTo>
                <a:lnTo>
                  <a:pt x="445" y="1780"/>
                </a:lnTo>
                <a:lnTo>
                  <a:pt x="387" y="1764"/>
                </a:lnTo>
                <a:lnTo>
                  <a:pt x="333" y="1743"/>
                </a:lnTo>
                <a:lnTo>
                  <a:pt x="281" y="1716"/>
                </a:lnTo>
                <a:lnTo>
                  <a:pt x="231" y="1684"/>
                </a:lnTo>
                <a:lnTo>
                  <a:pt x="187" y="1647"/>
                </a:lnTo>
                <a:lnTo>
                  <a:pt x="146" y="1606"/>
                </a:lnTo>
                <a:lnTo>
                  <a:pt x="109" y="1561"/>
                </a:lnTo>
                <a:lnTo>
                  <a:pt x="77" y="1513"/>
                </a:lnTo>
                <a:lnTo>
                  <a:pt x="50" y="1460"/>
                </a:lnTo>
                <a:lnTo>
                  <a:pt x="29" y="1406"/>
                </a:lnTo>
                <a:lnTo>
                  <a:pt x="13" y="1348"/>
                </a:lnTo>
                <a:lnTo>
                  <a:pt x="3" y="1288"/>
                </a:lnTo>
                <a:lnTo>
                  <a:pt x="0" y="1226"/>
                </a:lnTo>
                <a:lnTo>
                  <a:pt x="3" y="1168"/>
                </a:lnTo>
                <a:lnTo>
                  <a:pt x="12" y="1113"/>
                </a:lnTo>
                <a:lnTo>
                  <a:pt x="25" y="1058"/>
                </a:lnTo>
                <a:lnTo>
                  <a:pt x="44" y="1006"/>
                </a:lnTo>
                <a:lnTo>
                  <a:pt x="68" y="957"/>
                </a:lnTo>
                <a:lnTo>
                  <a:pt x="96" y="911"/>
                </a:lnTo>
                <a:lnTo>
                  <a:pt x="129" y="867"/>
                </a:lnTo>
                <a:lnTo>
                  <a:pt x="164" y="827"/>
                </a:lnTo>
                <a:lnTo>
                  <a:pt x="205" y="790"/>
                </a:lnTo>
                <a:lnTo>
                  <a:pt x="248" y="758"/>
                </a:lnTo>
                <a:lnTo>
                  <a:pt x="294" y="728"/>
                </a:lnTo>
                <a:lnTo>
                  <a:pt x="345" y="705"/>
                </a:lnTo>
                <a:lnTo>
                  <a:pt x="359" y="649"/>
                </a:lnTo>
                <a:lnTo>
                  <a:pt x="381" y="594"/>
                </a:lnTo>
                <a:lnTo>
                  <a:pt x="407" y="544"/>
                </a:lnTo>
                <a:lnTo>
                  <a:pt x="439" y="496"/>
                </a:lnTo>
                <a:lnTo>
                  <a:pt x="474" y="452"/>
                </a:lnTo>
                <a:lnTo>
                  <a:pt x="514" y="411"/>
                </a:lnTo>
                <a:lnTo>
                  <a:pt x="558" y="375"/>
                </a:lnTo>
                <a:lnTo>
                  <a:pt x="606" y="344"/>
                </a:lnTo>
                <a:lnTo>
                  <a:pt x="657" y="318"/>
                </a:lnTo>
                <a:lnTo>
                  <a:pt x="711" y="297"/>
                </a:lnTo>
                <a:lnTo>
                  <a:pt x="767" y="281"/>
                </a:lnTo>
                <a:lnTo>
                  <a:pt x="825" y="272"/>
                </a:lnTo>
                <a:lnTo>
                  <a:pt x="886" y="268"/>
                </a:lnTo>
                <a:lnTo>
                  <a:pt x="907" y="268"/>
                </a:lnTo>
                <a:lnTo>
                  <a:pt x="927" y="271"/>
                </a:lnTo>
                <a:lnTo>
                  <a:pt x="958" y="228"/>
                </a:lnTo>
                <a:lnTo>
                  <a:pt x="995" y="189"/>
                </a:lnTo>
                <a:lnTo>
                  <a:pt x="1034" y="153"/>
                </a:lnTo>
                <a:lnTo>
                  <a:pt x="1077" y="121"/>
                </a:lnTo>
                <a:lnTo>
                  <a:pt x="1123" y="94"/>
                </a:lnTo>
                <a:lnTo>
                  <a:pt x="1171" y="70"/>
                </a:lnTo>
                <a:lnTo>
                  <a:pt x="1222" y="52"/>
                </a:lnTo>
                <a:lnTo>
                  <a:pt x="1276" y="38"/>
                </a:lnTo>
                <a:lnTo>
                  <a:pt x="1330" y="30"/>
                </a:lnTo>
                <a:lnTo>
                  <a:pt x="1387" y="28"/>
                </a:lnTo>
                <a:lnTo>
                  <a:pt x="1442" y="30"/>
                </a:lnTo>
                <a:lnTo>
                  <a:pt x="1497" y="38"/>
                </a:lnTo>
                <a:lnTo>
                  <a:pt x="1549" y="52"/>
                </a:lnTo>
                <a:lnTo>
                  <a:pt x="1600" y="69"/>
                </a:lnTo>
                <a:lnTo>
                  <a:pt x="1647" y="92"/>
                </a:lnTo>
                <a:lnTo>
                  <a:pt x="1693" y="65"/>
                </a:lnTo>
                <a:lnTo>
                  <a:pt x="1742" y="43"/>
                </a:lnTo>
                <a:lnTo>
                  <a:pt x="1792" y="24"/>
                </a:lnTo>
                <a:lnTo>
                  <a:pt x="1844" y="12"/>
                </a:lnTo>
                <a:lnTo>
                  <a:pt x="1899" y="3"/>
                </a:lnTo>
                <a:lnTo>
                  <a:pt x="1954" y="0"/>
                </a:lnTo>
                <a:close/>
              </a:path>
            </a:pathLst>
          </a:custGeom>
          <a:solidFill>
            <a:srgbClr val="797979"/>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nvGrpSpPr>
          <p:cNvPr id="35" name="Group 30"/>
          <p:cNvGrpSpPr>
            <a:grpSpLocks/>
          </p:cNvGrpSpPr>
          <p:nvPr/>
        </p:nvGrpSpPr>
        <p:grpSpPr bwMode="auto">
          <a:xfrm>
            <a:off x="594161" y="3851602"/>
            <a:ext cx="561270" cy="540562"/>
            <a:chOff x="2715" y="821"/>
            <a:chExt cx="193" cy="224"/>
          </a:xfrm>
          <a:solidFill>
            <a:schemeClr val="accent2"/>
          </a:solidFill>
        </p:grpSpPr>
        <p:sp>
          <p:nvSpPr>
            <p:cNvPr id="95" name="Freeform 31"/>
            <p:cNvSpPr>
              <a:spLocks noChangeArrowheads="1"/>
            </p:cNvSpPr>
            <p:nvPr/>
          </p:nvSpPr>
          <p:spPr bwMode="auto">
            <a:xfrm>
              <a:off x="2848" y="1027"/>
              <a:ext cx="26" cy="18"/>
            </a:xfrm>
            <a:custGeom>
              <a:avLst/>
              <a:gdLst>
                <a:gd name="T0" fmla="*/ 0 w 411"/>
                <a:gd name="T1" fmla="*/ 0 h 285"/>
                <a:gd name="T2" fmla="*/ 0 w 411"/>
                <a:gd name="T3" fmla="*/ 0 h 285"/>
                <a:gd name="T4" fmla="*/ 0 w 411"/>
                <a:gd name="T5" fmla="*/ 0 h 285"/>
                <a:gd name="T6" fmla="*/ 0 w 411"/>
                <a:gd name="T7" fmla="*/ 0 h 285"/>
                <a:gd name="T8" fmla="*/ 0 w 411"/>
                <a:gd name="T9" fmla="*/ 0 h 285"/>
                <a:gd name="T10" fmla="*/ 0 w 411"/>
                <a:gd name="T11" fmla="*/ 0 h 285"/>
                <a:gd name="T12" fmla="*/ 0 w 411"/>
                <a:gd name="T13" fmla="*/ 0 h 285"/>
                <a:gd name="T14" fmla="*/ 0 w 411"/>
                <a:gd name="T15" fmla="*/ 0 h 285"/>
                <a:gd name="T16" fmla="*/ 0 w 411"/>
                <a:gd name="T17" fmla="*/ 0 h 285"/>
                <a:gd name="T18" fmla="*/ 0 w 411"/>
                <a:gd name="T19" fmla="*/ 0 h 285"/>
                <a:gd name="T20" fmla="*/ 0 w 411"/>
                <a:gd name="T21" fmla="*/ 0 h 285"/>
                <a:gd name="T22" fmla="*/ 0 w 411"/>
                <a:gd name="T23" fmla="*/ 0 h 285"/>
                <a:gd name="T24" fmla="*/ 0 w 411"/>
                <a:gd name="T25" fmla="*/ 0 h 285"/>
                <a:gd name="T26" fmla="*/ 0 w 411"/>
                <a:gd name="T27" fmla="*/ 0 h 285"/>
                <a:gd name="T28" fmla="*/ 0 w 411"/>
                <a:gd name="T29" fmla="*/ 0 h 285"/>
                <a:gd name="T30" fmla="*/ 0 w 411"/>
                <a:gd name="T31" fmla="*/ 0 h 285"/>
                <a:gd name="T32" fmla="*/ 0 w 411"/>
                <a:gd name="T33" fmla="*/ 0 h 285"/>
                <a:gd name="T34" fmla="*/ 0 w 411"/>
                <a:gd name="T35" fmla="*/ 0 h 285"/>
                <a:gd name="T36" fmla="*/ 0 w 411"/>
                <a:gd name="T37" fmla="*/ 0 h 285"/>
                <a:gd name="T38" fmla="*/ 0 w 411"/>
                <a:gd name="T39" fmla="*/ 0 h 285"/>
                <a:gd name="T40" fmla="*/ 0 w 411"/>
                <a:gd name="T41" fmla="*/ 0 h 2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1"/>
                <a:gd name="T64" fmla="*/ 0 h 285"/>
                <a:gd name="T65" fmla="*/ 411 w 411"/>
                <a:gd name="T66" fmla="*/ 285 h 28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1" h="285">
                  <a:moveTo>
                    <a:pt x="0" y="0"/>
                  </a:moveTo>
                  <a:lnTo>
                    <a:pt x="411" y="0"/>
                  </a:lnTo>
                  <a:lnTo>
                    <a:pt x="411" y="201"/>
                  </a:lnTo>
                  <a:lnTo>
                    <a:pt x="410" y="222"/>
                  </a:lnTo>
                  <a:lnTo>
                    <a:pt x="406" y="241"/>
                  </a:lnTo>
                  <a:lnTo>
                    <a:pt x="397" y="254"/>
                  </a:lnTo>
                  <a:lnTo>
                    <a:pt x="386" y="266"/>
                  </a:lnTo>
                  <a:lnTo>
                    <a:pt x="370" y="275"/>
                  </a:lnTo>
                  <a:lnTo>
                    <a:pt x="351" y="281"/>
                  </a:lnTo>
                  <a:lnTo>
                    <a:pt x="326" y="284"/>
                  </a:lnTo>
                  <a:lnTo>
                    <a:pt x="298" y="285"/>
                  </a:lnTo>
                  <a:lnTo>
                    <a:pt x="113" y="285"/>
                  </a:lnTo>
                  <a:lnTo>
                    <a:pt x="85" y="284"/>
                  </a:lnTo>
                  <a:lnTo>
                    <a:pt x="61" y="281"/>
                  </a:lnTo>
                  <a:lnTo>
                    <a:pt x="41" y="275"/>
                  </a:lnTo>
                  <a:lnTo>
                    <a:pt x="26" y="266"/>
                  </a:lnTo>
                  <a:lnTo>
                    <a:pt x="14" y="254"/>
                  </a:lnTo>
                  <a:lnTo>
                    <a:pt x="5" y="241"/>
                  </a:lnTo>
                  <a:lnTo>
                    <a:pt x="1" y="222"/>
                  </a:lnTo>
                  <a:lnTo>
                    <a:pt x="0" y="201"/>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96" name="Freeform 32"/>
            <p:cNvSpPr>
              <a:spLocks noChangeArrowheads="1"/>
            </p:cNvSpPr>
            <p:nvPr/>
          </p:nvSpPr>
          <p:spPr bwMode="auto">
            <a:xfrm>
              <a:off x="2748" y="1027"/>
              <a:ext cx="27" cy="18"/>
            </a:xfrm>
            <a:custGeom>
              <a:avLst/>
              <a:gdLst>
                <a:gd name="T0" fmla="*/ 0 w 411"/>
                <a:gd name="T1" fmla="*/ 0 h 287"/>
                <a:gd name="T2" fmla="*/ 0 w 411"/>
                <a:gd name="T3" fmla="*/ 0 h 287"/>
                <a:gd name="T4" fmla="*/ 0 w 411"/>
                <a:gd name="T5" fmla="*/ 0 h 287"/>
                <a:gd name="T6" fmla="*/ 0 w 411"/>
                <a:gd name="T7" fmla="*/ 0 h 287"/>
                <a:gd name="T8" fmla="*/ 0 w 411"/>
                <a:gd name="T9" fmla="*/ 0 h 287"/>
                <a:gd name="T10" fmla="*/ 0 w 411"/>
                <a:gd name="T11" fmla="*/ 0 h 287"/>
                <a:gd name="T12" fmla="*/ 0 w 411"/>
                <a:gd name="T13" fmla="*/ 0 h 287"/>
                <a:gd name="T14" fmla="*/ 0 w 411"/>
                <a:gd name="T15" fmla="*/ 0 h 287"/>
                <a:gd name="T16" fmla="*/ 0 w 411"/>
                <a:gd name="T17" fmla="*/ 0 h 287"/>
                <a:gd name="T18" fmla="*/ 0 w 411"/>
                <a:gd name="T19" fmla="*/ 0 h 287"/>
                <a:gd name="T20" fmla="*/ 0 w 411"/>
                <a:gd name="T21" fmla="*/ 0 h 287"/>
                <a:gd name="T22" fmla="*/ 0 w 411"/>
                <a:gd name="T23" fmla="*/ 0 h 287"/>
                <a:gd name="T24" fmla="*/ 0 w 411"/>
                <a:gd name="T25" fmla="*/ 0 h 287"/>
                <a:gd name="T26" fmla="*/ 0 w 411"/>
                <a:gd name="T27" fmla="*/ 0 h 287"/>
                <a:gd name="T28" fmla="*/ 0 w 411"/>
                <a:gd name="T29" fmla="*/ 0 h 287"/>
                <a:gd name="T30" fmla="*/ 0 w 411"/>
                <a:gd name="T31" fmla="*/ 0 h 287"/>
                <a:gd name="T32" fmla="*/ 0 w 411"/>
                <a:gd name="T33" fmla="*/ 0 h 287"/>
                <a:gd name="T34" fmla="*/ 0 w 411"/>
                <a:gd name="T35" fmla="*/ 0 h 287"/>
                <a:gd name="T36" fmla="*/ 0 w 411"/>
                <a:gd name="T37" fmla="*/ 0 h 287"/>
                <a:gd name="T38" fmla="*/ 0 w 411"/>
                <a:gd name="T39" fmla="*/ 0 h 287"/>
                <a:gd name="T40" fmla="*/ 0 w 411"/>
                <a:gd name="T41" fmla="*/ 0 h 28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1"/>
                <a:gd name="T64" fmla="*/ 0 h 287"/>
                <a:gd name="T65" fmla="*/ 411 w 411"/>
                <a:gd name="T66" fmla="*/ 287 h 28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1" h="287">
                  <a:moveTo>
                    <a:pt x="0" y="0"/>
                  </a:moveTo>
                  <a:lnTo>
                    <a:pt x="411" y="0"/>
                  </a:lnTo>
                  <a:lnTo>
                    <a:pt x="411" y="203"/>
                  </a:lnTo>
                  <a:lnTo>
                    <a:pt x="410" y="224"/>
                  </a:lnTo>
                  <a:lnTo>
                    <a:pt x="405" y="243"/>
                  </a:lnTo>
                  <a:lnTo>
                    <a:pt x="397" y="256"/>
                  </a:lnTo>
                  <a:lnTo>
                    <a:pt x="385" y="268"/>
                  </a:lnTo>
                  <a:lnTo>
                    <a:pt x="370" y="277"/>
                  </a:lnTo>
                  <a:lnTo>
                    <a:pt x="351" y="283"/>
                  </a:lnTo>
                  <a:lnTo>
                    <a:pt x="326" y="286"/>
                  </a:lnTo>
                  <a:lnTo>
                    <a:pt x="297" y="287"/>
                  </a:lnTo>
                  <a:lnTo>
                    <a:pt x="113" y="287"/>
                  </a:lnTo>
                  <a:lnTo>
                    <a:pt x="84" y="286"/>
                  </a:lnTo>
                  <a:lnTo>
                    <a:pt x="61" y="283"/>
                  </a:lnTo>
                  <a:lnTo>
                    <a:pt x="40" y="277"/>
                  </a:lnTo>
                  <a:lnTo>
                    <a:pt x="25" y="268"/>
                  </a:lnTo>
                  <a:lnTo>
                    <a:pt x="14" y="256"/>
                  </a:lnTo>
                  <a:lnTo>
                    <a:pt x="5" y="243"/>
                  </a:lnTo>
                  <a:lnTo>
                    <a:pt x="1" y="224"/>
                  </a:lnTo>
                  <a:lnTo>
                    <a:pt x="0" y="203"/>
                  </a:lnTo>
                  <a:lnTo>
                    <a:pt x="0"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97" name="Freeform 33"/>
            <p:cNvSpPr>
              <a:spLocks noChangeArrowheads="1"/>
            </p:cNvSpPr>
            <p:nvPr/>
          </p:nvSpPr>
          <p:spPr bwMode="auto">
            <a:xfrm>
              <a:off x="2729" y="821"/>
              <a:ext cx="165" cy="201"/>
            </a:xfrm>
            <a:custGeom>
              <a:avLst/>
              <a:gdLst>
                <a:gd name="T0" fmla="*/ 0 w 2486"/>
                <a:gd name="T1" fmla="*/ 0 h 3028"/>
                <a:gd name="T2" fmla="*/ 0 w 2486"/>
                <a:gd name="T3" fmla="*/ 0 h 3028"/>
                <a:gd name="T4" fmla="*/ 0 w 2486"/>
                <a:gd name="T5" fmla="*/ 0 h 3028"/>
                <a:gd name="T6" fmla="*/ 0 w 2486"/>
                <a:gd name="T7" fmla="*/ 0 h 3028"/>
                <a:gd name="T8" fmla="*/ 0 w 2486"/>
                <a:gd name="T9" fmla="*/ 0 h 3028"/>
                <a:gd name="T10" fmla="*/ 0 w 2486"/>
                <a:gd name="T11" fmla="*/ 0 h 3028"/>
                <a:gd name="T12" fmla="*/ 0 w 2486"/>
                <a:gd name="T13" fmla="*/ 0 h 3028"/>
                <a:gd name="T14" fmla="*/ 0 w 2486"/>
                <a:gd name="T15" fmla="*/ 0 h 3028"/>
                <a:gd name="T16" fmla="*/ 0 w 2486"/>
                <a:gd name="T17" fmla="*/ 0 h 3028"/>
                <a:gd name="T18" fmla="*/ 0 w 2486"/>
                <a:gd name="T19" fmla="*/ 0 h 3028"/>
                <a:gd name="T20" fmla="*/ 0 w 2486"/>
                <a:gd name="T21" fmla="*/ 0 h 3028"/>
                <a:gd name="T22" fmla="*/ 0 w 2486"/>
                <a:gd name="T23" fmla="*/ 0 h 3028"/>
                <a:gd name="T24" fmla="*/ 0 w 2486"/>
                <a:gd name="T25" fmla="*/ 0 h 3028"/>
                <a:gd name="T26" fmla="*/ 0 w 2486"/>
                <a:gd name="T27" fmla="*/ 0 h 3028"/>
                <a:gd name="T28" fmla="*/ 0 w 2486"/>
                <a:gd name="T29" fmla="*/ 0 h 3028"/>
                <a:gd name="T30" fmla="*/ 0 w 2486"/>
                <a:gd name="T31" fmla="*/ 0 h 3028"/>
                <a:gd name="T32" fmla="*/ 0 w 2486"/>
                <a:gd name="T33" fmla="*/ 0 h 3028"/>
                <a:gd name="T34" fmla="*/ 0 w 2486"/>
                <a:gd name="T35" fmla="*/ 0 h 3028"/>
                <a:gd name="T36" fmla="*/ 0 w 2486"/>
                <a:gd name="T37" fmla="*/ 0 h 3028"/>
                <a:gd name="T38" fmla="*/ 0 w 2486"/>
                <a:gd name="T39" fmla="*/ 0 h 3028"/>
                <a:gd name="T40" fmla="*/ 0 w 2486"/>
                <a:gd name="T41" fmla="*/ 0 h 3028"/>
                <a:gd name="T42" fmla="*/ 0 w 2486"/>
                <a:gd name="T43" fmla="*/ 0 h 3028"/>
                <a:gd name="T44" fmla="*/ 0 w 2486"/>
                <a:gd name="T45" fmla="*/ 0 h 3028"/>
                <a:gd name="T46" fmla="*/ 0 w 2486"/>
                <a:gd name="T47" fmla="*/ 0 h 3028"/>
                <a:gd name="T48" fmla="*/ 0 w 2486"/>
                <a:gd name="T49" fmla="*/ 0 h 3028"/>
                <a:gd name="T50" fmla="*/ 0 w 2486"/>
                <a:gd name="T51" fmla="*/ 0 h 3028"/>
                <a:gd name="T52" fmla="*/ 0 w 2486"/>
                <a:gd name="T53" fmla="*/ 0 h 3028"/>
                <a:gd name="T54" fmla="*/ 0 w 2486"/>
                <a:gd name="T55" fmla="*/ 0 h 3028"/>
                <a:gd name="T56" fmla="*/ 0 w 2486"/>
                <a:gd name="T57" fmla="*/ 0 h 3028"/>
                <a:gd name="T58" fmla="*/ 0 w 2486"/>
                <a:gd name="T59" fmla="*/ 0 h 3028"/>
                <a:gd name="T60" fmla="*/ 0 w 2486"/>
                <a:gd name="T61" fmla="*/ 0 h 3028"/>
                <a:gd name="T62" fmla="*/ 0 w 2486"/>
                <a:gd name="T63" fmla="*/ 0 h 3028"/>
                <a:gd name="T64" fmla="*/ 0 w 2486"/>
                <a:gd name="T65" fmla="*/ 0 h 3028"/>
                <a:gd name="T66" fmla="*/ 0 w 2486"/>
                <a:gd name="T67" fmla="*/ 0 h 3028"/>
                <a:gd name="T68" fmla="*/ 0 w 2486"/>
                <a:gd name="T69" fmla="*/ 0 h 3028"/>
                <a:gd name="T70" fmla="*/ 0 w 2486"/>
                <a:gd name="T71" fmla="*/ 0 h 3028"/>
                <a:gd name="T72" fmla="*/ 0 w 2486"/>
                <a:gd name="T73" fmla="*/ 0 h 3028"/>
                <a:gd name="T74" fmla="*/ 0 w 2486"/>
                <a:gd name="T75" fmla="*/ 0 h 3028"/>
                <a:gd name="T76" fmla="*/ 0 w 2486"/>
                <a:gd name="T77" fmla="*/ 0 h 3028"/>
                <a:gd name="T78" fmla="*/ 0 w 2486"/>
                <a:gd name="T79" fmla="*/ 0 h 3028"/>
                <a:gd name="T80" fmla="*/ 0 w 2486"/>
                <a:gd name="T81" fmla="*/ 0 h 3028"/>
                <a:gd name="T82" fmla="*/ 0 w 2486"/>
                <a:gd name="T83" fmla="*/ 0 h 3028"/>
                <a:gd name="T84" fmla="*/ 0 w 2486"/>
                <a:gd name="T85" fmla="*/ 0 h 3028"/>
                <a:gd name="T86" fmla="*/ 0 w 2486"/>
                <a:gd name="T87" fmla="*/ 0 h 3028"/>
                <a:gd name="T88" fmla="*/ 0 w 2486"/>
                <a:gd name="T89" fmla="*/ 0 h 3028"/>
                <a:gd name="T90" fmla="*/ 0 w 2486"/>
                <a:gd name="T91" fmla="*/ 0 h 3028"/>
                <a:gd name="T92" fmla="*/ 0 w 2486"/>
                <a:gd name="T93" fmla="*/ 0 h 3028"/>
                <a:gd name="T94" fmla="*/ 0 w 2486"/>
                <a:gd name="T95" fmla="*/ 0 h 3028"/>
                <a:gd name="T96" fmla="*/ 0 w 2486"/>
                <a:gd name="T97" fmla="*/ 0 h 3028"/>
                <a:gd name="T98" fmla="*/ 0 w 2486"/>
                <a:gd name="T99" fmla="*/ 0 h 3028"/>
                <a:gd name="T100" fmla="*/ 0 w 2486"/>
                <a:gd name="T101" fmla="*/ 0 h 3028"/>
                <a:gd name="T102" fmla="*/ 0 w 2486"/>
                <a:gd name="T103" fmla="*/ 0 h 3028"/>
                <a:gd name="T104" fmla="*/ 0 w 2486"/>
                <a:gd name="T105" fmla="*/ 0 h 3028"/>
                <a:gd name="T106" fmla="*/ 0 w 2486"/>
                <a:gd name="T107" fmla="*/ 0 h 3028"/>
                <a:gd name="T108" fmla="*/ 0 w 2486"/>
                <a:gd name="T109" fmla="*/ 0 h 3028"/>
                <a:gd name="T110" fmla="*/ 0 w 2486"/>
                <a:gd name="T111" fmla="*/ 0 h 3028"/>
                <a:gd name="T112" fmla="*/ 0 w 2486"/>
                <a:gd name="T113" fmla="*/ 0 h 3028"/>
                <a:gd name="T114" fmla="*/ 0 w 2486"/>
                <a:gd name="T115" fmla="*/ 0 h 3028"/>
                <a:gd name="T116" fmla="*/ 0 w 2486"/>
                <a:gd name="T117" fmla="*/ 0 h 30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86"/>
                <a:gd name="T178" fmla="*/ 0 h 3028"/>
                <a:gd name="T179" fmla="*/ 2486 w 2486"/>
                <a:gd name="T180" fmla="*/ 3028 h 30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86" h="3028">
                  <a:moveTo>
                    <a:pt x="1833" y="2462"/>
                  </a:moveTo>
                  <a:lnTo>
                    <a:pt x="1803" y="2463"/>
                  </a:lnTo>
                  <a:lnTo>
                    <a:pt x="1777" y="2466"/>
                  </a:lnTo>
                  <a:lnTo>
                    <a:pt x="1756" y="2471"/>
                  </a:lnTo>
                  <a:lnTo>
                    <a:pt x="1738" y="2480"/>
                  </a:lnTo>
                  <a:lnTo>
                    <a:pt x="1724" y="2492"/>
                  </a:lnTo>
                  <a:lnTo>
                    <a:pt x="1714" y="2505"/>
                  </a:lnTo>
                  <a:lnTo>
                    <a:pt x="1708" y="2524"/>
                  </a:lnTo>
                  <a:lnTo>
                    <a:pt x="1706" y="2545"/>
                  </a:lnTo>
                  <a:lnTo>
                    <a:pt x="1706" y="2762"/>
                  </a:lnTo>
                  <a:lnTo>
                    <a:pt x="1707" y="2783"/>
                  </a:lnTo>
                  <a:lnTo>
                    <a:pt x="1712" y="2801"/>
                  </a:lnTo>
                  <a:lnTo>
                    <a:pt x="1720" y="2815"/>
                  </a:lnTo>
                  <a:lnTo>
                    <a:pt x="1731" y="2827"/>
                  </a:lnTo>
                  <a:lnTo>
                    <a:pt x="1747" y="2836"/>
                  </a:lnTo>
                  <a:lnTo>
                    <a:pt x="1767" y="2841"/>
                  </a:lnTo>
                  <a:lnTo>
                    <a:pt x="1791" y="2844"/>
                  </a:lnTo>
                  <a:lnTo>
                    <a:pt x="1820" y="2845"/>
                  </a:lnTo>
                  <a:lnTo>
                    <a:pt x="2003" y="2845"/>
                  </a:lnTo>
                  <a:lnTo>
                    <a:pt x="2032" y="2844"/>
                  </a:lnTo>
                  <a:lnTo>
                    <a:pt x="2057" y="2841"/>
                  </a:lnTo>
                  <a:lnTo>
                    <a:pt x="2077" y="2836"/>
                  </a:lnTo>
                  <a:lnTo>
                    <a:pt x="2092" y="2827"/>
                  </a:lnTo>
                  <a:lnTo>
                    <a:pt x="2104" y="2815"/>
                  </a:lnTo>
                  <a:lnTo>
                    <a:pt x="2111" y="2801"/>
                  </a:lnTo>
                  <a:lnTo>
                    <a:pt x="2117" y="2783"/>
                  </a:lnTo>
                  <a:lnTo>
                    <a:pt x="2118" y="2762"/>
                  </a:lnTo>
                  <a:lnTo>
                    <a:pt x="2118" y="2555"/>
                  </a:lnTo>
                  <a:lnTo>
                    <a:pt x="2117" y="2532"/>
                  </a:lnTo>
                  <a:lnTo>
                    <a:pt x="2111" y="2514"/>
                  </a:lnTo>
                  <a:lnTo>
                    <a:pt x="2104" y="2498"/>
                  </a:lnTo>
                  <a:lnTo>
                    <a:pt x="2092" y="2485"/>
                  </a:lnTo>
                  <a:lnTo>
                    <a:pt x="2077" y="2474"/>
                  </a:lnTo>
                  <a:lnTo>
                    <a:pt x="2057" y="2467"/>
                  </a:lnTo>
                  <a:lnTo>
                    <a:pt x="2032" y="2463"/>
                  </a:lnTo>
                  <a:lnTo>
                    <a:pt x="2003" y="2462"/>
                  </a:lnTo>
                  <a:lnTo>
                    <a:pt x="1833" y="2462"/>
                  </a:lnTo>
                  <a:close/>
                  <a:moveTo>
                    <a:pt x="495" y="2462"/>
                  </a:moveTo>
                  <a:lnTo>
                    <a:pt x="465" y="2463"/>
                  </a:lnTo>
                  <a:lnTo>
                    <a:pt x="440" y="2466"/>
                  </a:lnTo>
                  <a:lnTo>
                    <a:pt x="418" y="2471"/>
                  </a:lnTo>
                  <a:lnTo>
                    <a:pt x="400" y="2480"/>
                  </a:lnTo>
                  <a:lnTo>
                    <a:pt x="386" y="2492"/>
                  </a:lnTo>
                  <a:lnTo>
                    <a:pt x="376" y="2505"/>
                  </a:lnTo>
                  <a:lnTo>
                    <a:pt x="370" y="2524"/>
                  </a:lnTo>
                  <a:lnTo>
                    <a:pt x="368" y="2545"/>
                  </a:lnTo>
                  <a:lnTo>
                    <a:pt x="368" y="2762"/>
                  </a:lnTo>
                  <a:lnTo>
                    <a:pt x="370" y="2783"/>
                  </a:lnTo>
                  <a:lnTo>
                    <a:pt x="374" y="2801"/>
                  </a:lnTo>
                  <a:lnTo>
                    <a:pt x="382" y="2815"/>
                  </a:lnTo>
                  <a:lnTo>
                    <a:pt x="394" y="2827"/>
                  </a:lnTo>
                  <a:lnTo>
                    <a:pt x="410" y="2836"/>
                  </a:lnTo>
                  <a:lnTo>
                    <a:pt x="429" y="2841"/>
                  </a:lnTo>
                  <a:lnTo>
                    <a:pt x="453" y="2844"/>
                  </a:lnTo>
                  <a:lnTo>
                    <a:pt x="482" y="2845"/>
                  </a:lnTo>
                  <a:lnTo>
                    <a:pt x="665" y="2845"/>
                  </a:lnTo>
                  <a:lnTo>
                    <a:pt x="694" y="2844"/>
                  </a:lnTo>
                  <a:lnTo>
                    <a:pt x="719" y="2841"/>
                  </a:lnTo>
                  <a:lnTo>
                    <a:pt x="738" y="2836"/>
                  </a:lnTo>
                  <a:lnTo>
                    <a:pt x="754" y="2827"/>
                  </a:lnTo>
                  <a:lnTo>
                    <a:pt x="766" y="2815"/>
                  </a:lnTo>
                  <a:lnTo>
                    <a:pt x="774" y="2801"/>
                  </a:lnTo>
                  <a:lnTo>
                    <a:pt x="778" y="2783"/>
                  </a:lnTo>
                  <a:lnTo>
                    <a:pt x="780" y="2762"/>
                  </a:lnTo>
                  <a:lnTo>
                    <a:pt x="780" y="2555"/>
                  </a:lnTo>
                  <a:lnTo>
                    <a:pt x="779" y="2532"/>
                  </a:lnTo>
                  <a:lnTo>
                    <a:pt x="774" y="2514"/>
                  </a:lnTo>
                  <a:lnTo>
                    <a:pt x="766" y="2498"/>
                  </a:lnTo>
                  <a:lnTo>
                    <a:pt x="754" y="2485"/>
                  </a:lnTo>
                  <a:lnTo>
                    <a:pt x="739" y="2474"/>
                  </a:lnTo>
                  <a:lnTo>
                    <a:pt x="719" y="2467"/>
                  </a:lnTo>
                  <a:lnTo>
                    <a:pt x="694" y="2463"/>
                  </a:lnTo>
                  <a:lnTo>
                    <a:pt x="665" y="2462"/>
                  </a:lnTo>
                  <a:lnTo>
                    <a:pt x="495" y="2462"/>
                  </a:lnTo>
                  <a:close/>
                  <a:moveTo>
                    <a:pt x="755" y="403"/>
                  </a:moveTo>
                  <a:lnTo>
                    <a:pt x="692" y="403"/>
                  </a:lnTo>
                  <a:lnTo>
                    <a:pt x="634" y="406"/>
                  </a:lnTo>
                  <a:lnTo>
                    <a:pt x="582" y="412"/>
                  </a:lnTo>
                  <a:lnTo>
                    <a:pt x="534" y="419"/>
                  </a:lnTo>
                  <a:lnTo>
                    <a:pt x="491" y="430"/>
                  </a:lnTo>
                  <a:lnTo>
                    <a:pt x="453" y="442"/>
                  </a:lnTo>
                  <a:lnTo>
                    <a:pt x="419" y="457"/>
                  </a:lnTo>
                  <a:lnTo>
                    <a:pt x="389" y="474"/>
                  </a:lnTo>
                  <a:lnTo>
                    <a:pt x="364" y="494"/>
                  </a:lnTo>
                  <a:lnTo>
                    <a:pt x="341" y="518"/>
                  </a:lnTo>
                  <a:lnTo>
                    <a:pt x="323" y="543"/>
                  </a:lnTo>
                  <a:lnTo>
                    <a:pt x="307" y="572"/>
                  </a:lnTo>
                  <a:lnTo>
                    <a:pt x="295" y="604"/>
                  </a:lnTo>
                  <a:lnTo>
                    <a:pt x="285" y="638"/>
                  </a:lnTo>
                  <a:lnTo>
                    <a:pt x="278" y="677"/>
                  </a:lnTo>
                  <a:lnTo>
                    <a:pt x="273" y="718"/>
                  </a:lnTo>
                  <a:lnTo>
                    <a:pt x="270" y="763"/>
                  </a:lnTo>
                  <a:lnTo>
                    <a:pt x="269" y="811"/>
                  </a:lnTo>
                  <a:lnTo>
                    <a:pt x="269" y="1870"/>
                  </a:lnTo>
                  <a:lnTo>
                    <a:pt x="269" y="1916"/>
                  </a:lnTo>
                  <a:lnTo>
                    <a:pt x="270" y="1959"/>
                  </a:lnTo>
                  <a:lnTo>
                    <a:pt x="273" y="1998"/>
                  </a:lnTo>
                  <a:lnTo>
                    <a:pt x="276" y="2035"/>
                  </a:lnTo>
                  <a:lnTo>
                    <a:pt x="281" y="2069"/>
                  </a:lnTo>
                  <a:lnTo>
                    <a:pt x="289" y="2100"/>
                  </a:lnTo>
                  <a:lnTo>
                    <a:pt x="298" y="2128"/>
                  </a:lnTo>
                  <a:lnTo>
                    <a:pt x="310" y="2154"/>
                  </a:lnTo>
                  <a:lnTo>
                    <a:pt x="325" y="2176"/>
                  </a:lnTo>
                  <a:lnTo>
                    <a:pt x="343" y="2197"/>
                  </a:lnTo>
                  <a:lnTo>
                    <a:pt x="365" y="2215"/>
                  </a:lnTo>
                  <a:lnTo>
                    <a:pt x="389" y="2231"/>
                  </a:lnTo>
                  <a:lnTo>
                    <a:pt x="418" y="2244"/>
                  </a:lnTo>
                  <a:lnTo>
                    <a:pt x="452" y="2254"/>
                  </a:lnTo>
                  <a:lnTo>
                    <a:pt x="490" y="2264"/>
                  </a:lnTo>
                  <a:lnTo>
                    <a:pt x="534" y="2270"/>
                  </a:lnTo>
                  <a:lnTo>
                    <a:pt x="582" y="2275"/>
                  </a:lnTo>
                  <a:lnTo>
                    <a:pt x="635" y="2278"/>
                  </a:lnTo>
                  <a:lnTo>
                    <a:pt x="695" y="2279"/>
                  </a:lnTo>
                  <a:lnTo>
                    <a:pt x="1250" y="2279"/>
                  </a:lnTo>
                  <a:lnTo>
                    <a:pt x="847" y="2215"/>
                  </a:lnTo>
                  <a:lnTo>
                    <a:pt x="849" y="2195"/>
                  </a:lnTo>
                  <a:lnTo>
                    <a:pt x="792" y="2192"/>
                  </a:lnTo>
                  <a:lnTo>
                    <a:pt x="738" y="2188"/>
                  </a:lnTo>
                  <a:lnTo>
                    <a:pt x="689" y="2185"/>
                  </a:lnTo>
                  <a:lnTo>
                    <a:pt x="645" y="2180"/>
                  </a:lnTo>
                  <a:lnTo>
                    <a:pt x="605" y="2175"/>
                  </a:lnTo>
                  <a:lnTo>
                    <a:pt x="571" y="2171"/>
                  </a:lnTo>
                  <a:lnTo>
                    <a:pt x="542" y="2167"/>
                  </a:lnTo>
                  <a:lnTo>
                    <a:pt x="520" y="2164"/>
                  </a:lnTo>
                  <a:lnTo>
                    <a:pt x="503" y="2160"/>
                  </a:lnTo>
                  <a:lnTo>
                    <a:pt x="493" y="2158"/>
                  </a:lnTo>
                  <a:lnTo>
                    <a:pt x="490" y="2157"/>
                  </a:lnTo>
                  <a:lnTo>
                    <a:pt x="490" y="2131"/>
                  </a:lnTo>
                  <a:lnTo>
                    <a:pt x="1432" y="2131"/>
                  </a:lnTo>
                  <a:lnTo>
                    <a:pt x="1432" y="2157"/>
                  </a:lnTo>
                  <a:lnTo>
                    <a:pt x="1429" y="2158"/>
                  </a:lnTo>
                  <a:lnTo>
                    <a:pt x="1420" y="2159"/>
                  </a:lnTo>
                  <a:lnTo>
                    <a:pt x="1405" y="2162"/>
                  </a:lnTo>
                  <a:lnTo>
                    <a:pt x="1386" y="2165"/>
                  </a:lnTo>
                  <a:lnTo>
                    <a:pt x="1362" y="2167"/>
                  </a:lnTo>
                  <a:lnTo>
                    <a:pt x="1334" y="2171"/>
                  </a:lnTo>
                  <a:lnTo>
                    <a:pt x="1303" y="2174"/>
                  </a:lnTo>
                  <a:lnTo>
                    <a:pt x="1268" y="2179"/>
                  </a:lnTo>
                  <a:lnTo>
                    <a:pt x="1232" y="2182"/>
                  </a:lnTo>
                  <a:lnTo>
                    <a:pt x="1192" y="2185"/>
                  </a:lnTo>
                  <a:lnTo>
                    <a:pt x="1151" y="2189"/>
                  </a:lnTo>
                  <a:lnTo>
                    <a:pt x="1110" y="2191"/>
                  </a:lnTo>
                  <a:lnTo>
                    <a:pt x="1068" y="2194"/>
                  </a:lnTo>
                  <a:lnTo>
                    <a:pt x="1787" y="2279"/>
                  </a:lnTo>
                  <a:lnTo>
                    <a:pt x="1790" y="2279"/>
                  </a:lnTo>
                  <a:lnTo>
                    <a:pt x="1850" y="2278"/>
                  </a:lnTo>
                  <a:lnTo>
                    <a:pt x="1904" y="2275"/>
                  </a:lnTo>
                  <a:lnTo>
                    <a:pt x="1952" y="2270"/>
                  </a:lnTo>
                  <a:lnTo>
                    <a:pt x="1996" y="2264"/>
                  </a:lnTo>
                  <a:lnTo>
                    <a:pt x="2033" y="2254"/>
                  </a:lnTo>
                  <a:lnTo>
                    <a:pt x="2067" y="2244"/>
                  </a:lnTo>
                  <a:lnTo>
                    <a:pt x="2096" y="2231"/>
                  </a:lnTo>
                  <a:lnTo>
                    <a:pt x="2121" y="2215"/>
                  </a:lnTo>
                  <a:lnTo>
                    <a:pt x="2143" y="2197"/>
                  </a:lnTo>
                  <a:lnTo>
                    <a:pt x="2161" y="2176"/>
                  </a:lnTo>
                  <a:lnTo>
                    <a:pt x="2176" y="2154"/>
                  </a:lnTo>
                  <a:lnTo>
                    <a:pt x="2187" y="2128"/>
                  </a:lnTo>
                  <a:lnTo>
                    <a:pt x="2197" y="2100"/>
                  </a:lnTo>
                  <a:lnTo>
                    <a:pt x="2204" y="2069"/>
                  </a:lnTo>
                  <a:lnTo>
                    <a:pt x="2210" y="2035"/>
                  </a:lnTo>
                  <a:lnTo>
                    <a:pt x="2213" y="1998"/>
                  </a:lnTo>
                  <a:lnTo>
                    <a:pt x="2215" y="1959"/>
                  </a:lnTo>
                  <a:lnTo>
                    <a:pt x="2216" y="1916"/>
                  </a:lnTo>
                  <a:lnTo>
                    <a:pt x="2216" y="1870"/>
                  </a:lnTo>
                  <a:lnTo>
                    <a:pt x="2216" y="857"/>
                  </a:lnTo>
                  <a:lnTo>
                    <a:pt x="2216" y="810"/>
                  </a:lnTo>
                  <a:lnTo>
                    <a:pt x="2214" y="766"/>
                  </a:lnTo>
                  <a:lnTo>
                    <a:pt x="2212" y="726"/>
                  </a:lnTo>
                  <a:lnTo>
                    <a:pt x="2208" y="686"/>
                  </a:lnTo>
                  <a:lnTo>
                    <a:pt x="2201" y="650"/>
                  </a:lnTo>
                  <a:lnTo>
                    <a:pt x="2193" y="616"/>
                  </a:lnTo>
                  <a:lnTo>
                    <a:pt x="2182" y="585"/>
                  </a:lnTo>
                  <a:lnTo>
                    <a:pt x="2168" y="556"/>
                  </a:lnTo>
                  <a:lnTo>
                    <a:pt x="2152" y="529"/>
                  </a:lnTo>
                  <a:lnTo>
                    <a:pt x="2133" y="506"/>
                  </a:lnTo>
                  <a:lnTo>
                    <a:pt x="2110" y="483"/>
                  </a:lnTo>
                  <a:lnTo>
                    <a:pt x="2084" y="465"/>
                  </a:lnTo>
                  <a:lnTo>
                    <a:pt x="2052" y="448"/>
                  </a:lnTo>
                  <a:lnTo>
                    <a:pt x="2018" y="434"/>
                  </a:lnTo>
                  <a:lnTo>
                    <a:pt x="1979" y="424"/>
                  </a:lnTo>
                  <a:lnTo>
                    <a:pt x="1935" y="414"/>
                  </a:lnTo>
                  <a:lnTo>
                    <a:pt x="1886" y="408"/>
                  </a:lnTo>
                  <a:lnTo>
                    <a:pt x="1831" y="404"/>
                  </a:lnTo>
                  <a:lnTo>
                    <a:pt x="1771" y="403"/>
                  </a:lnTo>
                  <a:lnTo>
                    <a:pt x="755" y="403"/>
                  </a:lnTo>
                  <a:close/>
                  <a:moveTo>
                    <a:pt x="1127" y="0"/>
                  </a:moveTo>
                  <a:lnTo>
                    <a:pt x="1378" y="0"/>
                  </a:lnTo>
                  <a:lnTo>
                    <a:pt x="1416" y="1"/>
                  </a:lnTo>
                  <a:lnTo>
                    <a:pt x="1449" y="4"/>
                  </a:lnTo>
                  <a:lnTo>
                    <a:pt x="1476" y="8"/>
                  </a:lnTo>
                  <a:lnTo>
                    <a:pt x="1498" y="16"/>
                  </a:lnTo>
                  <a:lnTo>
                    <a:pt x="1516" y="24"/>
                  </a:lnTo>
                  <a:lnTo>
                    <a:pt x="1529" y="34"/>
                  </a:lnTo>
                  <a:lnTo>
                    <a:pt x="1539" y="47"/>
                  </a:lnTo>
                  <a:lnTo>
                    <a:pt x="1544" y="60"/>
                  </a:lnTo>
                  <a:lnTo>
                    <a:pt x="1545" y="76"/>
                  </a:lnTo>
                  <a:lnTo>
                    <a:pt x="1545" y="177"/>
                  </a:lnTo>
                  <a:lnTo>
                    <a:pt x="1797" y="177"/>
                  </a:lnTo>
                  <a:lnTo>
                    <a:pt x="1871" y="177"/>
                  </a:lnTo>
                  <a:lnTo>
                    <a:pt x="1940" y="179"/>
                  </a:lnTo>
                  <a:lnTo>
                    <a:pt x="2004" y="183"/>
                  </a:lnTo>
                  <a:lnTo>
                    <a:pt x="2063" y="189"/>
                  </a:lnTo>
                  <a:lnTo>
                    <a:pt x="2119" y="196"/>
                  </a:lnTo>
                  <a:lnTo>
                    <a:pt x="2169" y="207"/>
                  </a:lnTo>
                  <a:lnTo>
                    <a:pt x="2216" y="220"/>
                  </a:lnTo>
                  <a:lnTo>
                    <a:pt x="2259" y="235"/>
                  </a:lnTo>
                  <a:lnTo>
                    <a:pt x="2298" y="253"/>
                  </a:lnTo>
                  <a:lnTo>
                    <a:pt x="2332" y="275"/>
                  </a:lnTo>
                  <a:lnTo>
                    <a:pt x="2363" y="300"/>
                  </a:lnTo>
                  <a:lnTo>
                    <a:pt x="2390" y="329"/>
                  </a:lnTo>
                  <a:lnTo>
                    <a:pt x="2413" y="362"/>
                  </a:lnTo>
                  <a:lnTo>
                    <a:pt x="2433" y="398"/>
                  </a:lnTo>
                  <a:lnTo>
                    <a:pt x="2450" y="439"/>
                  </a:lnTo>
                  <a:lnTo>
                    <a:pt x="2463" y="484"/>
                  </a:lnTo>
                  <a:lnTo>
                    <a:pt x="2473" y="535"/>
                  </a:lnTo>
                  <a:lnTo>
                    <a:pt x="2481" y="589"/>
                  </a:lnTo>
                  <a:lnTo>
                    <a:pt x="2485" y="650"/>
                  </a:lnTo>
                  <a:lnTo>
                    <a:pt x="2486" y="716"/>
                  </a:lnTo>
                  <a:lnTo>
                    <a:pt x="2486" y="2558"/>
                  </a:lnTo>
                  <a:lnTo>
                    <a:pt x="2485" y="2620"/>
                  </a:lnTo>
                  <a:lnTo>
                    <a:pt x="2482" y="2676"/>
                  </a:lnTo>
                  <a:lnTo>
                    <a:pt x="2475" y="2727"/>
                  </a:lnTo>
                  <a:lnTo>
                    <a:pt x="2466" y="2773"/>
                  </a:lnTo>
                  <a:lnTo>
                    <a:pt x="2454" y="2813"/>
                  </a:lnTo>
                  <a:lnTo>
                    <a:pt x="2439" y="2849"/>
                  </a:lnTo>
                  <a:lnTo>
                    <a:pt x="2421" y="2881"/>
                  </a:lnTo>
                  <a:lnTo>
                    <a:pt x="2399" y="2909"/>
                  </a:lnTo>
                  <a:lnTo>
                    <a:pt x="2376" y="2934"/>
                  </a:lnTo>
                  <a:lnTo>
                    <a:pt x="2348" y="2954"/>
                  </a:lnTo>
                  <a:lnTo>
                    <a:pt x="2317" y="2971"/>
                  </a:lnTo>
                  <a:lnTo>
                    <a:pt x="2283" y="2986"/>
                  </a:lnTo>
                  <a:lnTo>
                    <a:pt x="2246" y="2997"/>
                  </a:lnTo>
                  <a:lnTo>
                    <a:pt x="2206" y="3006"/>
                  </a:lnTo>
                  <a:lnTo>
                    <a:pt x="2163" y="3014"/>
                  </a:lnTo>
                  <a:lnTo>
                    <a:pt x="2103" y="3020"/>
                  </a:lnTo>
                  <a:lnTo>
                    <a:pt x="2037" y="3024"/>
                  </a:lnTo>
                  <a:lnTo>
                    <a:pt x="1966" y="3027"/>
                  </a:lnTo>
                  <a:lnTo>
                    <a:pt x="1889" y="3028"/>
                  </a:lnTo>
                  <a:lnTo>
                    <a:pt x="1805" y="3028"/>
                  </a:lnTo>
                  <a:lnTo>
                    <a:pt x="680" y="3028"/>
                  </a:lnTo>
                  <a:lnTo>
                    <a:pt x="597" y="3028"/>
                  </a:lnTo>
                  <a:lnTo>
                    <a:pt x="520" y="3027"/>
                  </a:lnTo>
                  <a:lnTo>
                    <a:pt x="449" y="3024"/>
                  </a:lnTo>
                  <a:lnTo>
                    <a:pt x="384" y="3020"/>
                  </a:lnTo>
                  <a:lnTo>
                    <a:pt x="324" y="3014"/>
                  </a:lnTo>
                  <a:lnTo>
                    <a:pt x="279" y="3006"/>
                  </a:lnTo>
                  <a:lnTo>
                    <a:pt x="237" y="2997"/>
                  </a:lnTo>
                  <a:lnTo>
                    <a:pt x="200" y="2985"/>
                  </a:lnTo>
                  <a:lnTo>
                    <a:pt x="166" y="2970"/>
                  </a:lnTo>
                  <a:lnTo>
                    <a:pt x="136" y="2953"/>
                  </a:lnTo>
                  <a:lnTo>
                    <a:pt x="109" y="2932"/>
                  </a:lnTo>
                  <a:lnTo>
                    <a:pt x="84" y="2908"/>
                  </a:lnTo>
                  <a:lnTo>
                    <a:pt x="64" y="2880"/>
                  </a:lnTo>
                  <a:lnTo>
                    <a:pt x="47" y="2848"/>
                  </a:lnTo>
                  <a:lnTo>
                    <a:pt x="32" y="2812"/>
                  </a:lnTo>
                  <a:lnTo>
                    <a:pt x="20" y="2771"/>
                  </a:lnTo>
                  <a:lnTo>
                    <a:pt x="11" y="2726"/>
                  </a:lnTo>
                  <a:lnTo>
                    <a:pt x="5" y="2675"/>
                  </a:lnTo>
                  <a:lnTo>
                    <a:pt x="1" y="2619"/>
                  </a:lnTo>
                  <a:lnTo>
                    <a:pt x="0" y="2558"/>
                  </a:lnTo>
                  <a:lnTo>
                    <a:pt x="0" y="647"/>
                  </a:lnTo>
                  <a:lnTo>
                    <a:pt x="1" y="589"/>
                  </a:lnTo>
                  <a:lnTo>
                    <a:pt x="6" y="537"/>
                  </a:lnTo>
                  <a:lnTo>
                    <a:pt x="13" y="490"/>
                  </a:lnTo>
                  <a:lnTo>
                    <a:pt x="23" y="446"/>
                  </a:lnTo>
                  <a:lnTo>
                    <a:pt x="36" y="408"/>
                  </a:lnTo>
                  <a:lnTo>
                    <a:pt x="52" y="372"/>
                  </a:lnTo>
                  <a:lnTo>
                    <a:pt x="71" y="340"/>
                  </a:lnTo>
                  <a:lnTo>
                    <a:pt x="93" y="312"/>
                  </a:lnTo>
                  <a:lnTo>
                    <a:pt x="117" y="288"/>
                  </a:lnTo>
                  <a:lnTo>
                    <a:pt x="145" y="267"/>
                  </a:lnTo>
                  <a:lnTo>
                    <a:pt x="176" y="248"/>
                  </a:lnTo>
                  <a:lnTo>
                    <a:pt x="209" y="232"/>
                  </a:lnTo>
                  <a:lnTo>
                    <a:pt x="246" y="220"/>
                  </a:lnTo>
                  <a:lnTo>
                    <a:pt x="284" y="209"/>
                  </a:lnTo>
                  <a:lnTo>
                    <a:pt x="327" y="199"/>
                  </a:lnTo>
                  <a:lnTo>
                    <a:pt x="371" y="193"/>
                  </a:lnTo>
                  <a:lnTo>
                    <a:pt x="419" y="186"/>
                  </a:lnTo>
                  <a:lnTo>
                    <a:pt x="470" y="183"/>
                  </a:lnTo>
                  <a:lnTo>
                    <a:pt x="523" y="180"/>
                  </a:lnTo>
                  <a:lnTo>
                    <a:pt x="580" y="178"/>
                  </a:lnTo>
                  <a:lnTo>
                    <a:pt x="639" y="177"/>
                  </a:lnTo>
                  <a:lnTo>
                    <a:pt x="701" y="177"/>
                  </a:lnTo>
                  <a:lnTo>
                    <a:pt x="765" y="177"/>
                  </a:lnTo>
                  <a:lnTo>
                    <a:pt x="940" y="177"/>
                  </a:lnTo>
                  <a:lnTo>
                    <a:pt x="940" y="69"/>
                  </a:lnTo>
                  <a:lnTo>
                    <a:pt x="943" y="53"/>
                  </a:lnTo>
                  <a:lnTo>
                    <a:pt x="950" y="40"/>
                  </a:lnTo>
                  <a:lnTo>
                    <a:pt x="962" y="28"/>
                  </a:lnTo>
                  <a:lnTo>
                    <a:pt x="978" y="19"/>
                  </a:lnTo>
                  <a:lnTo>
                    <a:pt x="998" y="12"/>
                  </a:lnTo>
                  <a:lnTo>
                    <a:pt x="1024" y="7"/>
                  </a:lnTo>
                  <a:lnTo>
                    <a:pt x="1054" y="3"/>
                  </a:lnTo>
                  <a:lnTo>
                    <a:pt x="1088" y="1"/>
                  </a:lnTo>
                  <a:lnTo>
                    <a:pt x="1127"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99" name="Freeform 34"/>
            <p:cNvSpPr>
              <a:spLocks noChangeArrowheads="1"/>
            </p:cNvSpPr>
            <p:nvPr/>
          </p:nvSpPr>
          <p:spPr bwMode="auto">
            <a:xfrm>
              <a:off x="2715" y="908"/>
              <a:ext cx="10" cy="25"/>
            </a:xfrm>
            <a:custGeom>
              <a:avLst/>
              <a:gdLst>
                <a:gd name="T0" fmla="*/ 0 w 170"/>
                <a:gd name="T1" fmla="*/ 0 h 385"/>
                <a:gd name="T2" fmla="*/ 0 w 170"/>
                <a:gd name="T3" fmla="*/ 0 h 385"/>
                <a:gd name="T4" fmla="*/ 0 w 170"/>
                <a:gd name="T5" fmla="*/ 0 h 385"/>
                <a:gd name="T6" fmla="*/ 0 w 170"/>
                <a:gd name="T7" fmla="*/ 0 h 385"/>
                <a:gd name="T8" fmla="*/ 0 w 170"/>
                <a:gd name="T9" fmla="*/ 0 h 385"/>
                <a:gd name="T10" fmla="*/ 0 w 170"/>
                <a:gd name="T11" fmla="*/ 0 h 385"/>
                <a:gd name="T12" fmla="*/ 0 w 170"/>
                <a:gd name="T13" fmla="*/ 0 h 385"/>
                <a:gd name="T14" fmla="*/ 0 w 170"/>
                <a:gd name="T15" fmla="*/ 0 h 385"/>
                <a:gd name="T16" fmla="*/ 0 w 170"/>
                <a:gd name="T17" fmla="*/ 0 h 385"/>
                <a:gd name="T18" fmla="*/ 0 w 170"/>
                <a:gd name="T19" fmla="*/ 0 h 385"/>
                <a:gd name="T20" fmla="*/ 0 w 170"/>
                <a:gd name="T21" fmla="*/ 0 h 385"/>
                <a:gd name="T22" fmla="*/ 0 w 170"/>
                <a:gd name="T23" fmla="*/ 0 h 385"/>
                <a:gd name="T24" fmla="*/ 0 w 170"/>
                <a:gd name="T25" fmla="*/ 0 h 385"/>
                <a:gd name="T26" fmla="*/ 0 w 170"/>
                <a:gd name="T27" fmla="*/ 0 h 385"/>
                <a:gd name="T28" fmla="*/ 0 w 170"/>
                <a:gd name="T29" fmla="*/ 0 h 385"/>
                <a:gd name="T30" fmla="*/ 0 w 170"/>
                <a:gd name="T31" fmla="*/ 0 h 385"/>
                <a:gd name="T32" fmla="*/ 0 w 170"/>
                <a:gd name="T33" fmla="*/ 0 h 385"/>
                <a:gd name="T34" fmla="*/ 0 w 170"/>
                <a:gd name="T35" fmla="*/ 0 h 385"/>
                <a:gd name="T36" fmla="*/ 0 w 170"/>
                <a:gd name="T37" fmla="*/ 0 h 385"/>
                <a:gd name="T38" fmla="*/ 0 w 170"/>
                <a:gd name="T39" fmla="*/ 0 h 385"/>
                <a:gd name="T40" fmla="*/ 0 w 170"/>
                <a:gd name="T41" fmla="*/ 0 h 385"/>
                <a:gd name="T42" fmla="*/ 0 w 170"/>
                <a:gd name="T43" fmla="*/ 0 h 385"/>
                <a:gd name="T44" fmla="*/ 0 w 170"/>
                <a:gd name="T45" fmla="*/ 0 h 385"/>
                <a:gd name="T46" fmla="*/ 0 w 170"/>
                <a:gd name="T47" fmla="*/ 0 h 385"/>
                <a:gd name="T48" fmla="*/ 0 w 170"/>
                <a:gd name="T49" fmla="*/ 0 h 385"/>
                <a:gd name="T50" fmla="*/ 0 w 170"/>
                <a:gd name="T51" fmla="*/ 0 h 385"/>
                <a:gd name="T52" fmla="*/ 0 w 170"/>
                <a:gd name="T53" fmla="*/ 0 h 385"/>
                <a:gd name="T54" fmla="*/ 0 w 170"/>
                <a:gd name="T55" fmla="*/ 0 h 385"/>
                <a:gd name="T56" fmla="*/ 0 w 170"/>
                <a:gd name="T57" fmla="*/ 0 h 385"/>
                <a:gd name="T58" fmla="*/ 0 w 170"/>
                <a:gd name="T59" fmla="*/ 0 h 385"/>
                <a:gd name="T60" fmla="*/ 0 w 170"/>
                <a:gd name="T61" fmla="*/ 0 h 385"/>
                <a:gd name="T62" fmla="*/ 0 w 170"/>
                <a:gd name="T63" fmla="*/ 0 h 385"/>
                <a:gd name="T64" fmla="*/ 0 w 170"/>
                <a:gd name="T65" fmla="*/ 0 h 3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0"/>
                <a:gd name="T100" fmla="*/ 0 h 385"/>
                <a:gd name="T101" fmla="*/ 170 w 170"/>
                <a:gd name="T102" fmla="*/ 385 h 3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0" h="385">
                  <a:moveTo>
                    <a:pt x="52" y="0"/>
                  </a:moveTo>
                  <a:lnTo>
                    <a:pt x="123" y="0"/>
                  </a:lnTo>
                  <a:lnTo>
                    <a:pt x="137" y="3"/>
                  </a:lnTo>
                  <a:lnTo>
                    <a:pt x="148" y="8"/>
                  </a:lnTo>
                  <a:lnTo>
                    <a:pt x="156" y="18"/>
                  </a:lnTo>
                  <a:lnTo>
                    <a:pt x="163" y="31"/>
                  </a:lnTo>
                  <a:lnTo>
                    <a:pt x="167" y="49"/>
                  </a:lnTo>
                  <a:lnTo>
                    <a:pt x="170" y="69"/>
                  </a:lnTo>
                  <a:lnTo>
                    <a:pt x="170" y="93"/>
                  </a:lnTo>
                  <a:lnTo>
                    <a:pt x="170" y="301"/>
                  </a:lnTo>
                  <a:lnTo>
                    <a:pt x="170" y="325"/>
                  </a:lnTo>
                  <a:lnTo>
                    <a:pt x="167" y="344"/>
                  </a:lnTo>
                  <a:lnTo>
                    <a:pt x="163" y="360"/>
                  </a:lnTo>
                  <a:lnTo>
                    <a:pt x="156" y="371"/>
                  </a:lnTo>
                  <a:lnTo>
                    <a:pt x="148" y="380"/>
                  </a:lnTo>
                  <a:lnTo>
                    <a:pt x="137" y="384"/>
                  </a:lnTo>
                  <a:lnTo>
                    <a:pt x="123" y="385"/>
                  </a:lnTo>
                  <a:lnTo>
                    <a:pt x="47" y="385"/>
                  </a:lnTo>
                  <a:lnTo>
                    <a:pt x="34" y="384"/>
                  </a:lnTo>
                  <a:lnTo>
                    <a:pt x="22" y="380"/>
                  </a:lnTo>
                  <a:lnTo>
                    <a:pt x="14" y="371"/>
                  </a:lnTo>
                  <a:lnTo>
                    <a:pt x="7" y="360"/>
                  </a:lnTo>
                  <a:lnTo>
                    <a:pt x="3" y="344"/>
                  </a:lnTo>
                  <a:lnTo>
                    <a:pt x="1" y="325"/>
                  </a:lnTo>
                  <a:lnTo>
                    <a:pt x="0" y="301"/>
                  </a:lnTo>
                  <a:lnTo>
                    <a:pt x="0" y="84"/>
                  </a:lnTo>
                  <a:lnTo>
                    <a:pt x="1" y="60"/>
                  </a:lnTo>
                  <a:lnTo>
                    <a:pt x="4" y="41"/>
                  </a:lnTo>
                  <a:lnTo>
                    <a:pt x="10" y="25"/>
                  </a:lnTo>
                  <a:lnTo>
                    <a:pt x="17" y="14"/>
                  </a:lnTo>
                  <a:lnTo>
                    <a:pt x="27" y="6"/>
                  </a:lnTo>
                  <a:lnTo>
                    <a:pt x="38" y="2"/>
                  </a:lnTo>
                  <a:lnTo>
                    <a:pt x="52"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00" name="Freeform 35"/>
            <p:cNvSpPr>
              <a:spLocks noChangeArrowheads="1"/>
            </p:cNvSpPr>
            <p:nvPr/>
          </p:nvSpPr>
          <p:spPr bwMode="auto">
            <a:xfrm>
              <a:off x="2897" y="908"/>
              <a:ext cx="11" cy="25"/>
            </a:xfrm>
            <a:custGeom>
              <a:avLst/>
              <a:gdLst>
                <a:gd name="T0" fmla="*/ 0 w 170"/>
                <a:gd name="T1" fmla="*/ 0 h 385"/>
                <a:gd name="T2" fmla="*/ 0 w 170"/>
                <a:gd name="T3" fmla="*/ 0 h 385"/>
                <a:gd name="T4" fmla="*/ 0 w 170"/>
                <a:gd name="T5" fmla="*/ 0 h 385"/>
                <a:gd name="T6" fmla="*/ 0 w 170"/>
                <a:gd name="T7" fmla="*/ 0 h 385"/>
                <a:gd name="T8" fmla="*/ 0 w 170"/>
                <a:gd name="T9" fmla="*/ 0 h 385"/>
                <a:gd name="T10" fmla="*/ 0 w 170"/>
                <a:gd name="T11" fmla="*/ 0 h 385"/>
                <a:gd name="T12" fmla="*/ 0 w 170"/>
                <a:gd name="T13" fmla="*/ 0 h 385"/>
                <a:gd name="T14" fmla="*/ 0 w 170"/>
                <a:gd name="T15" fmla="*/ 0 h 385"/>
                <a:gd name="T16" fmla="*/ 0 w 170"/>
                <a:gd name="T17" fmla="*/ 0 h 385"/>
                <a:gd name="T18" fmla="*/ 0 w 170"/>
                <a:gd name="T19" fmla="*/ 0 h 385"/>
                <a:gd name="T20" fmla="*/ 0 w 170"/>
                <a:gd name="T21" fmla="*/ 0 h 385"/>
                <a:gd name="T22" fmla="*/ 0 w 170"/>
                <a:gd name="T23" fmla="*/ 0 h 385"/>
                <a:gd name="T24" fmla="*/ 0 w 170"/>
                <a:gd name="T25" fmla="*/ 0 h 385"/>
                <a:gd name="T26" fmla="*/ 0 w 170"/>
                <a:gd name="T27" fmla="*/ 0 h 385"/>
                <a:gd name="T28" fmla="*/ 0 w 170"/>
                <a:gd name="T29" fmla="*/ 0 h 385"/>
                <a:gd name="T30" fmla="*/ 0 w 170"/>
                <a:gd name="T31" fmla="*/ 0 h 385"/>
                <a:gd name="T32" fmla="*/ 0 w 170"/>
                <a:gd name="T33" fmla="*/ 0 h 385"/>
                <a:gd name="T34" fmla="*/ 0 w 170"/>
                <a:gd name="T35" fmla="*/ 0 h 385"/>
                <a:gd name="T36" fmla="*/ 0 w 170"/>
                <a:gd name="T37" fmla="*/ 0 h 385"/>
                <a:gd name="T38" fmla="*/ 0 w 170"/>
                <a:gd name="T39" fmla="*/ 0 h 385"/>
                <a:gd name="T40" fmla="*/ 0 w 170"/>
                <a:gd name="T41" fmla="*/ 0 h 385"/>
                <a:gd name="T42" fmla="*/ 0 w 170"/>
                <a:gd name="T43" fmla="*/ 0 h 385"/>
                <a:gd name="T44" fmla="*/ 0 w 170"/>
                <a:gd name="T45" fmla="*/ 0 h 385"/>
                <a:gd name="T46" fmla="*/ 0 w 170"/>
                <a:gd name="T47" fmla="*/ 0 h 385"/>
                <a:gd name="T48" fmla="*/ 0 w 170"/>
                <a:gd name="T49" fmla="*/ 0 h 385"/>
                <a:gd name="T50" fmla="*/ 0 w 170"/>
                <a:gd name="T51" fmla="*/ 0 h 385"/>
                <a:gd name="T52" fmla="*/ 0 w 170"/>
                <a:gd name="T53" fmla="*/ 0 h 385"/>
                <a:gd name="T54" fmla="*/ 0 w 170"/>
                <a:gd name="T55" fmla="*/ 0 h 385"/>
                <a:gd name="T56" fmla="*/ 0 w 170"/>
                <a:gd name="T57" fmla="*/ 0 h 385"/>
                <a:gd name="T58" fmla="*/ 0 w 170"/>
                <a:gd name="T59" fmla="*/ 0 h 385"/>
                <a:gd name="T60" fmla="*/ 0 w 170"/>
                <a:gd name="T61" fmla="*/ 0 h 385"/>
                <a:gd name="T62" fmla="*/ 0 w 170"/>
                <a:gd name="T63" fmla="*/ 0 h 385"/>
                <a:gd name="T64" fmla="*/ 0 w 170"/>
                <a:gd name="T65" fmla="*/ 0 h 3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0"/>
                <a:gd name="T100" fmla="*/ 0 h 385"/>
                <a:gd name="T101" fmla="*/ 170 w 170"/>
                <a:gd name="T102" fmla="*/ 385 h 3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0" h="385">
                  <a:moveTo>
                    <a:pt x="52" y="0"/>
                  </a:moveTo>
                  <a:lnTo>
                    <a:pt x="123" y="0"/>
                  </a:lnTo>
                  <a:lnTo>
                    <a:pt x="135" y="3"/>
                  </a:lnTo>
                  <a:lnTo>
                    <a:pt x="147" y="8"/>
                  </a:lnTo>
                  <a:lnTo>
                    <a:pt x="156" y="18"/>
                  </a:lnTo>
                  <a:lnTo>
                    <a:pt x="162" y="31"/>
                  </a:lnTo>
                  <a:lnTo>
                    <a:pt x="166" y="49"/>
                  </a:lnTo>
                  <a:lnTo>
                    <a:pt x="169" y="69"/>
                  </a:lnTo>
                  <a:lnTo>
                    <a:pt x="170" y="93"/>
                  </a:lnTo>
                  <a:lnTo>
                    <a:pt x="170" y="301"/>
                  </a:lnTo>
                  <a:lnTo>
                    <a:pt x="169" y="325"/>
                  </a:lnTo>
                  <a:lnTo>
                    <a:pt x="165" y="344"/>
                  </a:lnTo>
                  <a:lnTo>
                    <a:pt x="161" y="360"/>
                  </a:lnTo>
                  <a:lnTo>
                    <a:pt x="155" y="371"/>
                  </a:lnTo>
                  <a:lnTo>
                    <a:pt x="146" y="380"/>
                  </a:lnTo>
                  <a:lnTo>
                    <a:pt x="135" y="384"/>
                  </a:lnTo>
                  <a:lnTo>
                    <a:pt x="123" y="385"/>
                  </a:lnTo>
                  <a:lnTo>
                    <a:pt x="47" y="385"/>
                  </a:lnTo>
                  <a:lnTo>
                    <a:pt x="33" y="384"/>
                  </a:lnTo>
                  <a:lnTo>
                    <a:pt x="22" y="380"/>
                  </a:lnTo>
                  <a:lnTo>
                    <a:pt x="13" y="371"/>
                  </a:lnTo>
                  <a:lnTo>
                    <a:pt x="7" y="360"/>
                  </a:lnTo>
                  <a:lnTo>
                    <a:pt x="3" y="344"/>
                  </a:lnTo>
                  <a:lnTo>
                    <a:pt x="0" y="325"/>
                  </a:lnTo>
                  <a:lnTo>
                    <a:pt x="0" y="301"/>
                  </a:lnTo>
                  <a:lnTo>
                    <a:pt x="0" y="84"/>
                  </a:lnTo>
                  <a:lnTo>
                    <a:pt x="1" y="60"/>
                  </a:lnTo>
                  <a:lnTo>
                    <a:pt x="4" y="41"/>
                  </a:lnTo>
                  <a:lnTo>
                    <a:pt x="9" y="25"/>
                  </a:lnTo>
                  <a:lnTo>
                    <a:pt x="17" y="14"/>
                  </a:lnTo>
                  <a:lnTo>
                    <a:pt x="26" y="6"/>
                  </a:lnTo>
                  <a:lnTo>
                    <a:pt x="38" y="2"/>
                  </a:lnTo>
                  <a:lnTo>
                    <a:pt x="52" y="0"/>
                  </a:lnTo>
                  <a:close/>
                </a:path>
              </a:pathLst>
            </a:custGeom>
            <a:grp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grpSp>
        <p:nvGrpSpPr>
          <p:cNvPr id="6" name="Group 5"/>
          <p:cNvGrpSpPr/>
          <p:nvPr/>
        </p:nvGrpSpPr>
        <p:grpSpPr>
          <a:xfrm>
            <a:off x="7901142" y="1533931"/>
            <a:ext cx="777235" cy="474711"/>
            <a:chOff x="2563920" y="2819400"/>
            <a:chExt cx="777235" cy="474711"/>
          </a:xfrm>
        </p:grpSpPr>
        <p:sp>
          <p:nvSpPr>
            <p:cNvPr id="101" name="Freeform 41"/>
            <p:cNvSpPr>
              <a:spLocks noChangeArrowheads="1"/>
            </p:cNvSpPr>
            <p:nvPr/>
          </p:nvSpPr>
          <p:spPr bwMode="auto">
            <a:xfrm>
              <a:off x="2563920" y="2886595"/>
              <a:ext cx="609600" cy="336550"/>
            </a:xfrm>
            <a:custGeom>
              <a:avLst/>
              <a:gdLst>
                <a:gd name="T0" fmla="*/ 2147483647 w 3456"/>
                <a:gd name="T1" fmla="*/ 2147483647 h 1909"/>
                <a:gd name="T2" fmla="*/ 2147483647 w 3456"/>
                <a:gd name="T3" fmla="*/ 2147483647 h 1909"/>
                <a:gd name="T4" fmla="*/ 2147483647 w 3456"/>
                <a:gd name="T5" fmla="*/ 2147483647 h 1909"/>
                <a:gd name="T6" fmla="*/ 2147483647 w 3456"/>
                <a:gd name="T7" fmla="*/ 2147483647 h 1909"/>
                <a:gd name="T8" fmla="*/ 2147483647 w 3456"/>
                <a:gd name="T9" fmla="*/ 2147483647 h 1909"/>
                <a:gd name="T10" fmla="*/ 2147483647 w 3456"/>
                <a:gd name="T11" fmla="*/ 2147483647 h 1909"/>
                <a:gd name="T12" fmla="*/ 2147483647 w 3456"/>
                <a:gd name="T13" fmla="*/ 2147483647 h 1909"/>
                <a:gd name="T14" fmla="*/ 2147483647 w 3456"/>
                <a:gd name="T15" fmla="*/ 2147483647 h 1909"/>
                <a:gd name="T16" fmla="*/ 2147483647 w 3456"/>
                <a:gd name="T17" fmla="*/ 2147483647 h 1909"/>
                <a:gd name="T18" fmla="*/ 2147483647 w 3456"/>
                <a:gd name="T19" fmla="*/ 2147483647 h 1909"/>
                <a:gd name="T20" fmla="*/ 2147483647 w 3456"/>
                <a:gd name="T21" fmla="*/ 2147483647 h 1909"/>
                <a:gd name="T22" fmla="*/ 2147483647 w 3456"/>
                <a:gd name="T23" fmla="*/ 2147483647 h 1909"/>
                <a:gd name="T24" fmla="*/ 2147483647 w 3456"/>
                <a:gd name="T25" fmla="*/ 2147483647 h 1909"/>
                <a:gd name="T26" fmla="*/ 2147483647 w 3456"/>
                <a:gd name="T27" fmla="*/ 2147483647 h 1909"/>
                <a:gd name="T28" fmla="*/ 2147483647 w 3456"/>
                <a:gd name="T29" fmla="*/ 2147483647 h 1909"/>
                <a:gd name="T30" fmla="*/ 2147483647 w 3456"/>
                <a:gd name="T31" fmla="*/ 2147483647 h 1909"/>
                <a:gd name="T32" fmla="*/ 2147483647 w 3456"/>
                <a:gd name="T33" fmla="*/ 2147483647 h 1909"/>
                <a:gd name="T34" fmla="*/ 2147483647 w 3456"/>
                <a:gd name="T35" fmla="*/ 2147483647 h 1909"/>
                <a:gd name="T36" fmla="*/ 2147483647 w 3456"/>
                <a:gd name="T37" fmla="*/ 2147483647 h 1909"/>
                <a:gd name="T38" fmla="*/ 2147483647 w 3456"/>
                <a:gd name="T39" fmla="*/ 2147483647 h 1909"/>
                <a:gd name="T40" fmla="*/ 2147483647 w 3456"/>
                <a:gd name="T41" fmla="*/ 2147483647 h 1909"/>
                <a:gd name="T42" fmla="*/ 2147483647 w 3456"/>
                <a:gd name="T43" fmla="*/ 2147483647 h 1909"/>
                <a:gd name="T44" fmla="*/ 2147483647 w 3456"/>
                <a:gd name="T45" fmla="*/ 2147483647 h 1909"/>
                <a:gd name="T46" fmla="*/ 2147483647 w 3456"/>
                <a:gd name="T47" fmla="*/ 2147483647 h 1909"/>
                <a:gd name="T48" fmla="*/ 2147483647 w 3456"/>
                <a:gd name="T49" fmla="*/ 2147483647 h 1909"/>
                <a:gd name="T50" fmla="*/ 2147483647 w 3456"/>
                <a:gd name="T51" fmla="*/ 2147483647 h 1909"/>
                <a:gd name="T52" fmla="*/ 2147483647 w 3456"/>
                <a:gd name="T53" fmla="*/ 2147483647 h 1909"/>
                <a:gd name="T54" fmla="*/ 2147483647 w 3456"/>
                <a:gd name="T55" fmla="*/ 2147483647 h 1909"/>
                <a:gd name="T56" fmla="*/ 2147483647 w 3456"/>
                <a:gd name="T57" fmla="*/ 2147483647 h 1909"/>
                <a:gd name="T58" fmla="*/ 2147483647 w 3456"/>
                <a:gd name="T59" fmla="*/ 2147483647 h 1909"/>
                <a:gd name="T60" fmla="*/ 2147483647 w 3456"/>
                <a:gd name="T61" fmla="*/ 2147483647 h 1909"/>
                <a:gd name="T62" fmla="*/ 2147483647 w 3456"/>
                <a:gd name="T63" fmla="*/ 2147483647 h 1909"/>
                <a:gd name="T64" fmla="*/ 2147483647 w 3456"/>
                <a:gd name="T65" fmla="*/ 2147483647 h 1909"/>
                <a:gd name="T66" fmla="*/ 2147483647 w 3456"/>
                <a:gd name="T67" fmla="*/ 2147483647 h 1909"/>
                <a:gd name="T68" fmla="*/ 2147483647 w 3456"/>
                <a:gd name="T69" fmla="*/ 2147483647 h 1909"/>
                <a:gd name="T70" fmla="*/ 2147483647 w 3456"/>
                <a:gd name="T71" fmla="*/ 2147483647 h 1909"/>
                <a:gd name="T72" fmla="*/ 2147483647 w 3456"/>
                <a:gd name="T73" fmla="*/ 2147483647 h 1909"/>
                <a:gd name="T74" fmla="*/ 2147483647 w 3456"/>
                <a:gd name="T75" fmla="*/ 2147483647 h 1909"/>
                <a:gd name="T76" fmla="*/ 2147483647 w 3456"/>
                <a:gd name="T77" fmla="*/ 2147483647 h 1909"/>
                <a:gd name="T78" fmla="*/ 2147483647 w 3456"/>
                <a:gd name="T79" fmla="*/ 2147483647 h 1909"/>
                <a:gd name="T80" fmla="*/ 2147483647 w 3456"/>
                <a:gd name="T81" fmla="*/ 2147483647 h 1909"/>
                <a:gd name="T82" fmla="*/ 2147483647 w 3456"/>
                <a:gd name="T83" fmla="*/ 2147483647 h 1909"/>
                <a:gd name="T84" fmla="*/ 0 w 3456"/>
                <a:gd name="T85" fmla="*/ 2147483647 h 1909"/>
                <a:gd name="T86" fmla="*/ 2147483647 w 3456"/>
                <a:gd name="T87" fmla="*/ 2147483647 h 1909"/>
                <a:gd name="T88" fmla="*/ 2147483647 w 3456"/>
                <a:gd name="T89" fmla="*/ 2147483647 h 1909"/>
                <a:gd name="T90" fmla="*/ 2147483647 w 3456"/>
                <a:gd name="T91" fmla="*/ 2147483647 h 1909"/>
                <a:gd name="T92" fmla="*/ 2147483647 w 3456"/>
                <a:gd name="T93" fmla="*/ 2147483647 h 1909"/>
                <a:gd name="T94" fmla="*/ 2147483647 w 3456"/>
                <a:gd name="T95" fmla="*/ 2147483647 h 1909"/>
                <a:gd name="T96" fmla="*/ 2147483647 w 3456"/>
                <a:gd name="T97" fmla="*/ 2147483647 h 1909"/>
                <a:gd name="T98" fmla="*/ 2147483647 w 3456"/>
                <a:gd name="T99" fmla="*/ 2147483647 h 1909"/>
                <a:gd name="T100" fmla="*/ 2147483647 w 3456"/>
                <a:gd name="T101" fmla="*/ 2147483647 h 1909"/>
                <a:gd name="T102" fmla="*/ 2147483647 w 3456"/>
                <a:gd name="T103" fmla="*/ 2147483647 h 1909"/>
                <a:gd name="T104" fmla="*/ 2147483647 w 3456"/>
                <a:gd name="T105" fmla="*/ 0 h 19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456"/>
                <a:gd name="T160" fmla="*/ 0 h 1909"/>
                <a:gd name="T161" fmla="*/ 3456 w 3456"/>
                <a:gd name="T162" fmla="*/ 1909 h 19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456" h="1909">
                  <a:moveTo>
                    <a:pt x="1579" y="269"/>
                  </a:moveTo>
                  <a:lnTo>
                    <a:pt x="1519" y="272"/>
                  </a:lnTo>
                  <a:lnTo>
                    <a:pt x="1459" y="282"/>
                  </a:lnTo>
                  <a:lnTo>
                    <a:pt x="1402" y="297"/>
                  </a:lnTo>
                  <a:lnTo>
                    <a:pt x="1348" y="319"/>
                  </a:lnTo>
                  <a:lnTo>
                    <a:pt x="1295" y="346"/>
                  </a:lnTo>
                  <a:lnTo>
                    <a:pt x="1247" y="378"/>
                  </a:lnTo>
                  <a:lnTo>
                    <a:pt x="1203" y="414"/>
                  </a:lnTo>
                  <a:lnTo>
                    <a:pt x="1162" y="455"/>
                  </a:lnTo>
                  <a:lnTo>
                    <a:pt x="1126" y="500"/>
                  </a:lnTo>
                  <a:lnTo>
                    <a:pt x="1094" y="548"/>
                  </a:lnTo>
                  <a:lnTo>
                    <a:pt x="1068" y="599"/>
                  </a:lnTo>
                  <a:lnTo>
                    <a:pt x="1046" y="654"/>
                  </a:lnTo>
                  <a:lnTo>
                    <a:pt x="1031" y="711"/>
                  </a:lnTo>
                  <a:lnTo>
                    <a:pt x="1021" y="770"/>
                  </a:lnTo>
                  <a:lnTo>
                    <a:pt x="1018" y="831"/>
                  </a:lnTo>
                  <a:lnTo>
                    <a:pt x="1019" y="870"/>
                  </a:lnTo>
                  <a:lnTo>
                    <a:pt x="1023" y="909"/>
                  </a:lnTo>
                  <a:lnTo>
                    <a:pt x="1048" y="1092"/>
                  </a:lnTo>
                  <a:lnTo>
                    <a:pt x="867" y="1060"/>
                  </a:lnTo>
                  <a:lnTo>
                    <a:pt x="841" y="1057"/>
                  </a:lnTo>
                  <a:lnTo>
                    <a:pt x="816" y="1056"/>
                  </a:lnTo>
                  <a:lnTo>
                    <a:pt x="775" y="1059"/>
                  </a:lnTo>
                  <a:lnTo>
                    <a:pt x="735" y="1067"/>
                  </a:lnTo>
                  <a:lnTo>
                    <a:pt x="699" y="1081"/>
                  </a:lnTo>
                  <a:lnTo>
                    <a:pt x="663" y="1099"/>
                  </a:lnTo>
                  <a:lnTo>
                    <a:pt x="632" y="1122"/>
                  </a:lnTo>
                  <a:lnTo>
                    <a:pt x="602" y="1149"/>
                  </a:lnTo>
                  <a:lnTo>
                    <a:pt x="578" y="1179"/>
                  </a:lnTo>
                  <a:lnTo>
                    <a:pt x="557" y="1213"/>
                  </a:lnTo>
                  <a:lnTo>
                    <a:pt x="541" y="1250"/>
                  </a:lnTo>
                  <a:lnTo>
                    <a:pt x="530" y="1289"/>
                  </a:lnTo>
                  <a:lnTo>
                    <a:pt x="508" y="1402"/>
                  </a:lnTo>
                  <a:lnTo>
                    <a:pt x="394" y="1397"/>
                  </a:lnTo>
                  <a:lnTo>
                    <a:pt x="387" y="1397"/>
                  </a:lnTo>
                  <a:lnTo>
                    <a:pt x="360" y="1400"/>
                  </a:lnTo>
                  <a:lnTo>
                    <a:pt x="335" y="1410"/>
                  </a:lnTo>
                  <a:lnTo>
                    <a:pt x="313" y="1425"/>
                  </a:lnTo>
                  <a:lnTo>
                    <a:pt x="295" y="1443"/>
                  </a:lnTo>
                  <a:lnTo>
                    <a:pt x="281" y="1465"/>
                  </a:lnTo>
                  <a:lnTo>
                    <a:pt x="272" y="1491"/>
                  </a:lnTo>
                  <a:lnTo>
                    <a:pt x="269" y="1518"/>
                  </a:lnTo>
                  <a:lnTo>
                    <a:pt x="272" y="1546"/>
                  </a:lnTo>
                  <a:lnTo>
                    <a:pt x="281" y="1571"/>
                  </a:lnTo>
                  <a:lnTo>
                    <a:pt x="295" y="1593"/>
                  </a:lnTo>
                  <a:lnTo>
                    <a:pt x="314" y="1612"/>
                  </a:lnTo>
                  <a:lnTo>
                    <a:pt x="336" y="1627"/>
                  </a:lnTo>
                  <a:lnTo>
                    <a:pt x="362" y="1636"/>
                  </a:lnTo>
                  <a:lnTo>
                    <a:pt x="390" y="1640"/>
                  </a:lnTo>
                  <a:lnTo>
                    <a:pt x="2695" y="1640"/>
                  </a:lnTo>
                  <a:lnTo>
                    <a:pt x="2751" y="1636"/>
                  </a:lnTo>
                  <a:lnTo>
                    <a:pt x="2807" y="1626"/>
                  </a:lnTo>
                  <a:lnTo>
                    <a:pt x="2860" y="1610"/>
                  </a:lnTo>
                  <a:lnTo>
                    <a:pt x="2910" y="1589"/>
                  </a:lnTo>
                  <a:lnTo>
                    <a:pt x="2959" y="1562"/>
                  </a:lnTo>
                  <a:lnTo>
                    <a:pt x="3003" y="1531"/>
                  </a:lnTo>
                  <a:lnTo>
                    <a:pt x="3042" y="1495"/>
                  </a:lnTo>
                  <a:lnTo>
                    <a:pt x="3079" y="1454"/>
                  </a:lnTo>
                  <a:lnTo>
                    <a:pt x="3110" y="1410"/>
                  </a:lnTo>
                  <a:lnTo>
                    <a:pt x="3137" y="1363"/>
                  </a:lnTo>
                  <a:lnTo>
                    <a:pt x="3159" y="1312"/>
                  </a:lnTo>
                  <a:lnTo>
                    <a:pt x="3174" y="1259"/>
                  </a:lnTo>
                  <a:lnTo>
                    <a:pt x="3184" y="1203"/>
                  </a:lnTo>
                  <a:lnTo>
                    <a:pt x="3187" y="1146"/>
                  </a:lnTo>
                  <a:lnTo>
                    <a:pt x="3184" y="1088"/>
                  </a:lnTo>
                  <a:lnTo>
                    <a:pt x="3174" y="1032"/>
                  </a:lnTo>
                  <a:lnTo>
                    <a:pt x="3159" y="980"/>
                  </a:lnTo>
                  <a:lnTo>
                    <a:pt x="3137" y="929"/>
                  </a:lnTo>
                  <a:lnTo>
                    <a:pt x="3110" y="881"/>
                  </a:lnTo>
                  <a:lnTo>
                    <a:pt x="3079" y="837"/>
                  </a:lnTo>
                  <a:lnTo>
                    <a:pt x="3042" y="798"/>
                  </a:lnTo>
                  <a:lnTo>
                    <a:pt x="3003" y="761"/>
                  </a:lnTo>
                  <a:lnTo>
                    <a:pt x="2959" y="729"/>
                  </a:lnTo>
                  <a:lnTo>
                    <a:pt x="2910" y="703"/>
                  </a:lnTo>
                  <a:lnTo>
                    <a:pt x="2860" y="681"/>
                  </a:lnTo>
                  <a:lnTo>
                    <a:pt x="2807" y="665"/>
                  </a:lnTo>
                  <a:lnTo>
                    <a:pt x="2751" y="656"/>
                  </a:lnTo>
                  <a:lnTo>
                    <a:pt x="2695" y="653"/>
                  </a:lnTo>
                  <a:lnTo>
                    <a:pt x="2640" y="656"/>
                  </a:lnTo>
                  <a:lnTo>
                    <a:pt x="2587" y="664"/>
                  </a:lnTo>
                  <a:lnTo>
                    <a:pt x="2535" y="679"/>
                  </a:lnTo>
                  <a:lnTo>
                    <a:pt x="2486" y="698"/>
                  </a:lnTo>
                  <a:lnTo>
                    <a:pt x="2439" y="723"/>
                  </a:lnTo>
                  <a:lnTo>
                    <a:pt x="2395" y="754"/>
                  </a:lnTo>
                  <a:lnTo>
                    <a:pt x="2354" y="789"/>
                  </a:lnTo>
                  <a:lnTo>
                    <a:pt x="2178" y="958"/>
                  </a:lnTo>
                  <a:lnTo>
                    <a:pt x="2129" y="719"/>
                  </a:lnTo>
                  <a:lnTo>
                    <a:pt x="2115" y="664"/>
                  </a:lnTo>
                  <a:lnTo>
                    <a:pt x="2097" y="612"/>
                  </a:lnTo>
                  <a:lnTo>
                    <a:pt x="2073" y="563"/>
                  </a:lnTo>
                  <a:lnTo>
                    <a:pt x="2043" y="516"/>
                  </a:lnTo>
                  <a:lnTo>
                    <a:pt x="2011" y="473"/>
                  </a:lnTo>
                  <a:lnTo>
                    <a:pt x="1974" y="433"/>
                  </a:lnTo>
                  <a:lnTo>
                    <a:pt x="1934" y="396"/>
                  </a:lnTo>
                  <a:lnTo>
                    <a:pt x="1890" y="365"/>
                  </a:lnTo>
                  <a:lnTo>
                    <a:pt x="1844" y="336"/>
                  </a:lnTo>
                  <a:lnTo>
                    <a:pt x="1795" y="313"/>
                  </a:lnTo>
                  <a:lnTo>
                    <a:pt x="1744" y="294"/>
                  </a:lnTo>
                  <a:lnTo>
                    <a:pt x="1690" y="281"/>
                  </a:lnTo>
                  <a:lnTo>
                    <a:pt x="1636" y="272"/>
                  </a:lnTo>
                  <a:lnTo>
                    <a:pt x="1579" y="269"/>
                  </a:lnTo>
                  <a:close/>
                  <a:moveTo>
                    <a:pt x="1579" y="0"/>
                  </a:moveTo>
                  <a:lnTo>
                    <a:pt x="1648" y="3"/>
                  </a:lnTo>
                  <a:lnTo>
                    <a:pt x="1716" y="11"/>
                  </a:lnTo>
                  <a:lnTo>
                    <a:pt x="1782" y="26"/>
                  </a:lnTo>
                  <a:lnTo>
                    <a:pt x="1846" y="45"/>
                  </a:lnTo>
                  <a:lnTo>
                    <a:pt x="1909" y="69"/>
                  </a:lnTo>
                  <a:lnTo>
                    <a:pt x="1969" y="98"/>
                  </a:lnTo>
                  <a:lnTo>
                    <a:pt x="2026" y="132"/>
                  </a:lnTo>
                  <a:lnTo>
                    <a:pt x="2080" y="170"/>
                  </a:lnTo>
                  <a:lnTo>
                    <a:pt x="2131" y="211"/>
                  </a:lnTo>
                  <a:lnTo>
                    <a:pt x="2179" y="258"/>
                  </a:lnTo>
                  <a:lnTo>
                    <a:pt x="2223" y="307"/>
                  </a:lnTo>
                  <a:lnTo>
                    <a:pt x="2263" y="360"/>
                  </a:lnTo>
                  <a:lnTo>
                    <a:pt x="2299" y="417"/>
                  </a:lnTo>
                  <a:lnTo>
                    <a:pt x="2330" y="476"/>
                  </a:lnTo>
                  <a:lnTo>
                    <a:pt x="2387" y="448"/>
                  </a:lnTo>
                  <a:lnTo>
                    <a:pt x="2445" y="425"/>
                  </a:lnTo>
                  <a:lnTo>
                    <a:pt x="2505" y="407"/>
                  </a:lnTo>
                  <a:lnTo>
                    <a:pt x="2567" y="394"/>
                  </a:lnTo>
                  <a:lnTo>
                    <a:pt x="2630" y="386"/>
                  </a:lnTo>
                  <a:lnTo>
                    <a:pt x="2695" y="383"/>
                  </a:lnTo>
                  <a:lnTo>
                    <a:pt x="2764" y="387"/>
                  </a:lnTo>
                  <a:lnTo>
                    <a:pt x="2831" y="396"/>
                  </a:lnTo>
                  <a:lnTo>
                    <a:pt x="2897" y="411"/>
                  </a:lnTo>
                  <a:lnTo>
                    <a:pt x="2960" y="431"/>
                  </a:lnTo>
                  <a:lnTo>
                    <a:pt x="3020" y="457"/>
                  </a:lnTo>
                  <a:lnTo>
                    <a:pt x="3078" y="487"/>
                  </a:lnTo>
                  <a:lnTo>
                    <a:pt x="3133" y="523"/>
                  </a:lnTo>
                  <a:lnTo>
                    <a:pt x="3185" y="563"/>
                  </a:lnTo>
                  <a:lnTo>
                    <a:pt x="3233" y="607"/>
                  </a:lnTo>
                  <a:lnTo>
                    <a:pt x="3277" y="655"/>
                  </a:lnTo>
                  <a:lnTo>
                    <a:pt x="3317" y="706"/>
                  </a:lnTo>
                  <a:lnTo>
                    <a:pt x="3352" y="761"/>
                  </a:lnTo>
                  <a:lnTo>
                    <a:pt x="3383" y="820"/>
                  </a:lnTo>
                  <a:lnTo>
                    <a:pt x="3408" y="880"/>
                  </a:lnTo>
                  <a:lnTo>
                    <a:pt x="3429" y="943"/>
                  </a:lnTo>
                  <a:lnTo>
                    <a:pt x="3443" y="1009"/>
                  </a:lnTo>
                  <a:lnTo>
                    <a:pt x="3453" y="1077"/>
                  </a:lnTo>
                  <a:lnTo>
                    <a:pt x="3456" y="1146"/>
                  </a:lnTo>
                  <a:lnTo>
                    <a:pt x="3453" y="1215"/>
                  </a:lnTo>
                  <a:lnTo>
                    <a:pt x="3443" y="1283"/>
                  </a:lnTo>
                  <a:lnTo>
                    <a:pt x="3429" y="1348"/>
                  </a:lnTo>
                  <a:lnTo>
                    <a:pt x="3408" y="1412"/>
                  </a:lnTo>
                  <a:lnTo>
                    <a:pt x="3383" y="1473"/>
                  </a:lnTo>
                  <a:lnTo>
                    <a:pt x="3352" y="1531"/>
                  </a:lnTo>
                  <a:lnTo>
                    <a:pt x="3317" y="1585"/>
                  </a:lnTo>
                  <a:lnTo>
                    <a:pt x="3277" y="1637"/>
                  </a:lnTo>
                  <a:lnTo>
                    <a:pt x="3233" y="1685"/>
                  </a:lnTo>
                  <a:lnTo>
                    <a:pt x="3185" y="1729"/>
                  </a:lnTo>
                  <a:lnTo>
                    <a:pt x="3133" y="1769"/>
                  </a:lnTo>
                  <a:lnTo>
                    <a:pt x="3078" y="1804"/>
                  </a:lnTo>
                  <a:lnTo>
                    <a:pt x="3020" y="1835"/>
                  </a:lnTo>
                  <a:lnTo>
                    <a:pt x="2960" y="1861"/>
                  </a:lnTo>
                  <a:lnTo>
                    <a:pt x="2897" y="1882"/>
                  </a:lnTo>
                  <a:lnTo>
                    <a:pt x="2831" y="1896"/>
                  </a:lnTo>
                  <a:lnTo>
                    <a:pt x="2764" y="1906"/>
                  </a:lnTo>
                  <a:lnTo>
                    <a:pt x="2695" y="1909"/>
                  </a:lnTo>
                  <a:lnTo>
                    <a:pt x="390" y="1909"/>
                  </a:lnTo>
                  <a:lnTo>
                    <a:pt x="341" y="1906"/>
                  </a:lnTo>
                  <a:lnTo>
                    <a:pt x="294" y="1896"/>
                  </a:lnTo>
                  <a:lnTo>
                    <a:pt x="249" y="1882"/>
                  </a:lnTo>
                  <a:lnTo>
                    <a:pt x="206" y="1863"/>
                  </a:lnTo>
                  <a:lnTo>
                    <a:pt x="168" y="1839"/>
                  </a:lnTo>
                  <a:lnTo>
                    <a:pt x="131" y="1809"/>
                  </a:lnTo>
                  <a:lnTo>
                    <a:pt x="98" y="1777"/>
                  </a:lnTo>
                  <a:lnTo>
                    <a:pt x="70" y="1741"/>
                  </a:lnTo>
                  <a:lnTo>
                    <a:pt x="46" y="1701"/>
                  </a:lnTo>
                  <a:lnTo>
                    <a:pt x="26" y="1659"/>
                  </a:lnTo>
                  <a:lnTo>
                    <a:pt x="12" y="1614"/>
                  </a:lnTo>
                  <a:lnTo>
                    <a:pt x="3" y="1567"/>
                  </a:lnTo>
                  <a:lnTo>
                    <a:pt x="0" y="1518"/>
                  </a:lnTo>
                  <a:lnTo>
                    <a:pt x="3" y="1469"/>
                  </a:lnTo>
                  <a:lnTo>
                    <a:pt x="12" y="1421"/>
                  </a:lnTo>
                  <a:lnTo>
                    <a:pt x="26" y="1376"/>
                  </a:lnTo>
                  <a:lnTo>
                    <a:pt x="46" y="1334"/>
                  </a:lnTo>
                  <a:lnTo>
                    <a:pt x="70" y="1295"/>
                  </a:lnTo>
                  <a:lnTo>
                    <a:pt x="99" y="1259"/>
                  </a:lnTo>
                  <a:lnTo>
                    <a:pt x="132" y="1225"/>
                  </a:lnTo>
                  <a:lnTo>
                    <a:pt x="168" y="1197"/>
                  </a:lnTo>
                  <a:lnTo>
                    <a:pt x="207" y="1173"/>
                  </a:lnTo>
                  <a:lnTo>
                    <a:pt x="250" y="1154"/>
                  </a:lnTo>
                  <a:lnTo>
                    <a:pt x="295" y="1139"/>
                  </a:lnTo>
                  <a:lnTo>
                    <a:pt x="318" y="1089"/>
                  </a:lnTo>
                  <a:lnTo>
                    <a:pt x="346" y="1042"/>
                  </a:lnTo>
                  <a:lnTo>
                    <a:pt x="378" y="998"/>
                  </a:lnTo>
                  <a:lnTo>
                    <a:pt x="414" y="957"/>
                  </a:lnTo>
                  <a:lnTo>
                    <a:pt x="453" y="920"/>
                  </a:lnTo>
                  <a:lnTo>
                    <a:pt x="496" y="887"/>
                  </a:lnTo>
                  <a:lnTo>
                    <a:pt x="542" y="858"/>
                  </a:lnTo>
                  <a:lnTo>
                    <a:pt x="591" y="834"/>
                  </a:lnTo>
                  <a:lnTo>
                    <a:pt x="642" y="814"/>
                  </a:lnTo>
                  <a:lnTo>
                    <a:pt x="695" y="800"/>
                  </a:lnTo>
                  <a:lnTo>
                    <a:pt x="750" y="790"/>
                  </a:lnTo>
                  <a:lnTo>
                    <a:pt x="756" y="718"/>
                  </a:lnTo>
                  <a:lnTo>
                    <a:pt x="770" y="648"/>
                  </a:lnTo>
                  <a:lnTo>
                    <a:pt x="788" y="580"/>
                  </a:lnTo>
                  <a:lnTo>
                    <a:pt x="812" y="513"/>
                  </a:lnTo>
                  <a:lnTo>
                    <a:pt x="841" y="451"/>
                  </a:lnTo>
                  <a:lnTo>
                    <a:pt x="876" y="390"/>
                  </a:lnTo>
                  <a:lnTo>
                    <a:pt x="914" y="333"/>
                  </a:lnTo>
                  <a:lnTo>
                    <a:pt x="958" y="280"/>
                  </a:lnTo>
                  <a:lnTo>
                    <a:pt x="1006" y="230"/>
                  </a:lnTo>
                  <a:lnTo>
                    <a:pt x="1058" y="185"/>
                  </a:lnTo>
                  <a:lnTo>
                    <a:pt x="1113" y="144"/>
                  </a:lnTo>
                  <a:lnTo>
                    <a:pt x="1172" y="108"/>
                  </a:lnTo>
                  <a:lnTo>
                    <a:pt x="1234" y="76"/>
                  </a:lnTo>
                  <a:lnTo>
                    <a:pt x="1298" y="49"/>
                  </a:lnTo>
                  <a:lnTo>
                    <a:pt x="1365" y="28"/>
                  </a:lnTo>
                  <a:lnTo>
                    <a:pt x="1435" y="12"/>
                  </a:lnTo>
                  <a:lnTo>
                    <a:pt x="1506" y="3"/>
                  </a:lnTo>
                  <a:lnTo>
                    <a:pt x="1579" y="0"/>
                  </a:lnTo>
                  <a:close/>
                </a:path>
              </a:pathLst>
            </a:custGeom>
            <a:solidFill>
              <a:srgbClr val="797979"/>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02" name="Freeform 140"/>
            <p:cNvSpPr>
              <a:spLocks noChangeArrowheads="1"/>
            </p:cNvSpPr>
            <p:nvPr/>
          </p:nvSpPr>
          <p:spPr bwMode="auto">
            <a:xfrm>
              <a:off x="2895600" y="2819400"/>
              <a:ext cx="400050" cy="304800"/>
            </a:xfrm>
            <a:custGeom>
              <a:avLst/>
              <a:gdLst>
                <a:gd name="T0" fmla="*/ 2147483647 w 3226"/>
                <a:gd name="T1" fmla="*/ 2147483647 h 2454"/>
                <a:gd name="T2" fmla="*/ 2147483647 w 3226"/>
                <a:gd name="T3" fmla="*/ 2147483647 h 2454"/>
                <a:gd name="T4" fmla="*/ 2147483647 w 3226"/>
                <a:gd name="T5" fmla="*/ 2147483647 h 2454"/>
                <a:gd name="T6" fmla="*/ 2147483647 w 3226"/>
                <a:gd name="T7" fmla="*/ 2147483647 h 2454"/>
                <a:gd name="T8" fmla="*/ 2147483647 w 3226"/>
                <a:gd name="T9" fmla="*/ 2147483647 h 2454"/>
                <a:gd name="T10" fmla="*/ 2147483647 w 3226"/>
                <a:gd name="T11" fmla="*/ 2147483647 h 2454"/>
                <a:gd name="T12" fmla="*/ 2147483647 w 3226"/>
                <a:gd name="T13" fmla="*/ 2147483647 h 2454"/>
                <a:gd name="T14" fmla="*/ 2147483647 w 3226"/>
                <a:gd name="T15" fmla="*/ 2147483647 h 2454"/>
                <a:gd name="T16" fmla="*/ 2147483647 w 3226"/>
                <a:gd name="T17" fmla="*/ 2147483647 h 2454"/>
                <a:gd name="T18" fmla="*/ 2147483647 w 3226"/>
                <a:gd name="T19" fmla="*/ 2147483647 h 2454"/>
                <a:gd name="T20" fmla="*/ 2147483647 w 3226"/>
                <a:gd name="T21" fmla="*/ 2147483647 h 2454"/>
                <a:gd name="T22" fmla="*/ 2147483647 w 3226"/>
                <a:gd name="T23" fmla="*/ 2147483647 h 2454"/>
                <a:gd name="T24" fmla="*/ 2147483647 w 3226"/>
                <a:gd name="T25" fmla="*/ 2147483647 h 2454"/>
                <a:gd name="T26" fmla="*/ 2147483647 w 3226"/>
                <a:gd name="T27" fmla="*/ 2147483647 h 2454"/>
                <a:gd name="T28" fmla="*/ 2147483647 w 3226"/>
                <a:gd name="T29" fmla="*/ 2147483647 h 2454"/>
                <a:gd name="T30" fmla="*/ 2147483647 w 3226"/>
                <a:gd name="T31" fmla="*/ 2147483647 h 2454"/>
                <a:gd name="T32" fmla="*/ 2147483647 w 3226"/>
                <a:gd name="T33" fmla="*/ 2147483647 h 2454"/>
                <a:gd name="T34" fmla="*/ 2147483647 w 3226"/>
                <a:gd name="T35" fmla="*/ 2147483647 h 2454"/>
                <a:gd name="T36" fmla="*/ 2147483647 w 3226"/>
                <a:gd name="T37" fmla="*/ 2147483647 h 2454"/>
                <a:gd name="T38" fmla="*/ 2147483647 w 3226"/>
                <a:gd name="T39" fmla="*/ 2147483647 h 2454"/>
                <a:gd name="T40" fmla="*/ 2147483647 w 3226"/>
                <a:gd name="T41" fmla="*/ 2147483647 h 2454"/>
                <a:gd name="T42" fmla="*/ 2147483647 w 3226"/>
                <a:gd name="T43" fmla="*/ 2147483647 h 2454"/>
                <a:gd name="T44" fmla="*/ 2147483647 w 3226"/>
                <a:gd name="T45" fmla="*/ 2147483647 h 2454"/>
                <a:gd name="T46" fmla="*/ 2147483647 w 3226"/>
                <a:gd name="T47" fmla="*/ 2147483647 h 2454"/>
                <a:gd name="T48" fmla="*/ 2147483647 w 3226"/>
                <a:gd name="T49" fmla="*/ 2147483647 h 2454"/>
                <a:gd name="T50" fmla="*/ 2147483647 w 3226"/>
                <a:gd name="T51" fmla="*/ 2147483647 h 2454"/>
                <a:gd name="T52" fmla="*/ 2147483647 w 3226"/>
                <a:gd name="T53" fmla="*/ 2147483647 h 2454"/>
                <a:gd name="T54" fmla="*/ 2147483647 w 3226"/>
                <a:gd name="T55" fmla="*/ 2147483647 h 2454"/>
                <a:gd name="T56" fmla="*/ 2147483647 w 3226"/>
                <a:gd name="T57" fmla="*/ 2147483647 h 2454"/>
                <a:gd name="T58" fmla="*/ 2147483647 w 3226"/>
                <a:gd name="T59" fmla="*/ 2147483647 h 2454"/>
                <a:gd name="T60" fmla="*/ 2147483647 w 3226"/>
                <a:gd name="T61" fmla="*/ 2147483647 h 2454"/>
                <a:gd name="T62" fmla="*/ 2147483647 w 3226"/>
                <a:gd name="T63" fmla="*/ 2147483647 h 2454"/>
                <a:gd name="T64" fmla="*/ 2147483647 w 3226"/>
                <a:gd name="T65" fmla="*/ 2147483647 h 2454"/>
                <a:gd name="T66" fmla="*/ 2147483647 w 3226"/>
                <a:gd name="T67" fmla="*/ 2147483647 h 2454"/>
                <a:gd name="T68" fmla="*/ 2147483647 w 3226"/>
                <a:gd name="T69" fmla="*/ 2147483647 h 2454"/>
                <a:gd name="T70" fmla="*/ 2147483647 w 3226"/>
                <a:gd name="T71" fmla="*/ 2147483647 h 2454"/>
                <a:gd name="T72" fmla="*/ 2147483647 w 3226"/>
                <a:gd name="T73" fmla="*/ 2147483647 h 2454"/>
                <a:gd name="T74" fmla="*/ 2147483647 w 3226"/>
                <a:gd name="T75" fmla="*/ 2147483647 h 2454"/>
                <a:gd name="T76" fmla="*/ 2147483647 w 3226"/>
                <a:gd name="T77" fmla="*/ 2147483647 h 2454"/>
                <a:gd name="T78" fmla="*/ 2147483647 w 3226"/>
                <a:gd name="T79" fmla="*/ 2147483647 h 2454"/>
                <a:gd name="T80" fmla="*/ 2147483647 w 3226"/>
                <a:gd name="T81" fmla="*/ 2147483647 h 2454"/>
                <a:gd name="T82" fmla="*/ 2147483647 w 3226"/>
                <a:gd name="T83" fmla="*/ 2147483647 h 2454"/>
                <a:gd name="T84" fmla="*/ 2147483647 w 3226"/>
                <a:gd name="T85" fmla="*/ 2147483647 h 2454"/>
                <a:gd name="T86" fmla="*/ 2147483647 w 3226"/>
                <a:gd name="T87" fmla="*/ 2147483647 h 2454"/>
                <a:gd name="T88" fmla="*/ 2147483647 w 3226"/>
                <a:gd name="T89" fmla="*/ 0 h 2454"/>
                <a:gd name="T90" fmla="*/ 2147483647 w 3226"/>
                <a:gd name="T91" fmla="*/ 2147483647 h 2454"/>
                <a:gd name="T92" fmla="*/ 2147483647 w 3226"/>
                <a:gd name="T93" fmla="*/ 2147483647 h 2454"/>
                <a:gd name="T94" fmla="*/ 2147483647 w 3226"/>
                <a:gd name="T95" fmla="*/ 2147483647 h 2454"/>
                <a:gd name="T96" fmla="*/ 2147483647 w 3226"/>
                <a:gd name="T97" fmla="*/ 2147483647 h 2454"/>
                <a:gd name="T98" fmla="*/ 2147483647 w 3226"/>
                <a:gd name="T99" fmla="*/ 2147483647 h 2454"/>
                <a:gd name="T100" fmla="*/ 2147483647 w 3226"/>
                <a:gd name="T101" fmla="*/ 2147483647 h 2454"/>
                <a:gd name="T102" fmla="*/ 2147483647 w 3226"/>
                <a:gd name="T103" fmla="*/ 2147483647 h 2454"/>
                <a:gd name="T104" fmla="*/ 2147483647 w 3226"/>
                <a:gd name="T105" fmla="*/ 2147483647 h 2454"/>
                <a:gd name="T106" fmla="*/ 2147483647 w 3226"/>
                <a:gd name="T107" fmla="*/ 2147483647 h 2454"/>
                <a:gd name="T108" fmla="*/ 2147483647 w 3226"/>
                <a:gd name="T109" fmla="*/ 2147483647 h 2454"/>
                <a:gd name="T110" fmla="*/ 2147483647 w 3226"/>
                <a:gd name="T111" fmla="*/ 2147483647 h 2454"/>
                <a:gd name="T112" fmla="*/ 2147483647 w 3226"/>
                <a:gd name="T113" fmla="*/ 2147483647 h 2454"/>
                <a:gd name="T114" fmla="*/ 2147483647 w 3226"/>
                <a:gd name="T115" fmla="*/ 2147483647 h 2454"/>
                <a:gd name="T116" fmla="*/ 2147483647 w 3226"/>
                <a:gd name="T117" fmla="*/ 2147483647 h 2454"/>
                <a:gd name="T118" fmla="*/ 2147483647 w 3226"/>
                <a:gd name="T119" fmla="*/ 2147483647 h 24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26"/>
                <a:gd name="T181" fmla="*/ 0 h 2454"/>
                <a:gd name="T182" fmla="*/ 3226 w 3226"/>
                <a:gd name="T183" fmla="*/ 2454 h 24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26" h="2454">
                  <a:moveTo>
                    <a:pt x="949" y="1789"/>
                  </a:moveTo>
                  <a:lnTo>
                    <a:pt x="965" y="1823"/>
                  </a:lnTo>
                  <a:lnTo>
                    <a:pt x="981" y="1857"/>
                  </a:lnTo>
                  <a:lnTo>
                    <a:pt x="999" y="1893"/>
                  </a:lnTo>
                  <a:lnTo>
                    <a:pt x="979" y="1901"/>
                  </a:lnTo>
                  <a:lnTo>
                    <a:pt x="959" y="1907"/>
                  </a:lnTo>
                  <a:lnTo>
                    <a:pt x="937" y="1911"/>
                  </a:lnTo>
                  <a:lnTo>
                    <a:pt x="930" y="1873"/>
                  </a:lnTo>
                  <a:lnTo>
                    <a:pt x="924" y="1835"/>
                  </a:lnTo>
                  <a:lnTo>
                    <a:pt x="919" y="1796"/>
                  </a:lnTo>
                  <a:lnTo>
                    <a:pt x="935" y="1794"/>
                  </a:lnTo>
                  <a:lnTo>
                    <a:pt x="949" y="1789"/>
                  </a:lnTo>
                  <a:close/>
                  <a:moveTo>
                    <a:pt x="852" y="1778"/>
                  </a:moveTo>
                  <a:lnTo>
                    <a:pt x="858" y="1782"/>
                  </a:lnTo>
                  <a:lnTo>
                    <a:pt x="866" y="1788"/>
                  </a:lnTo>
                  <a:lnTo>
                    <a:pt x="876" y="1792"/>
                  </a:lnTo>
                  <a:lnTo>
                    <a:pt x="863" y="1824"/>
                  </a:lnTo>
                  <a:lnTo>
                    <a:pt x="851" y="1858"/>
                  </a:lnTo>
                  <a:lnTo>
                    <a:pt x="837" y="1893"/>
                  </a:lnTo>
                  <a:lnTo>
                    <a:pt x="816" y="1886"/>
                  </a:lnTo>
                  <a:lnTo>
                    <a:pt x="796" y="1875"/>
                  </a:lnTo>
                  <a:lnTo>
                    <a:pt x="776" y="1861"/>
                  </a:lnTo>
                  <a:lnTo>
                    <a:pt x="814" y="1819"/>
                  </a:lnTo>
                  <a:lnTo>
                    <a:pt x="852" y="1778"/>
                  </a:lnTo>
                  <a:close/>
                  <a:moveTo>
                    <a:pt x="999" y="1731"/>
                  </a:moveTo>
                  <a:lnTo>
                    <a:pt x="1053" y="1751"/>
                  </a:lnTo>
                  <a:lnTo>
                    <a:pt x="1109" y="1767"/>
                  </a:lnTo>
                  <a:lnTo>
                    <a:pt x="1094" y="1799"/>
                  </a:lnTo>
                  <a:lnTo>
                    <a:pt x="1077" y="1829"/>
                  </a:lnTo>
                  <a:lnTo>
                    <a:pt x="1046" y="1806"/>
                  </a:lnTo>
                  <a:lnTo>
                    <a:pt x="1014" y="1782"/>
                  </a:lnTo>
                  <a:lnTo>
                    <a:pt x="984" y="1760"/>
                  </a:lnTo>
                  <a:lnTo>
                    <a:pt x="989" y="1752"/>
                  </a:lnTo>
                  <a:lnTo>
                    <a:pt x="994" y="1741"/>
                  </a:lnTo>
                  <a:lnTo>
                    <a:pt x="999" y="1731"/>
                  </a:lnTo>
                  <a:close/>
                  <a:moveTo>
                    <a:pt x="816" y="1714"/>
                  </a:moveTo>
                  <a:lnTo>
                    <a:pt x="817" y="1722"/>
                  </a:lnTo>
                  <a:lnTo>
                    <a:pt x="819" y="1729"/>
                  </a:lnTo>
                  <a:lnTo>
                    <a:pt x="823" y="1738"/>
                  </a:lnTo>
                  <a:lnTo>
                    <a:pt x="788" y="1755"/>
                  </a:lnTo>
                  <a:lnTo>
                    <a:pt x="753" y="1768"/>
                  </a:lnTo>
                  <a:lnTo>
                    <a:pt x="715" y="1781"/>
                  </a:lnTo>
                  <a:lnTo>
                    <a:pt x="703" y="1750"/>
                  </a:lnTo>
                  <a:lnTo>
                    <a:pt x="694" y="1717"/>
                  </a:lnTo>
                  <a:lnTo>
                    <a:pt x="734" y="1717"/>
                  </a:lnTo>
                  <a:lnTo>
                    <a:pt x="775" y="1716"/>
                  </a:lnTo>
                  <a:lnTo>
                    <a:pt x="816" y="1714"/>
                  </a:lnTo>
                  <a:close/>
                  <a:moveTo>
                    <a:pt x="1096" y="1598"/>
                  </a:moveTo>
                  <a:lnTo>
                    <a:pt x="1099" y="1598"/>
                  </a:lnTo>
                  <a:lnTo>
                    <a:pt x="1107" y="1631"/>
                  </a:lnTo>
                  <a:lnTo>
                    <a:pt x="1113" y="1662"/>
                  </a:lnTo>
                  <a:lnTo>
                    <a:pt x="1078" y="1673"/>
                  </a:lnTo>
                  <a:lnTo>
                    <a:pt x="1042" y="1681"/>
                  </a:lnTo>
                  <a:lnTo>
                    <a:pt x="1002" y="1688"/>
                  </a:lnTo>
                  <a:lnTo>
                    <a:pt x="1002" y="1677"/>
                  </a:lnTo>
                  <a:lnTo>
                    <a:pt x="1000" y="1668"/>
                  </a:lnTo>
                  <a:lnTo>
                    <a:pt x="995" y="1659"/>
                  </a:lnTo>
                  <a:lnTo>
                    <a:pt x="995" y="1655"/>
                  </a:lnTo>
                  <a:lnTo>
                    <a:pt x="1047" y="1628"/>
                  </a:lnTo>
                  <a:lnTo>
                    <a:pt x="1096" y="1598"/>
                  </a:lnTo>
                  <a:close/>
                  <a:moveTo>
                    <a:pt x="745" y="1569"/>
                  </a:moveTo>
                  <a:lnTo>
                    <a:pt x="791" y="1606"/>
                  </a:lnTo>
                  <a:lnTo>
                    <a:pt x="833" y="1641"/>
                  </a:lnTo>
                  <a:lnTo>
                    <a:pt x="830" y="1652"/>
                  </a:lnTo>
                  <a:lnTo>
                    <a:pt x="825" y="1661"/>
                  </a:lnTo>
                  <a:lnTo>
                    <a:pt x="819" y="1671"/>
                  </a:lnTo>
                  <a:lnTo>
                    <a:pt x="785" y="1655"/>
                  </a:lnTo>
                  <a:lnTo>
                    <a:pt x="749" y="1641"/>
                  </a:lnTo>
                  <a:lnTo>
                    <a:pt x="712" y="1626"/>
                  </a:lnTo>
                  <a:lnTo>
                    <a:pt x="718" y="1610"/>
                  </a:lnTo>
                  <a:lnTo>
                    <a:pt x="724" y="1596"/>
                  </a:lnTo>
                  <a:lnTo>
                    <a:pt x="732" y="1582"/>
                  </a:lnTo>
                  <a:lnTo>
                    <a:pt x="745" y="1569"/>
                  </a:lnTo>
                  <a:close/>
                  <a:moveTo>
                    <a:pt x="980" y="1497"/>
                  </a:moveTo>
                  <a:lnTo>
                    <a:pt x="999" y="1503"/>
                  </a:lnTo>
                  <a:lnTo>
                    <a:pt x="1016" y="1513"/>
                  </a:lnTo>
                  <a:lnTo>
                    <a:pt x="1034" y="1526"/>
                  </a:lnTo>
                  <a:lnTo>
                    <a:pt x="966" y="1622"/>
                  </a:lnTo>
                  <a:lnTo>
                    <a:pt x="958" y="1618"/>
                  </a:lnTo>
                  <a:lnTo>
                    <a:pt x="949" y="1613"/>
                  </a:lnTo>
                  <a:lnTo>
                    <a:pt x="942" y="1609"/>
                  </a:lnTo>
                  <a:lnTo>
                    <a:pt x="953" y="1570"/>
                  </a:lnTo>
                  <a:lnTo>
                    <a:pt x="966" y="1533"/>
                  </a:lnTo>
                  <a:lnTo>
                    <a:pt x="980" y="1497"/>
                  </a:lnTo>
                  <a:close/>
                  <a:moveTo>
                    <a:pt x="883" y="1490"/>
                  </a:moveTo>
                  <a:lnTo>
                    <a:pt x="888" y="1529"/>
                  </a:lnTo>
                  <a:lnTo>
                    <a:pt x="894" y="1567"/>
                  </a:lnTo>
                  <a:lnTo>
                    <a:pt x="898" y="1605"/>
                  </a:lnTo>
                  <a:lnTo>
                    <a:pt x="888" y="1608"/>
                  </a:lnTo>
                  <a:lnTo>
                    <a:pt x="879" y="1611"/>
                  </a:lnTo>
                  <a:lnTo>
                    <a:pt x="870" y="1616"/>
                  </a:lnTo>
                  <a:lnTo>
                    <a:pt x="845" y="1562"/>
                  </a:lnTo>
                  <a:lnTo>
                    <a:pt x="819" y="1508"/>
                  </a:lnTo>
                  <a:lnTo>
                    <a:pt x="852" y="1497"/>
                  </a:lnTo>
                  <a:lnTo>
                    <a:pt x="883" y="1490"/>
                  </a:lnTo>
                  <a:close/>
                  <a:moveTo>
                    <a:pt x="1156" y="1051"/>
                  </a:moveTo>
                  <a:lnTo>
                    <a:pt x="1089" y="1099"/>
                  </a:lnTo>
                  <a:lnTo>
                    <a:pt x="1020" y="1147"/>
                  </a:lnTo>
                  <a:lnTo>
                    <a:pt x="951" y="1192"/>
                  </a:lnTo>
                  <a:lnTo>
                    <a:pt x="880" y="1234"/>
                  </a:lnTo>
                  <a:lnTo>
                    <a:pt x="809" y="1274"/>
                  </a:lnTo>
                  <a:lnTo>
                    <a:pt x="735" y="1311"/>
                  </a:lnTo>
                  <a:lnTo>
                    <a:pt x="661" y="1344"/>
                  </a:lnTo>
                  <a:lnTo>
                    <a:pt x="584" y="1374"/>
                  </a:lnTo>
                  <a:lnTo>
                    <a:pt x="507" y="1401"/>
                  </a:lnTo>
                  <a:lnTo>
                    <a:pt x="426" y="1422"/>
                  </a:lnTo>
                  <a:lnTo>
                    <a:pt x="343" y="1440"/>
                  </a:lnTo>
                  <a:lnTo>
                    <a:pt x="526" y="1832"/>
                  </a:lnTo>
                  <a:lnTo>
                    <a:pt x="709" y="2224"/>
                  </a:lnTo>
                  <a:lnTo>
                    <a:pt x="791" y="2206"/>
                  </a:lnTo>
                  <a:lnTo>
                    <a:pt x="870" y="2183"/>
                  </a:lnTo>
                  <a:lnTo>
                    <a:pt x="948" y="2158"/>
                  </a:lnTo>
                  <a:lnTo>
                    <a:pt x="1024" y="2127"/>
                  </a:lnTo>
                  <a:lnTo>
                    <a:pt x="1098" y="2093"/>
                  </a:lnTo>
                  <a:lnTo>
                    <a:pt x="1171" y="2056"/>
                  </a:lnTo>
                  <a:lnTo>
                    <a:pt x="1243" y="2016"/>
                  </a:lnTo>
                  <a:lnTo>
                    <a:pt x="1312" y="1973"/>
                  </a:lnTo>
                  <a:lnTo>
                    <a:pt x="1381" y="1928"/>
                  </a:lnTo>
                  <a:lnTo>
                    <a:pt x="1450" y="1881"/>
                  </a:lnTo>
                  <a:lnTo>
                    <a:pt x="1518" y="1832"/>
                  </a:lnTo>
                  <a:lnTo>
                    <a:pt x="1472" y="1811"/>
                  </a:lnTo>
                  <a:lnTo>
                    <a:pt x="1430" y="1788"/>
                  </a:lnTo>
                  <a:lnTo>
                    <a:pt x="1391" y="1759"/>
                  </a:lnTo>
                  <a:lnTo>
                    <a:pt x="1353" y="1728"/>
                  </a:lnTo>
                  <a:lnTo>
                    <a:pt x="1319" y="1693"/>
                  </a:lnTo>
                  <a:lnTo>
                    <a:pt x="1289" y="1656"/>
                  </a:lnTo>
                  <a:lnTo>
                    <a:pt x="1260" y="1617"/>
                  </a:lnTo>
                  <a:lnTo>
                    <a:pt x="1235" y="1575"/>
                  </a:lnTo>
                  <a:lnTo>
                    <a:pt x="1213" y="1533"/>
                  </a:lnTo>
                  <a:lnTo>
                    <a:pt x="1191" y="1476"/>
                  </a:lnTo>
                  <a:lnTo>
                    <a:pt x="1172" y="1417"/>
                  </a:lnTo>
                  <a:lnTo>
                    <a:pt x="1160" y="1358"/>
                  </a:lnTo>
                  <a:lnTo>
                    <a:pt x="1151" y="1297"/>
                  </a:lnTo>
                  <a:lnTo>
                    <a:pt x="1147" y="1237"/>
                  </a:lnTo>
                  <a:lnTo>
                    <a:pt x="1146" y="1175"/>
                  </a:lnTo>
                  <a:lnTo>
                    <a:pt x="1149" y="1113"/>
                  </a:lnTo>
                  <a:lnTo>
                    <a:pt x="1156" y="1051"/>
                  </a:lnTo>
                  <a:close/>
                  <a:moveTo>
                    <a:pt x="2148" y="655"/>
                  </a:moveTo>
                  <a:lnTo>
                    <a:pt x="2191" y="745"/>
                  </a:lnTo>
                  <a:lnTo>
                    <a:pt x="2233" y="834"/>
                  </a:lnTo>
                  <a:lnTo>
                    <a:pt x="2273" y="925"/>
                  </a:lnTo>
                  <a:lnTo>
                    <a:pt x="2257" y="933"/>
                  </a:lnTo>
                  <a:lnTo>
                    <a:pt x="2243" y="940"/>
                  </a:lnTo>
                  <a:lnTo>
                    <a:pt x="2231" y="948"/>
                  </a:lnTo>
                  <a:lnTo>
                    <a:pt x="2216" y="958"/>
                  </a:lnTo>
                  <a:lnTo>
                    <a:pt x="2174" y="868"/>
                  </a:lnTo>
                  <a:lnTo>
                    <a:pt x="2135" y="777"/>
                  </a:lnTo>
                  <a:lnTo>
                    <a:pt x="2094" y="688"/>
                  </a:lnTo>
                  <a:lnTo>
                    <a:pt x="2111" y="675"/>
                  </a:lnTo>
                  <a:lnTo>
                    <a:pt x="2129" y="666"/>
                  </a:lnTo>
                  <a:lnTo>
                    <a:pt x="2148" y="655"/>
                  </a:lnTo>
                  <a:close/>
                  <a:moveTo>
                    <a:pt x="2270" y="591"/>
                  </a:moveTo>
                  <a:lnTo>
                    <a:pt x="2313" y="679"/>
                  </a:lnTo>
                  <a:lnTo>
                    <a:pt x="2356" y="768"/>
                  </a:lnTo>
                  <a:lnTo>
                    <a:pt x="2399" y="860"/>
                  </a:lnTo>
                  <a:lnTo>
                    <a:pt x="2383" y="868"/>
                  </a:lnTo>
                  <a:lnTo>
                    <a:pt x="2368" y="874"/>
                  </a:lnTo>
                  <a:lnTo>
                    <a:pt x="2356" y="880"/>
                  </a:lnTo>
                  <a:lnTo>
                    <a:pt x="2341" y="885"/>
                  </a:lnTo>
                  <a:lnTo>
                    <a:pt x="2280" y="751"/>
                  </a:lnTo>
                  <a:lnTo>
                    <a:pt x="2216" y="618"/>
                  </a:lnTo>
                  <a:lnTo>
                    <a:pt x="2231" y="611"/>
                  </a:lnTo>
                  <a:lnTo>
                    <a:pt x="2243" y="605"/>
                  </a:lnTo>
                  <a:lnTo>
                    <a:pt x="2255" y="598"/>
                  </a:lnTo>
                  <a:lnTo>
                    <a:pt x="2270" y="591"/>
                  </a:lnTo>
                  <a:close/>
                  <a:moveTo>
                    <a:pt x="2399" y="536"/>
                  </a:moveTo>
                  <a:lnTo>
                    <a:pt x="2440" y="627"/>
                  </a:lnTo>
                  <a:lnTo>
                    <a:pt x="2483" y="715"/>
                  </a:lnTo>
                  <a:lnTo>
                    <a:pt x="2524" y="803"/>
                  </a:lnTo>
                  <a:lnTo>
                    <a:pt x="2509" y="810"/>
                  </a:lnTo>
                  <a:lnTo>
                    <a:pt x="2497" y="815"/>
                  </a:lnTo>
                  <a:lnTo>
                    <a:pt x="2483" y="819"/>
                  </a:lnTo>
                  <a:lnTo>
                    <a:pt x="2466" y="825"/>
                  </a:lnTo>
                  <a:lnTo>
                    <a:pt x="2426" y="737"/>
                  </a:lnTo>
                  <a:lnTo>
                    <a:pt x="2384" y="649"/>
                  </a:lnTo>
                  <a:lnTo>
                    <a:pt x="2341" y="562"/>
                  </a:lnTo>
                  <a:lnTo>
                    <a:pt x="2358" y="554"/>
                  </a:lnTo>
                  <a:lnTo>
                    <a:pt x="2371" y="548"/>
                  </a:lnTo>
                  <a:lnTo>
                    <a:pt x="2384" y="541"/>
                  </a:lnTo>
                  <a:lnTo>
                    <a:pt x="2399" y="536"/>
                  </a:lnTo>
                  <a:close/>
                  <a:moveTo>
                    <a:pt x="2517" y="231"/>
                  </a:moveTo>
                  <a:lnTo>
                    <a:pt x="2435" y="249"/>
                  </a:lnTo>
                  <a:lnTo>
                    <a:pt x="2355" y="271"/>
                  </a:lnTo>
                  <a:lnTo>
                    <a:pt x="2277" y="297"/>
                  </a:lnTo>
                  <a:lnTo>
                    <a:pt x="2201" y="328"/>
                  </a:lnTo>
                  <a:lnTo>
                    <a:pt x="2125" y="362"/>
                  </a:lnTo>
                  <a:lnTo>
                    <a:pt x="2053" y="399"/>
                  </a:lnTo>
                  <a:lnTo>
                    <a:pt x="1981" y="439"/>
                  </a:lnTo>
                  <a:lnTo>
                    <a:pt x="1910" y="483"/>
                  </a:lnTo>
                  <a:lnTo>
                    <a:pt x="1841" y="528"/>
                  </a:lnTo>
                  <a:lnTo>
                    <a:pt x="1772" y="576"/>
                  </a:lnTo>
                  <a:lnTo>
                    <a:pt x="1704" y="627"/>
                  </a:lnTo>
                  <a:lnTo>
                    <a:pt x="1746" y="643"/>
                  </a:lnTo>
                  <a:lnTo>
                    <a:pt x="1785" y="665"/>
                  </a:lnTo>
                  <a:lnTo>
                    <a:pt x="1821" y="688"/>
                  </a:lnTo>
                  <a:lnTo>
                    <a:pt x="1855" y="716"/>
                  </a:lnTo>
                  <a:lnTo>
                    <a:pt x="1887" y="746"/>
                  </a:lnTo>
                  <a:lnTo>
                    <a:pt x="1916" y="777"/>
                  </a:lnTo>
                  <a:lnTo>
                    <a:pt x="1943" y="811"/>
                  </a:lnTo>
                  <a:lnTo>
                    <a:pt x="1967" y="847"/>
                  </a:lnTo>
                  <a:lnTo>
                    <a:pt x="1989" y="884"/>
                  </a:lnTo>
                  <a:lnTo>
                    <a:pt x="2008" y="922"/>
                  </a:lnTo>
                  <a:lnTo>
                    <a:pt x="2032" y="978"/>
                  </a:lnTo>
                  <a:lnTo>
                    <a:pt x="2050" y="1037"/>
                  </a:lnTo>
                  <a:lnTo>
                    <a:pt x="2063" y="1096"/>
                  </a:lnTo>
                  <a:lnTo>
                    <a:pt x="2072" y="1157"/>
                  </a:lnTo>
                  <a:lnTo>
                    <a:pt x="2076" y="1218"/>
                  </a:lnTo>
                  <a:lnTo>
                    <a:pt x="2076" y="1280"/>
                  </a:lnTo>
                  <a:lnTo>
                    <a:pt x="2073" y="1341"/>
                  </a:lnTo>
                  <a:lnTo>
                    <a:pt x="2065" y="1404"/>
                  </a:lnTo>
                  <a:lnTo>
                    <a:pt x="2134" y="1355"/>
                  </a:lnTo>
                  <a:lnTo>
                    <a:pt x="2202" y="1308"/>
                  </a:lnTo>
                  <a:lnTo>
                    <a:pt x="2271" y="1262"/>
                  </a:lnTo>
                  <a:lnTo>
                    <a:pt x="2342" y="1219"/>
                  </a:lnTo>
                  <a:lnTo>
                    <a:pt x="2414" y="1179"/>
                  </a:lnTo>
                  <a:lnTo>
                    <a:pt x="2488" y="1142"/>
                  </a:lnTo>
                  <a:lnTo>
                    <a:pt x="2563" y="1110"/>
                  </a:lnTo>
                  <a:lnTo>
                    <a:pt x="2640" y="1080"/>
                  </a:lnTo>
                  <a:lnTo>
                    <a:pt x="2718" y="1053"/>
                  </a:lnTo>
                  <a:lnTo>
                    <a:pt x="2799" y="1032"/>
                  </a:lnTo>
                  <a:lnTo>
                    <a:pt x="2882" y="1015"/>
                  </a:lnTo>
                  <a:lnTo>
                    <a:pt x="2759" y="753"/>
                  </a:lnTo>
                  <a:lnTo>
                    <a:pt x="2638" y="491"/>
                  </a:lnTo>
                  <a:lnTo>
                    <a:pt x="2517" y="231"/>
                  </a:lnTo>
                  <a:close/>
                  <a:moveTo>
                    <a:pt x="2667" y="0"/>
                  </a:moveTo>
                  <a:lnTo>
                    <a:pt x="2852" y="401"/>
                  </a:lnTo>
                  <a:lnTo>
                    <a:pt x="3039" y="803"/>
                  </a:lnTo>
                  <a:lnTo>
                    <a:pt x="3226" y="1205"/>
                  </a:lnTo>
                  <a:lnTo>
                    <a:pt x="3141" y="1208"/>
                  </a:lnTo>
                  <a:lnTo>
                    <a:pt x="3057" y="1215"/>
                  </a:lnTo>
                  <a:lnTo>
                    <a:pt x="2977" y="1228"/>
                  </a:lnTo>
                  <a:lnTo>
                    <a:pt x="2899" y="1243"/>
                  </a:lnTo>
                  <a:lnTo>
                    <a:pt x="2823" y="1263"/>
                  </a:lnTo>
                  <a:lnTo>
                    <a:pt x="2748" y="1287"/>
                  </a:lnTo>
                  <a:lnTo>
                    <a:pt x="2676" y="1315"/>
                  </a:lnTo>
                  <a:lnTo>
                    <a:pt x="2605" y="1345"/>
                  </a:lnTo>
                  <a:lnTo>
                    <a:pt x="2536" y="1379"/>
                  </a:lnTo>
                  <a:lnTo>
                    <a:pt x="2467" y="1415"/>
                  </a:lnTo>
                  <a:lnTo>
                    <a:pt x="2401" y="1454"/>
                  </a:lnTo>
                  <a:lnTo>
                    <a:pt x="2335" y="1495"/>
                  </a:lnTo>
                  <a:lnTo>
                    <a:pt x="2269" y="1538"/>
                  </a:lnTo>
                  <a:lnTo>
                    <a:pt x="2205" y="1582"/>
                  </a:lnTo>
                  <a:lnTo>
                    <a:pt x="2142" y="1629"/>
                  </a:lnTo>
                  <a:lnTo>
                    <a:pt x="2079" y="1676"/>
                  </a:lnTo>
                  <a:lnTo>
                    <a:pt x="2015" y="1723"/>
                  </a:lnTo>
                  <a:lnTo>
                    <a:pt x="1952" y="1772"/>
                  </a:lnTo>
                  <a:lnTo>
                    <a:pt x="1889" y="1820"/>
                  </a:lnTo>
                  <a:lnTo>
                    <a:pt x="1825" y="1870"/>
                  </a:lnTo>
                  <a:lnTo>
                    <a:pt x="1761" y="1918"/>
                  </a:lnTo>
                  <a:lnTo>
                    <a:pt x="1697" y="1966"/>
                  </a:lnTo>
                  <a:lnTo>
                    <a:pt x="1631" y="2014"/>
                  </a:lnTo>
                  <a:lnTo>
                    <a:pt x="1565" y="2060"/>
                  </a:lnTo>
                  <a:lnTo>
                    <a:pt x="1499" y="2105"/>
                  </a:lnTo>
                  <a:lnTo>
                    <a:pt x="1430" y="2150"/>
                  </a:lnTo>
                  <a:lnTo>
                    <a:pt x="1361" y="2192"/>
                  </a:lnTo>
                  <a:lnTo>
                    <a:pt x="1290" y="2232"/>
                  </a:lnTo>
                  <a:lnTo>
                    <a:pt x="1217" y="2268"/>
                  </a:lnTo>
                  <a:lnTo>
                    <a:pt x="1143" y="2303"/>
                  </a:lnTo>
                  <a:lnTo>
                    <a:pt x="1066" y="2336"/>
                  </a:lnTo>
                  <a:lnTo>
                    <a:pt x="987" y="2365"/>
                  </a:lnTo>
                  <a:lnTo>
                    <a:pt x="907" y="2391"/>
                  </a:lnTo>
                  <a:lnTo>
                    <a:pt x="824" y="2413"/>
                  </a:lnTo>
                  <a:lnTo>
                    <a:pt x="738" y="2431"/>
                  </a:lnTo>
                  <a:lnTo>
                    <a:pt x="650" y="2445"/>
                  </a:lnTo>
                  <a:lnTo>
                    <a:pt x="558" y="2454"/>
                  </a:lnTo>
                  <a:lnTo>
                    <a:pt x="279" y="1852"/>
                  </a:lnTo>
                  <a:lnTo>
                    <a:pt x="0" y="1248"/>
                  </a:lnTo>
                  <a:lnTo>
                    <a:pt x="85" y="1246"/>
                  </a:lnTo>
                  <a:lnTo>
                    <a:pt x="168" y="1238"/>
                  </a:lnTo>
                  <a:lnTo>
                    <a:pt x="250" y="1224"/>
                  </a:lnTo>
                  <a:lnTo>
                    <a:pt x="329" y="1208"/>
                  </a:lnTo>
                  <a:lnTo>
                    <a:pt x="406" y="1187"/>
                  </a:lnTo>
                  <a:lnTo>
                    <a:pt x="482" y="1161"/>
                  </a:lnTo>
                  <a:lnTo>
                    <a:pt x="556" y="1131"/>
                  </a:lnTo>
                  <a:lnTo>
                    <a:pt x="628" y="1099"/>
                  </a:lnTo>
                  <a:lnTo>
                    <a:pt x="700" y="1063"/>
                  </a:lnTo>
                  <a:lnTo>
                    <a:pt x="770" y="1024"/>
                  </a:lnTo>
                  <a:lnTo>
                    <a:pt x="838" y="983"/>
                  </a:lnTo>
                  <a:lnTo>
                    <a:pt x="907" y="940"/>
                  </a:lnTo>
                  <a:lnTo>
                    <a:pt x="973" y="895"/>
                  </a:lnTo>
                  <a:lnTo>
                    <a:pt x="1040" y="848"/>
                  </a:lnTo>
                  <a:lnTo>
                    <a:pt x="1106" y="800"/>
                  </a:lnTo>
                  <a:lnTo>
                    <a:pt x="1171" y="752"/>
                  </a:lnTo>
                  <a:lnTo>
                    <a:pt x="1237" y="701"/>
                  </a:lnTo>
                  <a:lnTo>
                    <a:pt x="1301" y="651"/>
                  </a:lnTo>
                  <a:lnTo>
                    <a:pt x="1366" y="601"/>
                  </a:lnTo>
                  <a:lnTo>
                    <a:pt x="1430" y="550"/>
                  </a:lnTo>
                  <a:lnTo>
                    <a:pt x="1496" y="500"/>
                  </a:lnTo>
                  <a:lnTo>
                    <a:pt x="1561" y="451"/>
                  </a:lnTo>
                  <a:lnTo>
                    <a:pt x="1626" y="403"/>
                  </a:lnTo>
                  <a:lnTo>
                    <a:pt x="1693" y="356"/>
                  </a:lnTo>
                  <a:lnTo>
                    <a:pt x="1760" y="311"/>
                  </a:lnTo>
                  <a:lnTo>
                    <a:pt x="1828" y="268"/>
                  </a:lnTo>
                  <a:lnTo>
                    <a:pt x="1897" y="226"/>
                  </a:lnTo>
                  <a:lnTo>
                    <a:pt x="1967" y="188"/>
                  </a:lnTo>
                  <a:lnTo>
                    <a:pt x="2038" y="152"/>
                  </a:lnTo>
                  <a:lnTo>
                    <a:pt x="2111" y="119"/>
                  </a:lnTo>
                  <a:lnTo>
                    <a:pt x="2185" y="89"/>
                  </a:lnTo>
                  <a:lnTo>
                    <a:pt x="2260" y="64"/>
                  </a:lnTo>
                  <a:lnTo>
                    <a:pt x="2338" y="42"/>
                  </a:lnTo>
                  <a:lnTo>
                    <a:pt x="2417" y="25"/>
                  </a:lnTo>
                  <a:lnTo>
                    <a:pt x="2498" y="11"/>
                  </a:lnTo>
                  <a:lnTo>
                    <a:pt x="2582" y="3"/>
                  </a:lnTo>
                  <a:lnTo>
                    <a:pt x="2667" y="0"/>
                  </a:lnTo>
                  <a:close/>
                </a:path>
              </a:pathLst>
            </a:custGeom>
            <a:solidFill>
              <a:schemeClr val="accent2"/>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sp>
          <p:nvSpPr>
            <p:cNvPr id="103" name="Freeform 277"/>
            <p:cNvSpPr>
              <a:spLocks noChangeArrowheads="1"/>
            </p:cNvSpPr>
            <p:nvPr/>
          </p:nvSpPr>
          <p:spPr bwMode="auto">
            <a:xfrm>
              <a:off x="3200221" y="2989311"/>
              <a:ext cx="140934" cy="304800"/>
            </a:xfrm>
            <a:custGeom>
              <a:avLst/>
              <a:gdLst>
                <a:gd name="T0" fmla="*/ 2147483647 w 2344"/>
                <a:gd name="T1" fmla="*/ 2147483647 h 3454"/>
                <a:gd name="T2" fmla="*/ 2147483647 w 2344"/>
                <a:gd name="T3" fmla="*/ 2147483647 h 3454"/>
                <a:gd name="T4" fmla="*/ 2147483647 w 2344"/>
                <a:gd name="T5" fmla="*/ 2147483647 h 3454"/>
                <a:gd name="T6" fmla="*/ 2147483647 w 2344"/>
                <a:gd name="T7" fmla="*/ 2147483647 h 3454"/>
                <a:gd name="T8" fmla="*/ 2147483647 w 2344"/>
                <a:gd name="T9" fmla="*/ 2147483647 h 3454"/>
                <a:gd name="T10" fmla="*/ 2147483647 w 2344"/>
                <a:gd name="T11" fmla="*/ 2147483647 h 3454"/>
                <a:gd name="T12" fmla="*/ 2147483647 w 2344"/>
                <a:gd name="T13" fmla="*/ 2147483647 h 3454"/>
                <a:gd name="T14" fmla="*/ 2147483647 w 2344"/>
                <a:gd name="T15" fmla="*/ 2147483647 h 3454"/>
                <a:gd name="T16" fmla="*/ 2147483647 w 2344"/>
                <a:gd name="T17" fmla="*/ 2147483647 h 3454"/>
                <a:gd name="T18" fmla="*/ 2147483647 w 2344"/>
                <a:gd name="T19" fmla="*/ 2147483647 h 3454"/>
                <a:gd name="T20" fmla="*/ 2147483647 w 2344"/>
                <a:gd name="T21" fmla="*/ 2147483647 h 3454"/>
                <a:gd name="T22" fmla="*/ 2147483647 w 2344"/>
                <a:gd name="T23" fmla="*/ 2147483647 h 3454"/>
                <a:gd name="T24" fmla="*/ 2147483647 w 2344"/>
                <a:gd name="T25" fmla="*/ 2147483647 h 3454"/>
                <a:gd name="T26" fmla="*/ 2147483647 w 2344"/>
                <a:gd name="T27" fmla="*/ 2147483647 h 3454"/>
                <a:gd name="T28" fmla="*/ 2147483647 w 2344"/>
                <a:gd name="T29" fmla="*/ 2147483647 h 3454"/>
                <a:gd name="T30" fmla="*/ 2147483647 w 2344"/>
                <a:gd name="T31" fmla="*/ 2147483647 h 3454"/>
                <a:gd name="T32" fmla="*/ 2147483647 w 2344"/>
                <a:gd name="T33" fmla="*/ 2147483647 h 3454"/>
                <a:gd name="T34" fmla="*/ 2147483647 w 2344"/>
                <a:gd name="T35" fmla="*/ 2147483647 h 3454"/>
                <a:gd name="T36" fmla="*/ 2147483647 w 2344"/>
                <a:gd name="T37" fmla="*/ 2147483647 h 3454"/>
                <a:gd name="T38" fmla="*/ 2147483647 w 2344"/>
                <a:gd name="T39" fmla="*/ 2147483647 h 3454"/>
                <a:gd name="T40" fmla="*/ 2147483647 w 2344"/>
                <a:gd name="T41" fmla="*/ 2147483647 h 3454"/>
                <a:gd name="T42" fmla="*/ 2147483647 w 2344"/>
                <a:gd name="T43" fmla="*/ 2147483647 h 3454"/>
                <a:gd name="T44" fmla="*/ 2147483647 w 2344"/>
                <a:gd name="T45" fmla="*/ 2147483647 h 3454"/>
                <a:gd name="T46" fmla="*/ 2147483647 w 2344"/>
                <a:gd name="T47" fmla="*/ 2147483647 h 3454"/>
                <a:gd name="T48" fmla="*/ 2147483647 w 2344"/>
                <a:gd name="T49" fmla="*/ 2147483647 h 3454"/>
                <a:gd name="T50" fmla="*/ 2147483647 w 2344"/>
                <a:gd name="T51" fmla="*/ 2147483647 h 3454"/>
                <a:gd name="T52" fmla="*/ 2147483647 w 2344"/>
                <a:gd name="T53" fmla="*/ 2147483647 h 3454"/>
                <a:gd name="T54" fmla="*/ 2147483647 w 2344"/>
                <a:gd name="T55" fmla="*/ 2147483647 h 3454"/>
                <a:gd name="T56" fmla="*/ 2147483647 w 2344"/>
                <a:gd name="T57" fmla="*/ 2147483647 h 3454"/>
                <a:gd name="T58" fmla="*/ 2147483647 w 2344"/>
                <a:gd name="T59" fmla="*/ 2147483647 h 3454"/>
                <a:gd name="T60" fmla="*/ 2147483647 w 2344"/>
                <a:gd name="T61" fmla="*/ 2147483647 h 3454"/>
                <a:gd name="T62" fmla="*/ 2147483647 w 2344"/>
                <a:gd name="T63" fmla="*/ 2147483647 h 3454"/>
                <a:gd name="T64" fmla="*/ 2147483647 w 2344"/>
                <a:gd name="T65" fmla="*/ 2147483647 h 3454"/>
                <a:gd name="T66" fmla="*/ 0 w 2344"/>
                <a:gd name="T67" fmla="*/ 2147483647 h 3454"/>
                <a:gd name="T68" fmla="*/ 2147483647 w 2344"/>
                <a:gd name="T69" fmla="*/ 2147483647 h 3454"/>
                <a:gd name="T70" fmla="*/ 2147483647 w 2344"/>
                <a:gd name="T71" fmla="*/ 2147483647 h 3454"/>
                <a:gd name="T72" fmla="*/ 2147483647 w 2344"/>
                <a:gd name="T73" fmla="*/ 2147483647 h 3454"/>
                <a:gd name="T74" fmla="*/ 2147483647 w 2344"/>
                <a:gd name="T75" fmla="*/ 2147483647 h 3454"/>
                <a:gd name="T76" fmla="*/ 2147483647 w 2344"/>
                <a:gd name="T77" fmla="*/ 2147483647 h 3454"/>
                <a:gd name="T78" fmla="*/ 2147483647 w 2344"/>
                <a:gd name="T79" fmla="*/ 2147483647 h 3454"/>
                <a:gd name="T80" fmla="*/ 2147483647 w 2344"/>
                <a:gd name="T81" fmla="*/ 2147483647 h 3454"/>
                <a:gd name="T82" fmla="*/ 2147483647 w 2344"/>
                <a:gd name="T83" fmla="*/ 2147483647 h 3454"/>
                <a:gd name="T84" fmla="*/ 2147483647 w 2344"/>
                <a:gd name="T85" fmla="*/ 2147483647 h 3454"/>
                <a:gd name="T86" fmla="*/ 2147483647 w 2344"/>
                <a:gd name="T87" fmla="*/ 2147483647 h 3454"/>
                <a:gd name="T88" fmla="*/ 2147483647 w 2344"/>
                <a:gd name="T89" fmla="*/ 2147483647 h 3454"/>
                <a:gd name="T90" fmla="*/ 2147483647 w 2344"/>
                <a:gd name="T91" fmla="*/ 2147483647 h 3454"/>
                <a:gd name="T92" fmla="*/ 2147483647 w 2344"/>
                <a:gd name="T93" fmla="*/ 2147483647 h 3454"/>
                <a:gd name="T94" fmla="*/ 2147483647 w 2344"/>
                <a:gd name="T95" fmla="*/ 2147483647 h 34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44"/>
                <a:gd name="T145" fmla="*/ 0 h 3454"/>
                <a:gd name="T146" fmla="*/ 2344 w 2344"/>
                <a:gd name="T147" fmla="*/ 3454 h 345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44" h="3454">
                  <a:moveTo>
                    <a:pt x="1310" y="2119"/>
                  </a:moveTo>
                  <a:lnTo>
                    <a:pt x="1310" y="2523"/>
                  </a:lnTo>
                  <a:lnTo>
                    <a:pt x="1358" y="2520"/>
                  </a:lnTo>
                  <a:lnTo>
                    <a:pt x="1401" y="2514"/>
                  </a:lnTo>
                  <a:lnTo>
                    <a:pt x="1440" y="2505"/>
                  </a:lnTo>
                  <a:lnTo>
                    <a:pt x="1475" y="2493"/>
                  </a:lnTo>
                  <a:lnTo>
                    <a:pt x="1506" y="2479"/>
                  </a:lnTo>
                  <a:lnTo>
                    <a:pt x="1532" y="2462"/>
                  </a:lnTo>
                  <a:lnTo>
                    <a:pt x="1554" y="2441"/>
                  </a:lnTo>
                  <a:lnTo>
                    <a:pt x="1571" y="2420"/>
                  </a:lnTo>
                  <a:lnTo>
                    <a:pt x="1583" y="2395"/>
                  </a:lnTo>
                  <a:lnTo>
                    <a:pt x="1590" y="2368"/>
                  </a:lnTo>
                  <a:lnTo>
                    <a:pt x="1592" y="2340"/>
                  </a:lnTo>
                  <a:lnTo>
                    <a:pt x="1592" y="2332"/>
                  </a:lnTo>
                  <a:lnTo>
                    <a:pt x="1591" y="2308"/>
                  </a:lnTo>
                  <a:lnTo>
                    <a:pt x="1586" y="2285"/>
                  </a:lnTo>
                  <a:lnTo>
                    <a:pt x="1576" y="2264"/>
                  </a:lnTo>
                  <a:lnTo>
                    <a:pt x="1563" y="2244"/>
                  </a:lnTo>
                  <a:lnTo>
                    <a:pt x="1544" y="2225"/>
                  </a:lnTo>
                  <a:lnTo>
                    <a:pt x="1521" y="2206"/>
                  </a:lnTo>
                  <a:lnTo>
                    <a:pt x="1492" y="2188"/>
                  </a:lnTo>
                  <a:lnTo>
                    <a:pt x="1456" y="2171"/>
                  </a:lnTo>
                  <a:lnTo>
                    <a:pt x="1415" y="2154"/>
                  </a:lnTo>
                  <a:lnTo>
                    <a:pt x="1366" y="2136"/>
                  </a:lnTo>
                  <a:lnTo>
                    <a:pt x="1310" y="2119"/>
                  </a:lnTo>
                  <a:close/>
                  <a:moveTo>
                    <a:pt x="1122" y="983"/>
                  </a:moveTo>
                  <a:lnTo>
                    <a:pt x="1080" y="986"/>
                  </a:lnTo>
                  <a:lnTo>
                    <a:pt x="1042" y="992"/>
                  </a:lnTo>
                  <a:lnTo>
                    <a:pt x="1008" y="1002"/>
                  </a:lnTo>
                  <a:lnTo>
                    <a:pt x="977" y="1013"/>
                  </a:lnTo>
                  <a:lnTo>
                    <a:pt x="950" y="1028"/>
                  </a:lnTo>
                  <a:lnTo>
                    <a:pt x="928" y="1045"/>
                  </a:lnTo>
                  <a:lnTo>
                    <a:pt x="910" y="1063"/>
                  </a:lnTo>
                  <a:lnTo>
                    <a:pt x="896" y="1083"/>
                  </a:lnTo>
                  <a:lnTo>
                    <a:pt x="887" y="1106"/>
                  </a:lnTo>
                  <a:lnTo>
                    <a:pt x="880" y="1129"/>
                  </a:lnTo>
                  <a:lnTo>
                    <a:pt x="878" y="1153"/>
                  </a:lnTo>
                  <a:lnTo>
                    <a:pt x="878" y="1161"/>
                  </a:lnTo>
                  <a:lnTo>
                    <a:pt x="880" y="1188"/>
                  </a:lnTo>
                  <a:lnTo>
                    <a:pt x="886" y="1213"/>
                  </a:lnTo>
                  <a:lnTo>
                    <a:pt x="895" y="1236"/>
                  </a:lnTo>
                  <a:lnTo>
                    <a:pt x="910" y="1257"/>
                  </a:lnTo>
                  <a:lnTo>
                    <a:pt x="929" y="1277"/>
                  </a:lnTo>
                  <a:lnTo>
                    <a:pt x="955" y="1296"/>
                  </a:lnTo>
                  <a:lnTo>
                    <a:pt x="986" y="1314"/>
                  </a:lnTo>
                  <a:lnTo>
                    <a:pt x="1024" y="1332"/>
                  </a:lnTo>
                  <a:lnTo>
                    <a:pt x="1069" y="1349"/>
                  </a:lnTo>
                  <a:lnTo>
                    <a:pt x="1122" y="1366"/>
                  </a:lnTo>
                  <a:lnTo>
                    <a:pt x="1122" y="983"/>
                  </a:lnTo>
                  <a:close/>
                  <a:moveTo>
                    <a:pt x="1122" y="0"/>
                  </a:moveTo>
                  <a:lnTo>
                    <a:pt x="1310" y="0"/>
                  </a:lnTo>
                  <a:lnTo>
                    <a:pt x="1310" y="367"/>
                  </a:lnTo>
                  <a:lnTo>
                    <a:pt x="1405" y="376"/>
                  </a:lnTo>
                  <a:lnTo>
                    <a:pt x="1498" y="387"/>
                  </a:lnTo>
                  <a:lnTo>
                    <a:pt x="1587" y="403"/>
                  </a:lnTo>
                  <a:lnTo>
                    <a:pt x="1674" y="422"/>
                  </a:lnTo>
                  <a:lnTo>
                    <a:pt x="1758" y="447"/>
                  </a:lnTo>
                  <a:lnTo>
                    <a:pt x="1838" y="474"/>
                  </a:lnTo>
                  <a:lnTo>
                    <a:pt x="1917" y="505"/>
                  </a:lnTo>
                  <a:lnTo>
                    <a:pt x="1993" y="541"/>
                  </a:lnTo>
                  <a:lnTo>
                    <a:pt x="2066" y="580"/>
                  </a:lnTo>
                  <a:lnTo>
                    <a:pt x="2137" y="623"/>
                  </a:lnTo>
                  <a:lnTo>
                    <a:pt x="2205" y="670"/>
                  </a:lnTo>
                  <a:lnTo>
                    <a:pt x="2272" y="720"/>
                  </a:lnTo>
                  <a:lnTo>
                    <a:pt x="1899" y="1246"/>
                  </a:lnTo>
                  <a:lnTo>
                    <a:pt x="1817" y="1192"/>
                  </a:lnTo>
                  <a:lnTo>
                    <a:pt x="1732" y="1143"/>
                  </a:lnTo>
                  <a:lnTo>
                    <a:pt x="1648" y="1100"/>
                  </a:lnTo>
                  <a:lnTo>
                    <a:pt x="1562" y="1064"/>
                  </a:lnTo>
                  <a:lnTo>
                    <a:pt x="1478" y="1035"/>
                  </a:lnTo>
                  <a:lnTo>
                    <a:pt x="1393" y="1012"/>
                  </a:lnTo>
                  <a:lnTo>
                    <a:pt x="1310" y="995"/>
                  </a:lnTo>
                  <a:lnTo>
                    <a:pt x="1310" y="1414"/>
                  </a:lnTo>
                  <a:lnTo>
                    <a:pt x="1326" y="1419"/>
                  </a:lnTo>
                  <a:lnTo>
                    <a:pt x="1343" y="1422"/>
                  </a:lnTo>
                  <a:lnTo>
                    <a:pt x="1422" y="1440"/>
                  </a:lnTo>
                  <a:lnTo>
                    <a:pt x="1499" y="1459"/>
                  </a:lnTo>
                  <a:lnTo>
                    <a:pt x="1572" y="1478"/>
                  </a:lnTo>
                  <a:lnTo>
                    <a:pt x="1643" y="1499"/>
                  </a:lnTo>
                  <a:lnTo>
                    <a:pt x="1711" y="1522"/>
                  </a:lnTo>
                  <a:lnTo>
                    <a:pt x="1776" y="1545"/>
                  </a:lnTo>
                  <a:lnTo>
                    <a:pt x="1837" y="1569"/>
                  </a:lnTo>
                  <a:lnTo>
                    <a:pt x="1897" y="1596"/>
                  </a:lnTo>
                  <a:lnTo>
                    <a:pt x="1952" y="1624"/>
                  </a:lnTo>
                  <a:lnTo>
                    <a:pt x="2004" y="1654"/>
                  </a:lnTo>
                  <a:lnTo>
                    <a:pt x="2052" y="1686"/>
                  </a:lnTo>
                  <a:lnTo>
                    <a:pt x="2097" y="1720"/>
                  </a:lnTo>
                  <a:lnTo>
                    <a:pt x="2139" y="1755"/>
                  </a:lnTo>
                  <a:lnTo>
                    <a:pt x="2178" y="1793"/>
                  </a:lnTo>
                  <a:lnTo>
                    <a:pt x="2212" y="1835"/>
                  </a:lnTo>
                  <a:lnTo>
                    <a:pt x="2242" y="1877"/>
                  </a:lnTo>
                  <a:lnTo>
                    <a:pt x="2269" y="1923"/>
                  </a:lnTo>
                  <a:lnTo>
                    <a:pt x="2291" y="1971"/>
                  </a:lnTo>
                  <a:lnTo>
                    <a:pt x="2310" y="2022"/>
                  </a:lnTo>
                  <a:lnTo>
                    <a:pt x="2325" y="2078"/>
                  </a:lnTo>
                  <a:lnTo>
                    <a:pt x="2336" y="2135"/>
                  </a:lnTo>
                  <a:lnTo>
                    <a:pt x="2342" y="2195"/>
                  </a:lnTo>
                  <a:lnTo>
                    <a:pt x="2344" y="2259"/>
                  </a:lnTo>
                  <a:lnTo>
                    <a:pt x="2344" y="2266"/>
                  </a:lnTo>
                  <a:lnTo>
                    <a:pt x="2342" y="2342"/>
                  </a:lnTo>
                  <a:lnTo>
                    <a:pt x="2334" y="2414"/>
                  </a:lnTo>
                  <a:lnTo>
                    <a:pt x="2320" y="2483"/>
                  </a:lnTo>
                  <a:lnTo>
                    <a:pt x="2301" y="2549"/>
                  </a:lnTo>
                  <a:lnTo>
                    <a:pt x="2277" y="2611"/>
                  </a:lnTo>
                  <a:lnTo>
                    <a:pt x="2249" y="2671"/>
                  </a:lnTo>
                  <a:lnTo>
                    <a:pt x="2215" y="2727"/>
                  </a:lnTo>
                  <a:lnTo>
                    <a:pt x="2177" y="2780"/>
                  </a:lnTo>
                  <a:lnTo>
                    <a:pt x="2133" y="2830"/>
                  </a:lnTo>
                  <a:lnTo>
                    <a:pt x="2086" y="2875"/>
                  </a:lnTo>
                  <a:lnTo>
                    <a:pt x="2034" y="2919"/>
                  </a:lnTo>
                  <a:lnTo>
                    <a:pt x="1978" y="2957"/>
                  </a:lnTo>
                  <a:lnTo>
                    <a:pt x="1919" y="2993"/>
                  </a:lnTo>
                  <a:lnTo>
                    <a:pt x="1855" y="3025"/>
                  </a:lnTo>
                  <a:lnTo>
                    <a:pt x="1787" y="3054"/>
                  </a:lnTo>
                  <a:lnTo>
                    <a:pt x="1716" y="3077"/>
                  </a:lnTo>
                  <a:lnTo>
                    <a:pt x="1641" y="3098"/>
                  </a:lnTo>
                  <a:lnTo>
                    <a:pt x="1563" y="3114"/>
                  </a:lnTo>
                  <a:lnTo>
                    <a:pt x="1482" y="3127"/>
                  </a:lnTo>
                  <a:lnTo>
                    <a:pt x="1397" y="3135"/>
                  </a:lnTo>
                  <a:lnTo>
                    <a:pt x="1310" y="3141"/>
                  </a:lnTo>
                  <a:lnTo>
                    <a:pt x="1310" y="3454"/>
                  </a:lnTo>
                  <a:lnTo>
                    <a:pt x="1122" y="3454"/>
                  </a:lnTo>
                  <a:lnTo>
                    <a:pt x="1122" y="3136"/>
                  </a:lnTo>
                  <a:lnTo>
                    <a:pt x="1025" y="3128"/>
                  </a:lnTo>
                  <a:lnTo>
                    <a:pt x="928" y="3116"/>
                  </a:lnTo>
                  <a:lnTo>
                    <a:pt x="833" y="3099"/>
                  </a:lnTo>
                  <a:lnTo>
                    <a:pt x="739" y="3078"/>
                  </a:lnTo>
                  <a:lnTo>
                    <a:pt x="647" y="3052"/>
                  </a:lnTo>
                  <a:lnTo>
                    <a:pt x="558" y="3023"/>
                  </a:lnTo>
                  <a:lnTo>
                    <a:pt x="470" y="2990"/>
                  </a:lnTo>
                  <a:lnTo>
                    <a:pt x="384" y="2952"/>
                  </a:lnTo>
                  <a:lnTo>
                    <a:pt x="301" y="2909"/>
                  </a:lnTo>
                  <a:lnTo>
                    <a:pt x="222" y="2863"/>
                  </a:lnTo>
                  <a:lnTo>
                    <a:pt x="144" y="2812"/>
                  </a:lnTo>
                  <a:lnTo>
                    <a:pt x="70" y="2756"/>
                  </a:lnTo>
                  <a:lnTo>
                    <a:pt x="0" y="2696"/>
                  </a:lnTo>
                  <a:lnTo>
                    <a:pt x="414" y="2202"/>
                  </a:lnTo>
                  <a:lnTo>
                    <a:pt x="496" y="2263"/>
                  </a:lnTo>
                  <a:lnTo>
                    <a:pt x="581" y="2318"/>
                  </a:lnTo>
                  <a:lnTo>
                    <a:pt x="668" y="2368"/>
                  </a:lnTo>
                  <a:lnTo>
                    <a:pt x="756" y="2410"/>
                  </a:lnTo>
                  <a:lnTo>
                    <a:pt x="845" y="2446"/>
                  </a:lnTo>
                  <a:lnTo>
                    <a:pt x="937" y="2474"/>
                  </a:lnTo>
                  <a:lnTo>
                    <a:pt x="1029" y="2497"/>
                  </a:lnTo>
                  <a:lnTo>
                    <a:pt x="1122" y="2512"/>
                  </a:lnTo>
                  <a:lnTo>
                    <a:pt x="1122" y="2071"/>
                  </a:lnTo>
                  <a:lnTo>
                    <a:pt x="1055" y="2055"/>
                  </a:lnTo>
                  <a:lnTo>
                    <a:pt x="990" y="2038"/>
                  </a:lnTo>
                  <a:lnTo>
                    <a:pt x="926" y="2022"/>
                  </a:lnTo>
                  <a:lnTo>
                    <a:pt x="863" y="2004"/>
                  </a:lnTo>
                  <a:lnTo>
                    <a:pt x="802" y="1986"/>
                  </a:lnTo>
                  <a:lnTo>
                    <a:pt x="744" y="1966"/>
                  </a:lnTo>
                  <a:lnTo>
                    <a:pt x="686" y="1946"/>
                  </a:lnTo>
                  <a:lnTo>
                    <a:pt x="631" y="1924"/>
                  </a:lnTo>
                  <a:lnTo>
                    <a:pt x="579" y="1901"/>
                  </a:lnTo>
                  <a:lnTo>
                    <a:pt x="528" y="1876"/>
                  </a:lnTo>
                  <a:lnTo>
                    <a:pt x="481" y="1849"/>
                  </a:lnTo>
                  <a:lnTo>
                    <a:pt x="435" y="1822"/>
                  </a:lnTo>
                  <a:lnTo>
                    <a:pt x="391" y="1791"/>
                  </a:lnTo>
                  <a:lnTo>
                    <a:pt x="352" y="1759"/>
                  </a:lnTo>
                  <a:lnTo>
                    <a:pt x="315" y="1725"/>
                  </a:lnTo>
                  <a:lnTo>
                    <a:pt x="280" y="1688"/>
                  </a:lnTo>
                  <a:lnTo>
                    <a:pt x="249" y="1649"/>
                  </a:lnTo>
                  <a:lnTo>
                    <a:pt x="222" y="1608"/>
                  </a:lnTo>
                  <a:lnTo>
                    <a:pt x="197" y="1563"/>
                  </a:lnTo>
                  <a:lnTo>
                    <a:pt x="176" y="1515"/>
                  </a:lnTo>
                  <a:lnTo>
                    <a:pt x="158" y="1465"/>
                  </a:lnTo>
                  <a:lnTo>
                    <a:pt x="144" y="1411"/>
                  </a:lnTo>
                  <a:lnTo>
                    <a:pt x="135" y="1354"/>
                  </a:lnTo>
                  <a:lnTo>
                    <a:pt x="128" y="1295"/>
                  </a:lnTo>
                  <a:lnTo>
                    <a:pt x="126" y="1230"/>
                  </a:lnTo>
                  <a:lnTo>
                    <a:pt x="126" y="1222"/>
                  </a:lnTo>
                  <a:lnTo>
                    <a:pt x="128" y="1153"/>
                  </a:lnTo>
                  <a:lnTo>
                    <a:pt x="137" y="1087"/>
                  </a:lnTo>
                  <a:lnTo>
                    <a:pt x="149" y="1022"/>
                  </a:lnTo>
                  <a:lnTo>
                    <a:pt x="167" y="960"/>
                  </a:lnTo>
                  <a:lnTo>
                    <a:pt x="189" y="900"/>
                  </a:lnTo>
                  <a:lnTo>
                    <a:pt x="215" y="843"/>
                  </a:lnTo>
                  <a:lnTo>
                    <a:pt x="247" y="787"/>
                  </a:lnTo>
                  <a:lnTo>
                    <a:pt x="283" y="734"/>
                  </a:lnTo>
                  <a:lnTo>
                    <a:pt x="324" y="686"/>
                  </a:lnTo>
                  <a:lnTo>
                    <a:pt x="368" y="639"/>
                  </a:lnTo>
                  <a:lnTo>
                    <a:pt x="418" y="595"/>
                  </a:lnTo>
                  <a:lnTo>
                    <a:pt x="471" y="555"/>
                  </a:lnTo>
                  <a:lnTo>
                    <a:pt x="528" y="519"/>
                  </a:lnTo>
                  <a:lnTo>
                    <a:pt x="589" y="486"/>
                  </a:lnTo>
                  <a:lnTo>
                    <a:pt x="654" y="456"/>
                  </a:lnTo>
                  <a:lnTo>
                    <a:pt x="723" y="431"/>
                  </a:lnTo>
                  <a:lnTo>
                    <a:pt x="796" y="409"/>
                  </a:lnTo>
                  <a:lnTo>
                    <a:pt x="872" y="392"/>
                  </a:lnTo>
                  <a:lnTo>
                    <a:pt x="953" y="378"/>
                  </a:lnTo>
                  <a:lnTo>
                    <a:pt x="1035" y="369"/>
                  </a:lnTo>
                  <a:lnTo>
                    <a:pt x="1122" y="364"/>
                  </a:lnTo>
                  <a:lnTo>
                    <a:pt x="1122" y="0"/>
                  </a:lnTo>
                  <a:close/>
                </a:path>
              </a:pathLst>
            </a:custGeom>
            <a:solidFill>
              <a:srgbClr val="797979"/>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grpSp>
      <p:sp>
        <p:nvSpPr>
          <p:cNvPr id="106" name="Freeform 133"/>
          <p:cNvSpPr>
            <a:spLocks noChangeArrowheads="1"/>
          </p:cNvSpPr>
          <p:nvPr/>
        </p:nvSpPr>
        <p:spPr bwMode="auto">
          <a:xfrm>
            <a:off x="622592" y="1594520"/>
            <a:ext cx="485787" cy="376364"/>
          </a:xfrm>
          <a:custGeom>
            <a:avLst/>
            <a:gdLst>
              <a:gd name="T0" fmla="*/ 2147483647 w 3456"/>
              <a:gd name="T1" fmla="*/ 2147483647 h 3045"/>
              <a:gd name="T2" fmla="*/ 2147483647 w 3456"/>
              <a:gd name="T3" fmla="*/ 2147483647 h 3045"/>
              <a:gd name="T4" fmla="*/ 2147483647 w 3456"/>
              <a:gd name="T5" fmla="*/ 2147483647 h 3045"/>
              <a:gd name="T6" fmla="*/ 2147483647 w 3456"/>
              <a:gd name="T7" fmla="*/ 2147483647 h 3045"/>
              <a:gd name="T8" fmla="*/ 2147483647 w 3456"/>
              <a:gd name="T9" fmla="*/ 2147483647 h 3045"/>
              <a:gd name="T10" fmla="*/ 2147483647 w 3456"/>
              <a:gd name="T11" fmla="*/ 2147483647 h 3045"/>
              <a:gd name="T12" fmla="*/ 2147483647 w 3456"/>
              <a:gd name="T13" fmla="*/ 2147483647 h 3045"/>
              <a:gd name="T14" fmla="*/ 2147483647 w 3456"/>
              <a:gd name="T15" fmla="*/ 2147483647 h 3045"/>
              <a:gd name="T16" fmla="*/ 2147483647 w 3456"/>
              <a:gd name="T17" fmla="*/ 2147483647 h 3045"/>
              <a:gd name="T18" fmla="*/ 2147483647 w 3456"/>
              <a:gd name="T19" fmla="*/ 2147483647 h 3045"/>
              <a:gd name="T20" fmla="*/ 2147483647 w 3456"/>
              <a:gd name="T21" fmla="*/ 2147483647 h 3045"/>
              <a:gd name="T22" fmla="*/ 2147483647 w 3456"/>
              <a:gd name="T23" fmla="*/ 2147483647 h 3045"/>
              <a:gd name="T24" fmla="*/ 2147483647 w 3456"/>
              <a:gd name="T25" fmla="*/ 2147483647 h 3045"/>
              <a:gd name="T26" fmla="*/ 2147483647 w 3456"/>
              <a:gd name="T27" fmla="*/ 2147483647 h 3045"/>
              <a:gd name="T28" fmla="*/ 2147483647 w 3456"/>
              <a:gd name="T29" fmla="*/ 2147483647 h 3045"/>
              <a:gd name="T30" fmla="*/ 2147483647 w 3456"/>
              <a:gd name="T31" fmla="*/ 2147483647 h 3045"/>
              <a:gd name="T32" fmla="*/ 2147483647 w 3456"/>
              <a:gd name="T33" fmla="*/ 2147483647 h 3045"/>
              <a:gd name="T34" fmla="*/ 2147483647 w 3456"/>
              <a:gd name="T35" fmla="*/ 2147483647 h 3045"/>
              <a:gd name="T36" fmla="*/ 2147483647 w 3456"/>
              <a:gd name="T37" fmla="*/ 2147483647 h 3045"/>
              <a:gd name="T38" fmla="*/ 2147483647 w 3456"/>
              <a:gd name="T39" fmla="*/ 2147483647 h 3045"/>
              <a:gd name="T40" fmla="*/ 2147483647 w 3456"/>
              <a:gd name="T41" fmla="*/ 2147483647 h 3045"/>
              <a:gd name="T42" fmla="*/ 2147483647 w 3456"/>
              <a:gd name="T43" fmla="*/ 2147483647 h 3045"/>
              <a:gd name="T44" fmla="*/ 2147483647 w 3456"/>
              <a:gd name="T45" fmla="*/ 2147483647 h 3045"/>
              <a:gd name="T46" fmla="*/ 2147483647 w 3456"/>
              <a:gd name="T47" fmla="*/ 2147483647 h 3045"/>
              <a:gd name="T48" fmla="*/ 2147483647 w 3456"/>
              <a:gd name="T49" fmla="*/ 2147483647 h 3045"/>
              <a:gd name="T50" fmla="*/ 2147483647 w 3456"/>
              <a:gd name="T51" fmla="*/ 2147483647 h 3045"/>
              <a:gd name="T52" fmla="*/ 2147483647 w 3456"/>
              <a:gd name="T53" fmla="*/ 2147483647 h 3045"/>
              <a:gd name="T54" fmla="*/ 2147483647 w 3456"/>
              <a:gd name="T55" fmla="*/ 2147483647 h 3045"/>
              <a:gd name="T56" fmla="*/ 2147483647 w 3456"/>
              <a:gd name="T57" fmla="*/ 2147483647 h 3045"/>
              <a:gd name="T58" fmla="*/ 2147483647 w 3456"/>
              <a:gd name="T59" fmla="*/ 2147483647 h 3045"/>
              <a:gd name="T60" fmla="*/ 2147483647 w 3456"/>
              <a:gd name="T61" fmla="*/ 2147483647 h 3045"/>
              <a:gd name="T62" fmla="*/ 2147483647 w 3456"/>
              <a:gd name="T63" fmla="*/ 2147483647 h 3045"/>
              <a:gd name="T64" fmla="*/ 2147483647 w 3456"/>
              <a:gd name="T65" fmla="*/ 2147483647 h 3045"/>
              <a:gd name="T66" fmla="*/ 2147483647 w 3456"/>
              <a:gd name="T67" fmla="*/ 2147483647 h 3045"/>
              <a:gd name="T68" fmla="*/ 2147483647 w 3456"/>
              <a:gd name="T69" fmla="*/ 2147483647 h 3045"/>
              <a:gd name="T70" fmla="*/ 2147483647 w 3456"/>
              <a:gd name="T71" fmla="*/ 2147483647 h 3045"/>
              <a:gd name="T72" fmla="*/ 2147483647 w 3456"/>
              <a:gd name="T73" fmla="*/ 2147483647 h 3045"/>
              <a:gd name="T74" fmla="*/ 2147483647 w 3456"/>
              <a:gd name="T75" fmla="*/ 2147483647 h 3045"/>
              <a:gd name="T76" fmla="*/ 2147483647 w 3456"/>
              <a:gd name="T77" fmla="*/ 2147483647 h 3045"/>
              <a:gd name="T78" fmla="*/ 2147483647 w 3456"/>
              <a:gd name="T79" fmla="*/ 2147483647 h 3045"/>
              <a:gd name="T80" fmla="*/ 2147483647 w 3456"/>
              <a:gd name="T81" fmla="*/ 2147483647 h 3045"/>
              <a:gd name="T82" fmla="*/ 0 w 3456"/>
              <a:gd name="T83" fmla="*/ 2147483647 h 3045"/>
              <a:gd name="T84" fmla="*/ 2147483647 w 3456"/>
              <a:gd name="T85" fmla="*/ 2147483647 h 3045"/>
              <a:gd name="T86" fmla="*/ 2147483647 w 3456"/>
              <a:gd name="T87" fmla="*/ 2147483647 h 3045"/>
              <a:gd name="T88" fmla="*/ 2147483647 w 3456"/>
              <a:gd name="T89" fmla="*/ 2147483647 h 3045"/>
              <a:gd name="T90" fmla="*/ 2147483647 w 3456"/>
              <a:gd name="T91" fmla="*/ 2147483647 h 3045"/>
              <a:gd name="T92" fmla="*/ 2147483647 w 3456"/>
              <a:gd name="T93" fmla="*/ 2147483647 h 3045"/>
              <a:gd name="T94" fmla="*/ 2147483647 w 3456"/>
              <a:gd name="T95" fmla="*/ 2147483647 h 3045"/>
              <a:gd name="T96" fmla="*/ 2147483647 w 3456"/>
              <a:gd name="T97" fmla="*/ 2147483647 h 3045"/>
              <a:gd name="T98" fmla="*/ 2147483647 w 3456"/>
              <a:gd name="T99" fmla="*/ 2147483647 h 3045"/>
              <a:gd name="T100" fmla="*/ 2147483647 w 3456"/>
              <a:gd name="T101" fmla="*/ 2147483647 h 3045"/>
              <a:gd name="T102" fmla="*/ 2147483647 w 3456"/>
              <a:gd name="T103" fmla="*/ 2147483647 h 3045"/>
              <a:gd name="T104" fmla="*/ 2147483647 w 3456"/>
              <a:gd name="T105" fmla="*/ 2147483647 h 3045"/>
              <a:gd name="T106" fmla="*/ 2147483647 w 3456"/>
              <a:gd name="T107" fmla="*/ 2147483647 h 3045"/>
              <a:gd name="T108" fmla="*/ 2147483647 w 3456"/>
              <a:gd name="T109" fmla="*/ 0 h 304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56"/>
              <a:gd name="T166" fmla="*/ 0 h 3045"/>
              <a:gd name="T167" fmla="*/ 3456 w 3456"/>
              <a:gd name="T168" fmla="*/ 3045 h 304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56" h="3045">
                <a:moveTo>
                  <a:pt x="1613" y="518"/>
                </a:moveTo>
                <a:lnTo>
                  <a:pt x="1529" y="523"/>
                </a:lnTo>
                <a:lnTo>
                  <a:pt x="1446" y="534"/>
                </a:lnTo>
                <a:lnTo>
                  <a:pt x="1364" y="549"/>
                </a:lnTo>
                <a:lnTo>
                  <a:pt x="1283" y="570"/>
                </a:lnTo>
                <a:lnTo>
                  <a:pt x="1204" y="595"/>
                </a:lnTo>
                <a:lnTo>
                  <a:pt x="1180" y="606"/>
                </a:lnTo>
                <a:lnTo>
                  <a:pt x="1159" y="621"/>
                </a:lnTo>
                <a:lnTo>
                  <a:pt x="1142" y="639"/>
                </a:lnTo>
                <a:lnTo>
                  <a:pt x="1127" y="660"/>
                </a:lnTo>
                <a:lnTo>
                  <a:pt x="1116" y="683"/>
                </a:lnTo>
                <a:lnTo>
                  <a:pt x="1109" y="707"/>
                </a:lnTo>
                <a:lnTo>
                  <a:pt x="1107" y="732"/>
                </a:lnTo>
                <a:lnTo>
                  <a:pt x="1109" y="757"/>
                </a:lnTo>
                <a:lnTo>
                  <a:pt x="1116" y="783"/>
                </a:lnTo>
                <a:lnTo>
                  <a:pt x="1127" y="806"/>
                </a:lnTo>
                <a:lnTo>
                  <a:pt x="1143" y="827"/>
                </a:lnTo>
                <a:lnTo>
                  <a:pt x="1160" y="845"/>
                </a:lnTo>
                <a:lnTo>
                  <a:pt x="1180" y="860"/>
                </a:lnTo>
                <a:lnTo>
                  <a:pt x="1203" y="870"/>
                </a:lnTo>
                <a:lnTo>
                  <a:pt x="1227" y="877"/>
                </a:lnTo>
                <a:lnTo>
                  <a:pt x="1253" y="880"/>
                </a:lnTo>
                <a:lnTo>
                  <a:pt x="1279" y="878"/>
                </a:lnTo>
                <a:lnTo>
                  <a:pt x="1305" y="870"/>
                </a:lnTo>
                <a:lnTo>
                  <a:pt x="1372" y="849"/>
                </a:lnTo>
                <a:lnTo>
                  <a:pt x="1441" y="833"/>
                </a:lnTo>
                <a:lnTo>
                  <a:pt x="1511" y="820"/>
                </a:lnTo>
                <a:lnTo>
                  <a:pt x="1582" y="813"/>
                </a:lnTo>
                <a:lnTo>
                  <a:pt x="1655" y="811"/>
                </a:lnTo>
                <a:lnTo>
                  <a:pt x="1726" y="813"/>
                </a:lnTo>
                <a:lnTo>
                  <a:pt x="1797" y="820"/>
                </a:lnTo>
                <a:lnTo>
                  <a:pt x="1868" y="833"/>
                </a:lnTo>
                <a:lnTo>
                  <a:pt x="1937" y="849"/>
                </a:lnTo>
                <a:lnTo>
                  <a:pt x="2004" y="870"/>
                </a:lnTo>
                <a:lnTo>
                  <a:pt x="2030" y="878"/>
                </a:lnTo>
                <a:lnTo>
                  <a:pt x="2055" y="880"/>
                </a:lnTo>
                <a:lnTo>
                  <a:pt x="2080" y="878"/>
                </a:lnTo>
                <a:lnTo>
                  <a:pt x="2105" y="870"/>
                </a:lnTo>
                <a:lnTo>
                  <a:pt x="2128" y="860"/>
                </a:lnTo>
                <a:lnTo>
                  <a:pt x="2148" y="846"/>
                </a:lnTo>
                <a:lnTo>
                  <a:pt x="2167" y="829"/>
                </a:lnTo>
                <a:lnTo>
                  <a:pt x="2181" y="808"/>
                </a:lnTo>
                <a:lnTo>
                  <a:pt x="2193" y="783"/>
                </a:lnTo>
                <a:lnTo>
                  <a:pt x="2200" y="757"/>
                </a:lnTo>
                <a:lnTo>
                  <a:pt x="2202" y="732"/>
                </a:lnTo>
                <a:lnTo>
                  <a:pt x="2199" y="707"/>
                </a:lnTo>
                <a:lnTo>
                  <a:pt x="2193" y="683"/>
                </a:lnTo>
                <a:lnTo>
                  <a:pt x="2183" y="660"/>
                </a:lnTo>
                <a:lnTo>
                  <a:pt x="2168" y="639"/>
                </a:lnTo>
                <a:lnTo>
                  <a:pt x="2150" y="621"/>
                </a:lnTo>
                <a:lnTo>
                  <a:pt x="2129" y="606"/>
                </a:lnTo>
                <a:lnTo>
                  <a:pt x="2105" y="595"/>
                </a:lnTo>
                <a:lnTo>
                  <a:pt x="2026" y="570"/>
                </a:lnTo>
                <a:lnTo>
                  <a:pt x="1945" y="549"/>
                </a:lnTo>
                <a:lnTo>
                  <a:pt x="1863" y="534"/>
                </a:lnTo>
                <a:lnTo>
                  <a:pt x="1780" y="523"/>
                </a:lnTo>
                <a:lnTo>
                  <a:pt x="1697" y="518"/>
                </a:lnTo>
                <a:lnTo>
                  <a:pt x="1613" y="518"/>
                </a:lnTo>
                <a:close/>
                <a:moveTo>
                  <a:pt x="2886" y="0"/>
                </a:moveTo>
                <a:lnTo>
                  <a:pt x="2886" y="889"/>
                </a:lnTo>
                <a:lnTo>
                  <a:pt x="2930" y="961"/>
                </a:lnTo>
                <a:lnTo>
                  <a:pt x="2970" y="1035"/>
                </a:lnTo>
                <a:lnTo>
                  <a:pt x="3004" y="1113"/>
                </a:lnTo>
                <a:lnTo>
                  <a:pt x="3309" y="1113"/>
                </a:lnTo>
                <a:lnTo>
                  <a:pt x="3339" y="1116"/>
                </a:lnTo>
                <a:lnTo>
                  <a:pt x="3366" y="1124"/>
                </a:lnTo>
                <a:lnTo>
                  <a:pt x="3391" y="1138"/>
                </a:lnTo>
                <a:lnTo>
                  <a:pt x="3413" y="1156"/>
                </a:lnTo>
                <a:lnTo>
                  <a:pt x="3431" y="1178"/>
                </a:lnTo>
                <a:lnTo>
                  <a:pt x="3444" y="1202"/>
                </a:lnTo>
                <a:lnTo>
                  <a:pt x="3453" y="1229"/>
                </a:lnTo>
                <a:lnTo>
                  <a:pt x="3456" y="1259"/>
                </a:lnTo>
                <a:lnTo>
                  <a:pt x="3456" y="1827"/>
                </a:lnTo>
                <a:lnTo>
                  <a:pt x="3453" y="1856"/>
                </a:lnTo>
                <a:lnTo>
                  <a:pt x="3444" y="1883"/>
                </a:lnTo>
                <a:lnTo>
                  <a:pt x="3431" y="1908"/>
                </a:lnTo>
                <a:lnTo>
                  <a:pt x="3413" y="1930"/>
                </a:lnTo>
                <a:lnTo>
                  <a:pt x="3391" y="1948"/>
                </a:lnTo>
                <a:lnTo>
                  <a:pt x="3366" y="1962"/>
                </a:lnTo>
                <a:lnTo>
                  <a:pt x="3339" y="1970"/>
                </a:lnTo>
                <a:lnTo>
                  <a:pt x="3309" y="1973"/>
                </a:lnTo>
                <a:lnTo>
                  <a:pt x="3004" y="1973"/>
                </a:lnTo>
                <a:lnTo>
                  <a:pt x="2972" y="2046"/>
                </a:lnTo>
                <a:lnTo>
                  <a:pt x="2936" y="2116"/>
                </a:lnTo>
                <a:lnTo>
                  <a:pt x="2895" y="2183"/>
                </a:lnTo>
                <a:lnTo>
                  <a:pt x="2850" y="2248"/>
                </a:lnTo>
                <a:lnTo>
                  <a:pt x="2800" y="2311"/>
                </a:lnTo>
                <a:lnTo>
                  <a:pt x="2747" y="2371"/>
                </a:lnTo>
                <a:lnTo>
                  <a:pt x="2690" y="2427"/>
                </a:lnTo>
                <a:lnTo>
                  <a:pt x="2630" y="2481"/>
                </a:lnTo>
                <a:lnTo>
                  <a:pt x="2708" y="3045"/>
                </a:lnTo>
                <a:lnTo>
                  <a:pt x="2096" y="3045"/>
                </a:lnTo>
                <a:lnTo>
                  <a:pt x="2087" y="2765"/>
                </a:lnTo>
                <a:lnTo>
                  <a:pt x="2004" y="2786"/>
                </a:lnTo>
                <a:lnTo>
                  <a:pt x="1920" y="2803"/>
                </a:lnTo>
                <a:lnTo>
                  <a:pt x="1833" y="2815"/>
                </a:lnTo>
                <a:lnTo>
                  <a:pt x="1745" y="2823"/>
                </a:lnTo>
                <a:lnTo>
                  <a:pt x="1655" y="2825"/>
                </a:lnTo>
                <a:lnTo>
                  <a:pt x="1565" y="2823"/>
                </a:lnTo>
                <a:lnTo>
                  <a:pt x="1477" y="2815"/>
                </a:lnTo>
                <a:lnTo>
                  <a:pt x="1390" y="2803"/>
                </a:lnTo>
                <a:lnTo>
                  <a:pt x="1305" y="2786"/>
                </a:lnTo>
                <a:lnTo>
                  <a:pt x="1221" y="2765"/>
                </a:lnTo>
                <a:lnTo>
                  <a:pt x="1214" y="3045"/>
                </a:lnTo>
                <a:lnTo>
                  <a:pt x="600" y="3045"/>
                </a:lnTo>
                <a:lnTo>
                  <a:pt x="680" y="2481"/>
                </a:lnTo>
                <a:lnTo>
                  <a:pt x="617" y="2425"/>
                </a:lnTo>
                <a:lnTo>
                  <a:pt x="558" y="2367"/>
                </a:lnTo>
                <a:lnTo>
                  <a:pt x="503" y="2306"/>
                </a:lnTo>
                <a:lnTo>
                  <a:pt x="452" y="2241"/>
                </a:lnTo>
                <a:lnTo>
                  <a:pt x="406" y="2173"/>
                </a:lnTo>
                <a:lnTo>
                  <a:pt x="364" y="2102"/>
                </a:lnTo>
                <a:lnTo>
                  <a:pt x="328" y="2030"/>
                </a:lnTo>
                <a:lnTo>
                  <a:pt x="296" y="1955"/>
                </a:lnTo>
                <a:lnTo>
                  <a:pt x="270" y="1878"/>
                </a:lnTo>
                <a:lnTo>
                  <a:pt x="249" y="1798"/>
                </a:lnTo>
                <a:lnTo>
                  <a:pt x="208" y="1794"/>
                </a:lnTo>
                <a:lnTo>
                  <a:pt x="171" y="1784"/>
                </a:lnTo>
                <a:lnTo>
                  <a:pt x="134" y="1768"/>
                </a:lnTo>
                <a:lnTo>
                  <a:pt x="102" y="1747"/>
                </a:lnTo>
                <a:lnTo>
                  <a:pt x="72" y="1721"/>
                </a:lnTo>
                <a:lnTo>
                  <a:pt x="48" y="1691"/>
                </a:lnTo>
                <a:lnTo>
                  <a:pt x="27" y="1659"/>
                </a:lnTo>
                <a:lnTo>
                  <a:pt x="13" y="1622"/>
                </a:lnTo>
                <a:lnTo>
                  <a:pt x="3" y="1583"/>
                </a:lnTo>
                <a:lnTo>
                  <a:pt x="0" y="1543"/>
                </a:lnTo>
                <a:lnTo>
                  <a:pt x="3" y="1502"/>
                </a:lnTo>
                <a:lnTo>
                  <a:pt x="13" y="1463"/>
                </a:lnTo>
                <a:lnTo>
                  <a:pt x="27" y="1427"/>
                </a:lnTo>
                <a:lnTo>
                  <a:pt x="48" y="1394"/>
                </a:lnTo>
                <a:lnTo>
                  <a:pt x="72" y="1364"/>
                </a:lnTo>
                <a:lnTo>
                  <a:pt x="102" y="1339"/>
                </a:lnTo>
                <a:lnTo>
                  <a:pt x="134" y="1318"/>
                </a:lnTo>
                <a:lnTo>
                  <a:pt x="171" y="1302"/>
                </a:lnTo>
                <a:lnTo>
                  <a:pt x="208" y="1292"/>
                </a:lnTo>
                <a:lnTo>
                  <a:pt x="249" y="1288"/>
                </a:lnTo>
                <a:lnTo>
                  <a:pt x="271" y="1205"/>
                </a:lnTo>
                <a:lnTo>
                  <a:pt x="298" y="1124"/>
                </a:lnTo>
                <a:lnTo>
                  <a:pt x="332" y="1046"/>
                </a:lnTo>
                <a:lnTo>
                  <a:pt x="371" y="970"/>
                </a:lnTo>
                <a:lnTo>
                  <a:pt x="416" y="898"/>
                </a:lnTo>
                <a:lnTo>
                  <a:pt x="464" y="827"/>
                </a:lnTo>
                <a:lnTo>
                  <a:pt x="518" y="760"/>
                </a:lnTo>
                <a:lnTo>
                  <a:pt x="577" y="697"/>
                </a:lnTo>
                <a:lnTo>
                  <a:pt x="640" y="638"/>
                </a:lnTo>
                <a:lnTo>
                  <a:pt x="706" y="581"/>
                </a:lnTo>
                <a:lnTo>
                  <a:pt x="777" y="529"/>
                </a:lnTo>
                <a:lnTo>
                  <a:pt x="851" y="480"/>
                </a:lnTo>
                <a:lnTo>
                  <a:pt x="930" y="436"/>
                </a:lnTo>
                <a:lnTo>
                  <a:pt x="1012" y="397"/>
                </a:lnTo>
                <a:lnTo>
                  <a:pt x="1095" y="362"/>
                </a:lnTo>
                <a:lnTo>
                  <a:pt x="1183" y="332"/>
                </a:lnTo>
                <a:lnTo>
                  <a:pt x="1272" y="306"/>
                </a:lnTo>
                <a:lnTo>
                  <a:pt x="1366" y="286"/>
                </a:lnTo>
                <a:lnTo>
                  <a:pt x="1460" y="273"/>
                </a:lnTo>
                <a:lnTo>
                  <a:pt x="1556" y="263"/>
                </a:lnTo>
                <a:lnTo>
                  <a:pt x="1655" y="260"/>
                </a:lnTo>
                <a:lnTo>
                  <a:pt x="1754" y="263"/>
                </a:lnTo>
                <a:lnTo>
                  <a:pt x="1853" y="273"/>
                </a:lnTo>
                <a:lnTo>
                  <a:pt x="1948" y="289"/>
                </a:lnTo>
                <a:lnTo>
                  <a:pt x="2042" y="308"/>
                </a:lnTo>
                <a:lnTo>
                  <a:pt x="2133" y="335"/>
                </a:lnTo>
                <a:lnTo>
                  <a:pt x="2221" y="366"/>
                </a:lnTo>
                <a:lnTo>
                  <a:pt x="2307" y="402"/>
                </a:lnTo>
                <a:lnTo>
                  <a:pt x="2886" y="0"/>
                </a:lnTo>
                <a:close/>
              </a:path>
            </a:pathLst>
          </a:custGeom>
          <a:solidFill>
            <a:schemeClr val="accent2"/>
          </a:solidFill>
          <a:ln w="9525">
            <a:noFill/>
            <a:round/>
            <a:headEnd/>
            <a:tailEnd/>
          </a:ln>
        </p:spPr>
        <p:txBody>
          <a:bodyPr wrap="none" anchor="ctr"/>
          <a:lstStyle/>
          <a:p>
            <a:pPr fontAlgn="auto">
              <a:spcBef>
                <a:spcPts val="0"/>
              </a:spcBef>
              <a:spcAft>
                <a:spcPts val="0"/>
              </a:spcAft>
            </a:pPr>
            <a:endParaRPr lang="en-GB" dirty="0">
              <a:solidFill>
                <a:srgbClr val="000000"/>
              </a:solidFill>
              <a:latin typeface="Arial"/>
            </a:endParaRPr>
          </a:p>
        </p:txBody>
      </p:sp>
      <p:pic>
        <p:nvPicPr>
          <p:cNvPr id="14340" name="Picture 4" descr="http://www.navigon.com/export/sites/default/common/images/features/NAVIGON_feature_2d_icon_lane_assistant_pro.jpg"/>
          <p:cNvPicPr>
            <a:picLocks noChangeAspect="1" noChangeArrowheads="1"/>
          </p:cNvPicPr>
          <p:nvPr/>
        </p:nvPicPr>
        <p:blipFill>
          <a:blip r:embed="rId4" cstate="print">
            <a:clrChange>
              <a:clrFrom>
                <a:srgbClr val="FEFEFE"/>
              </a:clrFrom>
              <a:clrTo>
                <a:srgbClr val="FEFEFE">
                  <a:alpha val="0"/>
                </a:srgbClr>
              </a:clrTo>
            </a:clrChange>
            <a:duotone>
              <a:schemeClr val="accent2">
                <a:shade val="45000"/>
                <a:satMod val="135000"/>
              </a:schemeClr>
              <a:prstClr val="white"/>
            </a:duotone>
          </a:blip>
          <a:srcRect l="21295" r="25466"/>
          <a:stretch>
            <a:fillRect/>
          </a:stretch>
        </p:blipFill>
        <p:spPr bwMode="auto">
          <a:xfrm>
            <a:off x="7941437" y="4954153"/>
            <a:ext cx="648072" cy="805814"/>
          </a:xfrm>
          <a:prstGeom prst="rect">
            <a:avLst/>
          </a:prstGeom>
          <a:noFill/>
        </p:spPr>
      </p:pic>
      <p:sp>
        <p:nvSpPr>
          <p:cNvPr id="88" name="Rounded Rectangle 87"/>
          <p:cNvSpPr/>
          <p:nvPr/>
        </p:nvSpPr>
        <p:spPr>
          <a:xfrm rot="5400000">
            <a:off x="2113889" y="3057885"/>
            <a:ext cx="1076355" cy="4754266"/>
          </a:xfrm>
          <a:prstGeom prst="roundRect">
            <a:avLst/>
          </a:prstGeom>
          <a:noFill/>
          <a:ln w="38100"/>
          <a:effectLst>
            <a:outerShdw blurRad="50800" dist="38100" dir="2700000" algn="tl" rotWithShape="0">
              <a:prstClr val="black">
                <a:alpha val="40000"/>
              </a:prstClr>
            </a:outerShdw>
          </a:effectLst>
          <a:scene3d>
            <a:camera prst="orthographicFront"/>
            <a:lightRig rig="threePt" dir="t"/>
          </a:scene3d>
          <a:sp3d>
            <a:bevelT w="139700" prst="cross"/>
          </a:sp3d>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endParaRPr lang="en-US" dirty="0">
              <a:solidFill>
                <a:srgbClr val="000000"/>
              </a:solidFill>
            </a:endParaRPr>
          </a:p>
        </p:txBody>
      </p:sp>
      <p:sp>
        <p:nvSpPr>
          <p:cNvPr id="91" name="Rounded Rectangle 90"/>
          <p:cNvSpPr/>
          <p:nvPr/>
        </p:nvSpPr>
        <p:spPr>
          <a:xfrm>
            <a:off x="7699421" y="1412776"/>
            <a:ext cx="1179513" cy="4617729"/>
          </a:xfrm>
          <a:prstGeom prst="roundRect">
            <a:avLst/>
          </a:prstGeom>
          <a:noFill/>
          <a:ln w="38100"/>
          <a:effectLst>
            <a:outerShdw blurRad="50800" dist="38100" dir="2700000" algn="tl" rotWithShape="0">
              <a:prstClr val="black">
                <a:alpha val="40000"/>
              </a:prstClr>
            </a:outerShdw>
          </a:effectLst>
          <a:scene3d>
            <a:camera prst="orthographicFront"/>
            <a:lightRig rig="threePt" dir="t"/>
          </a:scene3d>
          <a:sp3d>
            <a:bevelT w="139700" prst="cross"/>
          </a:sp3d>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endParaRPr lang="en-US" dirty="0">
              <a:solidFill>
                <a:srgbClr val="000000"/>
              </a:solidFill>
            </a:endParaRPr>
          </a:p>
        </p:txBody>
      </p:sp>
      <p:sp>
        <p:nvSpPr>
          <p:cNvPr id="107" name="Rounded Rectangle 106"/>
          <p:cNvSpPr/>
          <p:nvPr/>
        </p:nvSpPr>
        <p:spPr>
          <a:xfrm rot="5400000">
            <a:off x="5988602" y="-483453"/>
            <a:ext cx="1035555" cy="4828018"/>
          </a:xfrm>
          <a:prstGeom prst="roundRect">
            <a:avLst/>
          </a:prstGeom>
          <a:noFill/>
          <a:ln w="38100"/>
          <a:effectLst>
            <a:outerShdw blurRad="50800" dist="38100" dir="2700000" algn="tl" rotWithShape="0">
              <a:prstClr val="black">
                <a:alpha val="40000"/>
              </a:prstClr>
            </a:outerShdw>
          </a:effectLst>
          <a:scene3d>
            <a:camera prst="orthographicFront"/>
            <a:lightRig rig="threePt" dir="t"/>
          </a:scene3d>
          <a:sp3d>
            <a:bevelT w="139700" prst="cross"/>
          </a:sp3d>
        </p:spPr>
        <p:style>
          <a:lnRef idx="2">
            <a:schemeClr val="accent2"/>
          </a:lnRef>
          <a:fillRef idx="1">
            <a:schemeClr val="lt1"/>
          </a:fillRef>
          <a:effectRef idx="0">
            <a:schemeClr val="accent2"/>
          </a:effectRef>
          <a:fontRef idx="minor">
            <a:schemeClr val="dk1"/>
          </a:fontRef>
        </p:style>
        <p:txBody>
          <a:bodyPr rtlCol="0" anchor="ctr"/>
          <a:lstStyle/>
          <a:p>
            <a:pPr algn="ctr" fontAlgn="auto">
              <a:spcBef>
                <a:spcPts val="0"/>
              </a:spcBef>
              <a:spcAft>
                <a:spcPts val="0"/>
              </a:spcAft>
            </a:pPr>
            <a:endParaRPr lang="en-US" dirty="0">
              <a:solidFill>
                <a:srgbClr val="000000"/>
              </a:solidFill>
            </a:endParaRPr>
          </a:p>
        </p:txBody>
      </p:sp>
      <p:grpSp>
        <p:nvGrpSpPr>
          <p:cNvPr id="14354" name="Group 14353"/>
          <p:cNvGrpSpPr/>
          <p:nvPr/>
        </p:nvGrpSpPr>
        <p:grpSpPr>
          <a:xfrm>
            <a:off x="1574008" y="1412779"/>
            <a:ext cx="2312192" cy="3484061"/>
            <a:chOff x="1574008" y="1688761"/>
            <a:chExt cx="2312192" cy="3484061"/>
          </a:xfrm>
        </p:grpSpPr>
        <p:sp>
          <p:nvSpPr>
            <p:cNvPr id="14353" name="Down Arrow 14352"/>
            <p:cNvSpPr/>
            <p:nvPr/>
          </p:nvSpPr>
          <p:spPr>
            <a:xfrm>
              <a:off x="2355777" y="4826041"/>
              <a:ext cx="1066800" cy="346781"/>
            </a:xfrm>
            <a:prstGeom prst="down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52" name="Left Arrow Callout 14351"/>
            <p:cNvSpPr/>
            <p:nvPr/>
          </p:nvSpPr>
          <p:spPr>
            <a:xfrm>
              <a:off x="1574008" y="1688761"/>
              <a:ext cx="2312192" cy="3137281"/>
            </a:xfrm>
            <a:prstGeom prst="leftArrowCallout">
              <a:avLst>
                <a:gd name="adj1" fmla="val 25000"/>
                <a:gd name="adj2" fmla="val 25000"/>
                <a:gd name="adj3" fmla="val 7391"/>
                <a:gd name="adj4" fmla="val 8845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0" name="Group 109"/>
          <p:cNvGrpSpPr/>
          <p:nvPr/>
        </p:nvGrpSpPr>
        <p:grpSpPr>
          <a:xfrm rot="10800000">
            <a:off x="5239717" y="2514308"/>
            <a:ext cx="2388392" cy="3534309"/>
            <a:chOff x="1574008" y="1688761"/>
            <a:chExt cx="2388392" cy="3534309"/>
          </a:xfrm>
          <a:noFill/>
        </p:grpSpPr>
        <p:sp>
          <p:nvSpPr>
            <p:cNvPr id="111" name="Down Arrow 110"/>
            <p:cNvSpPr/>
            <p:nvPr/>
          </p:nvSpPr>
          <p:spPr>
            <a:xfrm>
              <a:off x="2355777" y="4836710"/>
              <a:ext cx="1066800" cy="386360"/>
            </a:xfrm>
            <a:prstGeom prst="downArrow">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Left Arrow Callout 111"/>
            <p:cNvSpPr/>
            <p:nvPr/>
          </p:nvSpPr>
          <p:spPr>
            <a:xfrm>
              <a:off x="1574008" y="1688761"/>
              <a:ext cx="2388392" cy="3137281"/>
            </a:xfrm>
            <a:prstGeom prst="leftArrowCallout">
              <a:avLst>
                <a:gd name="adj1" fmla="val 25000"/>
                <a:gd name="adj2" fmla="val 25000"/>
                <a:gd name="adj3" fmla="val 7391"/>
                <a:gd name="adj4" fmla="val 88456"/>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355" name="TextBox 14354"/>
          <p:cNvSpPr txBox="1"/>
          <p:nvPr/>
        </p:nvSpPr>
        <p:spPr>
          <a:xfrm>
            <a:off x="5257646" y="2982507"/>
            <a:ext cx="2073393" cy="2800767"/>
          </a:xfrm>
          <a:prstGeom prst="rect">
            <a:avLst/>
          </a:prstGeom>
          <a:noFill/>
        </p:spPr>
        <p:txBody>
          <a:bodyPr wrap="square" rtlCol="0">
            <a:spAutoFit/>
          </a:bodyPr>
          <a:lstStyle>
            <a:defPPr>
              <a:defRPr lang="en-US"/>
            </a:defPPr>
            <a:lvl1pPr>
              <a:defRPr sz="1600" b="1">
                <a:solidFill>
                  <a:schemeClr val="tx2"/>
                </a:solidFill>
              </a:defRPr>
            </a:lvl1pPr>
          </a:lstStyle>
          <a:p>
            <a:r>
              <a:rPr lang="en-US" dirty="0" smtClean="0">
                <a:solidFill>
                  <a:schemeClr val="tx1"/>
                </a:solidFill>
              </a:rPr>
              <a:t>Framework</a:t>
            </a:r>
          </a:p>
          <a:p>
            <a:r>
              <a:rPr lang="en-US" b="0" dirty="0" smtClean="0">
                <a:solidFill>
                  <a:schemeClr val="tx1"/>
                </a:solidFill>
              </a:rPr>
              <a:t>Current infrastructural framework and enablers need to be upgraded or purpose built to a higher plane of intelligence to serve the upcoming needs of intelligent mobility. </a:t>
            </a:r>
            <a:endParaRPr lang="en-US" b="0" dirty="0">
              <a:solidFill>
                <a:schemeClr val="tx1"/>
              </a:solidFill>
            </a:endParaRPr>
          </a:p>
        </p:txBody>
      </p:sp>
      <p:sp>
        <p:nvSpPr>
          <p:cNvPr id="114" name="TextBox 113"/>
          <p:cNvSpPr txBox="1"/>
          <p:nvPr/>
        </p:nvSpPr>
        <p:spPr>
          <a:xfrm>
            <a:off x="1889007" y="1421503"/>
            <a:ext cx="2073393" cy="3046988"/>
          </a:xfrm>
          <a:prstGeom prst="rect">
            <a:avLst/>
          </a:prstGeom>
          <a:noFill/>
        </p:spPr>
        <p:txBody>
          <a:bodyPr wrap="square" rtlCol="0">
            <a:spAutoFit/>
          </a:bodyPr>
          <a:lstStyle/>
          <a:p>
            <a:r>
              <a:rPr lang="en-US" sz="1600" b="1" dirty="0" smtClean="0"/>
              <a:t>Mobility</a:t>
            </a:r>
          </a:p>
          <a:p>
            <a:r>
              <a:rPr lang="en-US" sz="1600" dirty="0" smtClean="0"/>
              <a:t>Innovative and diverse mobility solutions that cater to a wide range of consumers’ mobility needs will exist cohesively, providing cost-effective and time-saving travel options for commuters.</a:t>
            </a:r>
            <a:endParaRPr lang="en-US" sz="1600" dirty="0"/>
          </a:p>
        </p:txBody>
      </p:sp>
      <p:cxnSp>
        <p:nvCxnSpPr>
          <p:cNvPr id="14357" name="Straight Connector 14356"/>
          <p:cNvCxnSpPr>
            <a:stCxn id="62" idx="6"/>
          </p:cNvCxnSpPr>
          <p:nvPr/>
        </p:nvCxnSpPr>
        <p:spPr>
          <a:xfrm>
            <a:off x="5029200" y="3673032"/>
            <a:ext cx="228446" cy="0"/>
          </a:xfrm>
          <a:prstGeom prst="line">
            <a:avLst/>
          </a:prstGeom>
          <a:ln>
            <a:headEnd type="oval" w="med" len="med"/>
            <a:tailEnd type="oval" w="med" len="med"/>
          </a:ln>
        </p:spPr>
        <p:style>
          <a:lnRef idx="2">
            <a:schemeClr val="accent2"/>
          </a:lnRef>
          <a:fillRef idx="0">
            <a:schemeClr val="accent2"/>
          </a:fillRef>
          <a:effectRef idx="1">
            <a:schemeClr val="accent2"/>
          </a:effectRef>
          <a:fontRef idx="minor">
            <a:schemeClr val="tx1"/>
          </a:fontRef>
        </p:style>
      </p:cxnSp>
      <p:cxnSp>
        <p:nvCxnSpPr>
          <p:cNvPr id="117" name="Straight Connector 116"/>
          <p:cNvCxnSpPr/>
          <p:nvPr/>
        </p:nvCxnSpPr>
        <p:spPr>
          <a:xfrm>
            <a:off x="3886200" y="3686418"/>
            <a:ext cx="228446" cy="0"/>
          </a:xfrm>
          <a:prstGeom prst="line">
            <a:avLst/>
          </a:prstGeom>
          <a:ln>
            <a:headEnd type="oval" w="med" len="med"/>
            <a:tailEnd type="oval" w="med" len="med"/>
          </a:ln>
        </p:spPr>
        <p:style>
          <a:lnRef idx="2">
            <a:schemeClr val="accent2"/>
          </a:lnRef>
          <a:fillRef idx="0">
            <a:schemeClr val="accent2"/>
          </a:fillRef>
          <a:effectRef idx="1">
            <a:schemeClr val="accent2"/>
          </a:effectRef>
          <a:fontRef idx="minor">
            <a:schemeClr val="tx1"/>
          </a:fontRef>
        </p:style>
      </p:cxnSp>
      <p:sp>
        <p:nvSpPr>
          <p:cNvPr id="89" name="Rectangle 2"/>
          <p:cNvSpPr txBox="1">
            <a:spLocks noChangeArrowheads="1"/>
          </p:cNvSpPr>
          <p:nvPr/>
        </p:nvSpPr>
        <p:spPr bwMode="auto">
          <a:xfrm>
            <a:off x="261260" y="152400"/>
            <a:ext cx="899160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lvl1pPr algn="l" rtl="0" eaLnBrk="0" fontAlgn="base" hangingPunct="0">
              <a:spcBef>
                <a:spcPct val="0"/>
              </a:spcBef>
              <a:spcAft>
                <a:spcPct val="0"/>
              </a:spcAft>
              <a:defRPr sz="2000" b="1" baseline="0">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GB" dirty="0"/>
              <a:t>Intelligent Mobility—A Multi-faceted Sustainable Solution</a:t>
            </a:r>
            <a:r>
              <a:rPr lang="en-US" kern="0" dirty="0" smtClean="0">
                <a:solidFill>
                  <a:schemeClr val="tx2"/>
                </a:solidFill>
              </a:rPr>
              <a:t/>
            </a:r>
            <a:br>
              <a:rPr lang="en-US" kern="0" dirty="0" smtClean="0">
                <a:solidFill>
                  <a:schemeClr val="tx2"/>
                </a:solidFill>
              </a:rPr>
            </a:br>
            <a:r>
              <a:rPr lang="en-US" sz="1400" b="0" dirty="0">
                <a:solidFill>
                  <a:schemeClr val="tx2"/>
                </a:solidFill>
              </a:rPr>
              <a:t>Several facets of today’s mobility solutions will face disruption and evolve to fit tomorrow’s intelligent mobility ecosystem, resulting in improved benefits and responsibilities for consumers.</a:t>
            </a:r>
          </a:p>
        </p:txBody>
      </p:sp>
      <p:sp>
        <p:nvSpPr>
          <p:cNvPr id="90" name="Text Box 80"/>
          <p:cNvSpPr txBox="1">
            <a:spLocks noChangeArrowheads="1"/>
          </p:cNvSpPr>
          <p:nvPr/>
        </p:nvSpPr>
        <p:spPr bwMode="auto">
          <a:xfrm>
            <a:off x="5257800" y="6081276"/>
            <a:ext cx="3657600" cy="230832"/>
          </a:xfrm>
          <a:prstGeom prst="rect">
            <a:avLst/>
          </a:prstGeom>
          <a:noFill/>
          <a:ln w="9525">
            <a:noFill/>
            <a:miter lim="800000"/>
            <a:headEnd/>
            <a:tailEnd/>
          </a:ln>
        </p:spPr>
        <p:txBody>
          <a:bodyPr wrap="square" lIns="0" rIns="0">
            <a:spAutoFit/>
          </a:bodyPr>
          <a:lstStyle/>
          <a:p>
            <a:pPr algn="r" eaLnBrk="1" hangingPunct="1">
              <a:lnSpc>
                <a:spcPct val="100000"/>
              </a:lnSpc>
              <a:spcBef>
                <a:spcPct val="0"/>
              </a:spcBef>
              <a:spcAft>
                <a:spcPct val="0"/>
              </a:spcAft>
              <a:buSzTx/>
            </a:pPr>
            <a:r>
              <a:rPr lang="en-US" sz="900" dirty="0">
                <a:solidFill>
                  <a:schemeClr val="accent2"/>
                </a:solidFill>
                <a:latin typeface="+mj-lt"/>
              </a:rPr>
              <a:t>Source: Frost &amp; </a:t>
            </a:r>
            <a:r>
              <a:rPr lang="en-US" sz="900" dirty="0" smtClean="0">
                <a:solidFill>
                  <a:schemeClr val="accent2"/>
                </a:solidFill>
                <a:latin typeface="+mj-lt"/>
              </a:rPr>
              <a:t>Sullivan </a:t>
            </a:r>
            <a:endParaRPr lang="en-US" sz="900" dirty="0">
              <a:solidFill>
                <a:schemeClr val="accent2"/>
              </a:solidFill>
              <a:latin typeface="+mj-lt"/>
            </a:endParaRPr>
          </a:p>
        </p:txBody>
      </p:sp>
    </p:spTree>
    <p:extLst>
      <p:ext uri="{BB962C8B-B14F-4D97-AF65-F5344CB8AC3E}">
        <p14:creationId xmlns:p14="http://schemas.microsoft.com/office/powerpoint/2010/main" val="23721754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6"/>
          <p:cNvGrpSpPr>
            <a:grpSpLocks/>
          </p:cNvGrpSpPr>
          <p:nvPr/>
        </p:nvGrpSpPr>
        <p:grpSpPr bwMode="auto">
          <a:xfrm>
            <a:off x="1245282" y="1578427"/>
            <a:ext cx="2420937" cy="442913"/>
            <a:chOff x="398" y="893"/>
            <a:chExt cx="1747" cy="279"/>
          </a:xfrm>
          <a:solidFill>
            <a:schemeClr val="accent1"/>
          </a:solidFill>
        </p:grpSpPr>
        <p:sp>
          <p:nvSpPr>
            <p:cNvPr id="43" name="Rectangle 7"/>
            <p:cNvSpPr>
              <a:spLocks noChangeArrowheads="1"/>
            </p:cNvSpPr>
            <p:nvPr/>
          </p:nvSpPr>
          <p:spPr bwMode="auto">
            <a:xfrm>
              <a:off x="398" y="893"/>
              <a:ext cx="1747" cy="279"/>
            </a:xfrm>
            <a:prstGeom prst="rect">
              <a:avLst/>
            </a:prstGeom>
            <a:grpFill/>
            <a:ln w="12700">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sz="1900" dirty="0">
                <a:solidFill>
                  <a:schemeClr val="tx1"/>
                </a:solidFill>
              </a:endParaRPr>
            </a:p>
          </p:txBody>
        </p:sp>
        <p:sp>
          <p:nvSpPr>
            <p:cNvPr id="44" name="Rectangle 8"/>
            <p:cNvSpPr>
              <a:spLocks noChangeArrowheads="1"/>
            </p:cNvSpPr>
            <p:nvPr/>
          </p:nvSpPr>
          <p:spPr bwMode="auto">
            <a:xfrm>
              <a:off x="443" y="900"/>
              <a:ext cx="1654" cy="252"/>
            </a:xfrm>
            <a:prstGeom prst="rect">
              <a:avLst/>
            </a:prstGeom>
            <a:grp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defTabSz="762000">
                <a:defRPr sz="1300" b="1">
                  <a:solidFill>
                    <a:srgbClr val="000000"/>
                  </a:solidFill>
                  <a:latin typeface="Arial" pitchFamily="34" charset="0"/>
                  <a:ea typeface="SimSun" pitchFamily="2" charset="-122"/>
                </a:defRPr>
              </a:lvl1pPr>
              <a:lvl2pPr marL="742950" indent="-285750" defTabSz="762000">
                <a:defRPr sz="1300" b="1">
                  <a:solidFill>
                    <a:srgbClr val="000000"/>
                  </a:solidFill>
                  <a:latin typeface="Arial" pitchFamily="34" charset="0"/>
                  <a:ea typeface="SimSun" pitchFamily="2" charset="-122"/>
                </a:defRPr>
              </a:lvl2pPr>
              <a:lvl3pPr marL="1143000" indent="-228600"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lvl="0" algn="ctr" defTabSz="914400"/>
              <a:r>
                <a:rPr lang="en-US" sz="1900" u="sng" dirty="0">
                  <a:solidFill>
                    <a:schemeClr val="tx1"/>
                  </a:solidFill>
                  <a:latin typeface="Arial" charset="0"/>
                  <a:ea typeface="+mn-ea"/>
                </a:rPr>
                <a:t>Safety</a:t>
              </a:r>
            </a:p>
          </p:txBody>
        </p:sp>
      </p:grpSp>
      <p:grpSp>
        <p:nvGrpSpPr>
          <p:cNvPr id="45" name="Group 9"/>
          <p:cNvGrpSpPr>
            <a:grpSpLocks/>
          </p:cNvGrpSpPr>
          <p:nvPr/>
        </p:nvGrpSpPr>
        <p:grpSpPr bwMode="auto">
          <a:xfrm>
            <a:off x="3812269" y="1578427"/>
            <a:ext cx="2420938" cy="442913"/>
            <a:chOff x="2245" y="893"/>
            <a:chExt cx="1747" cy="279"/>
          </a:xfrm>
          <a:solidFill>
            <a:schemeClr val="accent1"/>
          </a:solidFill>
        </p:grpSpPr>
        <p:sp>
          <p:nvSpPr>
            <p:cNvPr id="46" name="Rectangle 10"/>
            <p:cNvSpPr>
              <a:spLocks noChangeArrowheads="1"/>
            </p:cNvSpPr>
            <p:nvPr/>
          </p:nvSpPr>
          <p:spPr bwMode="auto">
            <a:xfrm>
              <a:off x="2245" y="893"/>
              <a:ext cx="1747" cy="279"/>
            </a:xfrm>
            <a:prstGeom prst="rect">
              <a:avLst/>
            </a:prstGeom>
            <a:grpFill/>
            <a:ln w="12700">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sz="1900" dirty="0">
                <a:solidFill>
                  <a:schemeClr val="tx1"/>
                </a:solidFill>
              </a:endParaRPr>
            </a:p>
          </p:txBody>
        </p:sp>
        <p:sp>
          <p:nvSpPr>
            <p:cNvPr id="47" name="Rectangle 11"/>
            <p:cNvSpPr>
              <a:spLocks noChangeArrowheads="1"/>
            </p:cNvSpPr>
            <p:nvPr/>
          </p:nvSpPr>
          <p:spPr bwMode="auto">
            <a:xfrm>
              <a:off x="2290" y="900"/>
              <a:ext cx="1654" cy="252"/>
            </a:xfrm>
            <a:prstGeom prst="rect">
              <a:avLst/>
            </a:prstGeom>
            <a:grp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defTabSz="762000">
                <a:defRPr sz="1300" b="1">
                  <a:solidFill>
                    <a:srgbClr val="000000"/>
                  </a:solidFill>
                  <a:latin typeface="Arial" pitchFamily="34" charset="0"/>
                  <a:ea typeface="SimSun" pitchFamily="2" charset="-122"/>
                </a:defRPr>
              </a:lvl1pPr>
              <a:lvl2pPr marL="742950" indent="-285750" defTabSz="762000">
                <a:defRPr sz="1300" b="1">
                  <a:solidFill>
                    <a:srgbClr val="000000"/>
                  </a:solidFill>
                  <a:latin typeface="Arial" pitchFamily="34" charset="0"/>
                  <a:ea typeface="SimSun" pitchFamily="2" charset="-122"/>
                </a:defRPr>
              </a:lvl2pPr>
              <a:lvl3pPr marL="1143000" indent="-228600"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lvl="0" algn="ctr" defTabSz="914400"/>
              <a:r>
                <a:rPr lang="en-US" sz="1900" u="sng" dirty="0">
                  <a:solidFill>
                    <a:schemeClr val="tx1"/>
                  </a:solidFill>
                  <a:latin typeface="Arial" charset="0"/>
                  <a:ea typeface="+mn-ea"/>
                </a:rPr>
                <a:t>Modes</a:t>
              </a:r>
            </a:p>
          </p:txBody>
        </p:sp>
      </p:grpSp>
      <p:grpSp>
        <p:nvGrpSpPr>
          <p:cNvPr id="48" name="Group 12"/>
          <p:cNvGrpSpPr>
            <a:grpSpLocks/>
          </p:cNvGrpSpPr>
          <p:nvPr/>
        </p:nvGrpSpPr>
        <p:grpSpPr bwMode="auto">
          <a:xfrm>
            <a:off x="6385607" y="1578427"/>
            <a:ext cx="2420937" cy="442913"/>
            <a:chOff x="4092" y="893"/>
            <a:chExt cx="1747" cy="279"/>
          </a:xfrm>
          <a:solidFill>
            <a:schemeClr val="accent1"/>
          </a:solidFill>
        </p:grpSpPr>
        <p:sp>
          <p:nvSpPr>
            <p:cNvPr id="49" name="Rectangle 13"/>
            <p:cNvSpPr>
              <a:spLocks noChangeArrowheads="1"/>
            </p:cNvSpPr>
            <p:nvPr/>
          </p:nvSpPr>
          <p:spPr bwMode="auto">
            <a:xfrm>
              <a:off x="4092" y="893"/>
              <a:ext cx="1747" cy="279"/>
            </a:xfrm>
            <a:prstGeom prst="rect">
              <a:avLst/>
            </a:prstGeom>
            <a:grpFill/>
            <a:ln w="12700">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sz="1900" dirty="0">
                <a:solidFill>
                  <a:schemeClr val="tx1"/>
                </a:solidFill>
              </a:endParaRPr>
            </a:p>
          </p:txBody>
        </p:sp>
        <p:sp>
          <p:nvSpPr>
            <p:cNvPr id="50" name="Rectangle 14"/>
            <p:cNvSpPr>
              <a:spLocks noChangeArrowheads="1"/>
            </p:cNvSpPr>
            <p:nvPr/>
          </p:nvSpPr>
          <p:spPr bwMode="auto">
            <a:xfrm>
              <a:off x="4137" y="900"/>
              <a:ext cx="1654" cy="252"/>
            </a:xfrm>
            <a:prstGeom prst="rect">
              <a:avLst/>
            </a:prstGeom>
            <a:grp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defTabSz="762000">
                <a:defRPr sz="1300" b="1">
                  <a:solidFill>
                    <a:srgbClr val="000000"/>
                  </a:solidFill>
                  <a:latin typeface="Arial" pitchFamily="34" charset="0"/>
                  <a:ea typeface="SimSun" pitchFamily="2" charset="-122"/>
                </a:defRPr>
              </a:lvl1pPr>
              <a:lvl2pPr marL="742950" indent="-285750" defTabSz="762000">
                <a:defRPr sz="1300" b="1">
                  <a:solidFill>
                    <a:srgbClr val="000000"/>
                  </a:solidFill>
                  <a:latin typeface="Arial" pitchFamily="34" charset="0"/>
                  <a:ea typeface="SimSun" pitchFamily="2" charset="-122"/>
                </a:defRPr>
              </a:lvl2pPr>
              <a:lvl3pPr marL="1143000" indent="-228600"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lvl="0" algn="ctr" defTabSz="914400"/>
              <a:r>
                <a:rPr lang="en-US" sz="1900" u="sng" dirty="0">
                  <a:solidFill>
                    <a:schemeClr val="tx1"/>
                  </a:solidFill>
                  <a:latin typeface="Arial" charset="0"/>
                  <a:ea typeface="+mn-ea"/>
                </a:rPr>
                <a:t>Emission</a:t>
              </a:r>
            </a:p>
          </p:txBody>
        </p:sp>
      </p:grpSp>
      <p:sp>
        <p:nvSpPr>
          <p:cNvPr id="51" name="Rectangle 15"/>
          <p:cNvSpPr>
            <a:spLocks noChangeArrowheads="1"/>
          </p:cNvSpPr>
          <p:nvPr/>
        </p:nvSpPr>
        <p:spPr bwMode="auto">
          <a:xfrm>
            <a:off x="1245282" y="2021341"/>
            <a:ext cx="2420937" cy="2108268"/>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sz="1400" dirty="0"/>
          </a:p>
        </p:txBody>
      </p:sp>
      <p:sp>
        <p:nvSpPr>
          <p:cNvPr id="52" name="Text Box 16"/>
          <p:cNvSpPr txBox="1">
            <a:spLocks noChangeArrowheads="1"/>
          </p:cNvSpPr>
          <p:nvPr/>
        </p:nvSpPr>
        <p:spPr bwMode="auto">
          <a:xfrm>
            <a:off x="1253219" y="2124526"/>
            <a:ext cx="2413000" cy="167738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762000">
              <a:defRPr sz="1300" b="1">
                <a:solidFill>
                  <a:srgbClr val="000000"/>
                </a:solidFill>
                <a:latin typeface="Arial" pitchFamily="34" charset="0"/>
                <a:ea typeface="SimSun" pitchFamily="2" charset="-122"/>
              </a:defRPr>
            </a:lvl1pPr>
            <a:lvl2pPr marL="374650" indent="-184150" defTabSz="762000">
              <a:defRPr sz="1300" b="1">
                <a:solidFill>
                  <a:srgbClr val="000000"/>
                </a:solidFill>
                <a:latin typeface="Arial" pitchFamily="34" charset="0"/>
                <a:ea typeface="SimSun" pitchFamily="2" charset="-122"/>
              </a:defRPr>
            </a:lvl2pPr>
            <a:lvl3pPr marL="663575" indent="-98425"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marL="285750" lvl="0" indent="-285750" defTabSz="914400">
              <a:spcAft>
                <a:spcPts val="600"/>
              </a:spcAft>
              <a:buFont typeface="Arial" panose="020B0604020202020204" pitchFamily="34" charset="0"/>
              <a:buChar char="•"/>
            </a:pPr>
            <a:r>
              <a:rPr lang="en-US" sz="1400" b="0" dirty="0">
                <a:solidFill>
                  <a:schemeClr val="tx1"/>
                </a:solidFill>
                <a:latin typeface="Arial" charset="0"/>
                <a:ea typeface="+mn-ea"/>
              </a:rPr>
              <a:t>Incident management &gt;&gt; </a:t>
            </a:r>
            <a:r>
              <a:rPr lang="en-US" sz="1400" dirty="0" smtClean="0">
                <a:solidFill>
                  <a:schemeClr val="tx1"/>
                </a:solidFill>
                <a:latin typeface="Arial" charset="0"/>
                <a:ea typeface="+mn-ea"/>
              </a:rPr>
              <a:t>15–33</a:t>
            </a:r>
            <a:r>
              <a:rPr lang="en-US" sz="1400" dirty="0">
                <a:solidFill>
                  <a:schemeClr val="tx1"/>
                </a:solidFill>
                <a:latin typeface="Arial" charset="0"/>
                <a:ea typeface="+mn-ea"/>
              </a:rPr>
              <a:t>% reduction in crash prevention</a:t>
            </a:r>
            <a:endParaRPr lang="en-US" sz="1400" b="0" dirty="0">
              <a:solidFill>
                <a:schemeClr val="tx1"/>
              </a:solidFill>
              <a:latin typeface="Arial" charset="0"/>
              <a:ea typeface="+mn-ea"/>
            </a:endParaRPr>
          </a:p>
          <a:p>
            <a:pPr marL="285750" lvl="0" indent="-285750" defTabSz="914400">
              <a:spcAft>
                <a:spcPts val="600"/>
              </a:spcAft>
              <a:buFont typeface="Arial" panose="020B0604020202020204" pitchFamily="34" charset="0"/>
              <a:buChar char="•"/>
            </a:pPr>
            <a:r>
              <a:rPr lang="en-US" sz="1400" b="0" dirty="0">
                <a:solidFill>
                  <a:schemeClr val="tx1"/>
                </a:solidFill>
                <a:latin typeface="Arial" charset="0"/>
                <a:ea typeface="+mn-ea"/>
              </a:rPr>
              <a:t>Enhanced collision avoidance &gt;&gt; </a:t>
            </a:r>
            <a:r>
              <a:rPr lang="en-US" sz="1400" dirty="0">
                <a:solidFill>
                  <a:schemeClr val="tx1"/>
                </a:solidFill>
                <a:latin typeface="Arial" charset="0"/>
                <a:ea typeface="+mn-ea"/>
              </a:rPr>
              <a:t>10% reduction in crash prevention</a:t>
            </a:r>
          </a:p>
        </p:txBody>
      </p:sp>
      <p:sp>
        <p:nvSpPr>
          <p:cNvPr id="53" name="Rectangle 17"/>
          <p:cNvSpPr>
            <a:spLocks noChangeArrowheads="1"/>
          </p:cNvSpPr>
          <p:nvPr/>
        </p:nvSpPr>
        <p:spPr bwMode="auto">
          <a:xfrm>
            <a:off x="1253219" y="4550965"/>
            <a:ext cx="7561262" cy="1600200"/>
          </a:xfrm>
          <a:prstGeom prst="rect">
            <a:avLst/>
          </a:prstGeom>
          <a:noFill/>
        </p:spPr>
        <p:style>
          <a:lnRef idx="2">
            <a:schemeClr val="accent6"/>
          </a:lnRef>
          <a:fillRef idx="1">
            <a:schemeClr val="lt1"/>
          </a:fillRef>
          <a:effectRef idx="0">
            <a:schemeClr val="accent6"/>
          </a:effectRef>
          <a:fontRef idx="minor">
            <a:schemeClr val="dk1"/>
          </a:fontRef>
        </p:style>
        <p:txBody>
          <a:bodyPr wrap="square" anchor="ctr">
            <a:noAutofit/>
          </a:bodyPr>
          <a:lstStyle/>
          <a:p>
            <a:pPr>
              <a:spcAft>
                <a:spcPts val="600"/>
              </a:spcAft>
            </a:pPr>
            <a:endParaRPr lang="en-US" altLang="en-US" sz="1400" dirty="0">
              <a:solidFill>
                <a:schemeClr val="accent6"/>
              </a:solidFill>
              <a:latin typeface="+mn-lt"/>
            </a:endParaRPr>
          </a:p>
        </p:txBody>
      </p:sp>
      <p:sp>
        <p:nvSpPr>
          <p:cNvPr id="55" name="Rectangle 19"/>
          <p:cNvSpPr>
            <a:spLocks noChangeArrowheads="1"/>
          </p:cNvSpPr>
          <p:nvPr/>
        </p:nvSpPr>
        <p:spPr bwMode="auto">
          <a:xfrm>
            <a:off x="3812269" y="2021341"/>
            <a:ext cx="2420938" cy="2108268"/>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sz="1400" dirty="0"/>
          </a:p>
        </p:txBody>
      </p:sp>
      <p:sp>
        <p:nvSpPr>
          <p:cNvPr id="56" name="Text Box 20"/>
          <p:cNvSpPr txBox="1">
            <a:spLocks noChangeArrowheads="1"/>
          </p:cNvSpPr>
          <p:nvPr/>
        </p:nvSpPr>
        <p:spPr bwMode="auto">
          <a:xfrm>
            <a:off x="3817354" y="2046671"/>
            <a:ext cx="2415853" cy="18928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762000">
              <a:defRPr sz="1300" b="1">
                <a:solidFill>
                  <a:srgbClr val="000000"/>
                </a:solidFill>
                <a:latin typeface="Arial" pitchFamily="34" charset="0"/>
                <a:ea typeface="SimSun" pitchFamily="2" charset="-122"/>
              </a:defRPr>
            </a:lvl1pPr>
            <a:lvl2pPr marL="374650" indent="-184150" defTabSz="762000">
              <a:defRPr sz="1300" b="1">
                <a:solidFill>
                  <a:srgbClr val="000000"/>
                </a:solidFill>
                <a:latin typeface="Arial" pitchFamily="34" charset="0"/>
                <a:ea typeface="SimSun" pitchFamily="2" charset="-122"/>
              </a:defRPr>
            </a:lvl2pPr>
            <a:lvl3pPr marL="663575" indent="-98425"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marL="285750" lvl="0" indent="-285750" defTabSz="914400">
              <a:spcAft>
                <a:spcPts val="600"/>
              </a:spcAft>
              <a:buFont typeface="Arial" panose="020B0604020202020204" pitchFamily="34" charset="0"/>
              <a:buChar char="•"/>
            </a:pPr>
            <a:r>
              <a:rPr lang="en-US" sz="1400" b="0" dirty="0" smtClean="0">
                <a:solidFill>
                  <a:schemeClr val="tx1"/>
                </a:solidFill>
                <a:latin typeface="Arial" charset="0"/>
                <a:ea typeface="+mn-ea"/>
              </a:rPr>
              <a:t>Optimized </a:t>
            </a:r>
            <a:r>
              <a:rPr lang="en-US" sz="1400" b="0" dirty="0">
                <a:solidFill>
                  <a:schemeClr val="tx1"/>
                </a:solidFill>
                <a:latin typeface="Arial" charset="0"/>
                <a:ea typeface="+mn-ea"/>
              </a:rPr>
              <a:t>ride/car sharing </a:t>
            </a:r>
            <a:r>
              <a:rPr lang="en-US" sz="1400" b="0" dirty="0" smtClean="0">
                <a:solidFill>
                  <a:schemeClr val="tx1"/>
                </a:solidFill>
                <a:latin typeface="Arial" charset="0"/>
                <a:ea typeface="+mn-ea"/>
              </a:rPr>
              <a:t>modalities </a:t>
            </a:r>
            <a:r>
              <a:rPr lang="en-US" sz="1400" b="0" dirty="0">
                <a:solidFill>
                  <a:schemeClr val="tx1"/>
                </a:solidFill>
                <a:latin typeface="Arial" charset="0"/>
                <a:ea typeface="+mn-ea"/>
              </a:rPr>
              <a:t>&gt;&gt; </a:t>
            </a:r>
            <a:r>
              <a:rPr lang="en-US" sz="1400" dirty="0">
                <a:solidFill>
                  <a:schemeClr val="tx1"/>
                </a:solidFill>
                <a:latin typeface="Arial" charset="0"/>
                <a:ea typeface="+mn-ea"/>
              </a:rPr>
              <a:t>Reduction in annual costs of </a:t>
            </a:r>
            <a:r>
              <a:rPr lang="en-US" sz="1400" dirty="0" smtClean="0">
                <a:solidFill>
                  <a:schemeClr val="tx1"/>
                </a:solidFill>
                <a:latin typeface="Arial" charset="0"/>
                <a:ea typeface="+mn-ea"/>
              </a:rPr>
              <a:t>$5.6 </a:t>
            </a:r>
            <a:r>
              <a:rPr lang="en-US" sz="1400" dirty="0">
                <a:solidFill>
                  <a:schemeClr val="tx1"/>
                </a:solidFill>
                <a:latin typeface="Arial" charset="0"/>
                <a:ea typeface="+mn-ea"/>
              </a:rPr>
              <a:t>billion</a:t>
            </a:r>
            <a:r>
              <a:rPr lang="en-US" sz="1400" b="0" dirty="0">
                <a:solidFill>
                  <a:schemeClr val="tx1"/>
                </a:solidFill>
                <a:latin typeface="Arial" charset="0"/>
                <a:ea typeface="+mn-ea"/>
              </a:rPr>
              <a:t> </a:t>
            </a:r>
          </a:p>
          <a:p>
            <a:pPr marL="285750" lvl="0" indent="-285750" defTabSz="914400">
              <a:spcAft>
                <a:spcPts val="600"/>
              </a:spcAft>
              <a:buFont typeface="Arial" panose="020B0604020202020204" pitchFamily="34" charset="0"/>
              <a:buChar char="•"/>
            </a:pPr>
            <a:r>
              <a:rPr lang="en-US" sz="1400" b="0" dirty="0">
                <a:solidFill>
                  <a:schemeClr val="tx1"/>
                </a:solidFill>
                <a:latin typeface="Arial" charset="0"/>
                <a:ea typeface="+mn-ea"/>
              </a:rPr>
              <a:t>Group rapid transits and personal rapid transits &gt;&gt; </a:t>
            </a:r>
            <a:r>
              <a:rPr lang="en-US" sz="1400" dirty="0">
                <a:solidFill>
                  <a:schemeClr val="tx1"/>
                </a:solidFill>
                <a:latin typeface="Arial" charset="0"/>
                <a:ea typeface="+mn-ea"/>
              </a:rPr>
              <a:t>Reduce travel time by 25%</a:t>
            </a:r>
          </a:p>
        </p:txBody>
      </p:sp>
      <p:sp>
        <p:nvSpPr>
          <p:cNvPr id="57" name="Rectangle 21"/>
          <p:cNvSpPr>
            <a:spLocks noChangeArrowheads="1"/>
          </p:cNvSpPr>
          <p:nvPr/>
        </p:nvSpPr>
        <p:spPr bwMode="auto">
          <a:xfrm>
            <a:off x="6385607" y="2021341"/>
            <a:ext cx="2420937" cy="2108268"/>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sz="1400" dirty="0"/>
          </a:p>
        </p:txBody>
      </p:sp>
      <p:sp>
        <p:nvSpPr>
          <p:cNvPr id="58" name="Text Box 22"/>
          <p:cNvSpPr txBox="1">
            <a:spLocks noChangeArrowheads="1"/>
          </p:cNvSpPr>
          <p:nvPr/>
        </p:nvSpPr>
        <p:spPr bwMode="auto">
          <a:xfrm>
            <a:off x="6385608" y="2109714"/>
            <a:ext cx="2368550" cy="167738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defTabSz="762000">
              <a:defRPr sz="1300" b="1">
                <a:solidFill>
                  <a:srgbClr val="000000"/>
                </a:solidFill>
                <a:latin typeface="Arial" pitchFamily="34" charset="0"/>
                <a:ea typeface="SimSun" pitchFamily="2" charset="-122"/>
              </a:defRPr>
            </a:lvl1pPr>
            <a:lvl2pPr marL="374650" indent="-184150" defTabSz="762000">
              <a:defRPr sz="1300" b="1">
                <a:solidFill>
                  <a:srgbClr val="000000"/>
                </a:solidFill>
                <a:latin typeface="Arial" pitchFamily="34" charset="0"/>
                <a:ea typeface="SimSun" pitchFamily="2" charset="-122"/>
              </a:defRPr>
            </a:lvl2pPr>
            <a:lvl3pPr marL="663575" indent="-98425"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marL="285750" lvl="0" indent="-285750" defTabSz="914400">
              <a:spcAft>
                <a:spcPts val="600"/>
              </a:spcAft>
              <a:buFont typeface="Arial" panose="020B0604020202020204" pitchFamily="34" charset="0"/>
              <a:buChar char="•"/>
            </a:pPr>
            <a:r>
              <a:rPr lang="en-US" sz="1400" b="0" dirty="0">
                <a:solidFill>
                  <a:schemeClr val="tx1"/>
                </a:solidFill>
                <a:latin typeface="Arial" charset="0"/>
                <a:ea typeface="+mn-ea"/>
              </a:rPr>
              <a:t>Increase average travel speed &gt;&gt; </a:t>
            </a:r>
            <a:r>
              <a:rPr lang="en-US" sz="1400" dirty="0" smtClean="0">
                <a:solidFill>
                  <a:schemeClr val="tx1"/>
                </a:solidFill>
                <a:latin typeface="Arial" charset="0"/>
                <a:ea typeface="+mn-ea"/>
              </a:rPr>
              <a:t>10–15</a:t>
            </a:r>
            <a:r>
              <a:rPr lang="en-US" sz="1400" dirty="0">
                <a:solidFill>
                  <a:schemeClr val="tx1"/>
                </a:solidFill>
                <a:latin typeface="Arial" charset="0"/>
                <a:ea typeface="+mn-ea"/>
              </a:rPr>
              <a:t>% reduction in CO</a:t>
            </a:r>
            <a:r>
              <a:rPr lang="en-US" sz="1400" baseline="-25000" dirty="0">
                <a:solidFill>
                  <a:schemeClr val="tx1"/>
                </a:solidFill>
                <a:latin typeface="Arial" charset="0"/>
                <a:ea typeface="+mn-ea"/>
              </a:rPr>
              <a:t>2</a:t>
            </a:r>
            <a:r>
              <a:rPr lang="en-US" sz="1400" dirty="0">
                <a:solidFill>
                  <a:schemeClr val="tx1"/>
                </a:solidFill>
                <a:latin typeface="Arial" charset="0"/>
                <a:ea typeface="+mn-ea"/>
              </a:rPr>
              <a:t> </a:t>
            </a:r>
            <a:r>
              <a:rPr lang="en-US" sz="1400" dirty="0" smtClean="0">
                <a:solidFill>
                  <a:schemeClr val="tx1"/>
                </a:solidFill>
                <a:latin typeface="Arial" charset="0"/>
                <a:ea typeface="+mn-ea"/>
              </a:rPr>
              <a:t>emission</a:t>
            </a:r>
            <a:endParaRPr lang="en-US" sz="1400" dirty="0">
              <a:solidFill>
                <a:schemeClr val="tx1"/>
              </a:solidFill>
              <a:latin typeface="Arial" charset="0"/>
              <a:ea typeface="+mn-ea"/>
            </a:endParaRPr>
          </a:p>
          <a:p>
            <a:pPr marL="285750" lvl="0" indent="-285750" defTabSz="914400">
              <a:spcAft>
                <a:spcPts val="600"/>
              </a:spcAft>
              <a:buFont typeface="Arial" panose="020B0604020202020204" pitchFamily="34" charset="0"/>
              <a:buChar char="•"/>
            </a:pPr>
            <a:r>
              <a:rPr lang="en-US" sz="1400" b="0" dirty="0">
                <a:solidFill>
                  <a:schemeClr val="tx1"/>
                </a:solidFill>
                <a:latin typeface="Arial" charset="0"/>
                <a:ea typeface="+mn-ea"/>
              </a:rPr>
              <a:t>Traffic signal light optimization &gt;&gt; </a:t>
            </a:r>
            <a:r>
              <a:rPr lang="en-US" sz="1400" dirty="0" smtClean="0">
                <a:solidFill>
                  <a:schemeClr val="tx1"/>
                </a:solidFill>
                <a:latin typeface="Arial" charset="0"/>
                <a:ea typeface="+mn-ea"/>
              </a:rPr>
              <a:t>Reduce </a:t>
            </a:r>
            <a:r>
              <a:rPr lang="en-US" sz="1400" dirty="0">
                <a:solidFill>
                  <a:schemeClr val="tx1"/>
                </a:solidFill>
                <a:latin typeface="Arial" charset="0"/>
                <a:ea typeface="+mn-ea"/>
              </a:rPr>
              <a:t>stops by 40%</a:t>
            </a:r>
          </a:p>
        </p:txBody>
      </p:sp>
      <p:sp>
        <p:nvSpPr>
          <p:cNvPr id="59" name="AutoShape 23"/>
          <p:cNvSpPr>
            <a:spLocks noChangeArrowheads="1"/>
          </p:cNvSpPr>
          <p:nvPr/>
        </p:nvSpPr>
        <p:spPr bwMode="auto">
          <a:xfrm rot="5400000">
            <a:off x="2256520" y="4064453"/>
            <a:ext cx="234950" cy="568325"/>
          </a:xfrm>
          <a:prstGeom prst="rightArrow">
            <a:avLst>
              <a:gd name="adj1" fmla="val 62204"/>
              <a:gd name="adj2" fmla="val 49750"/>
            </a:avLst>
          </a:prstGeom>
          <a:solidFill>
            <a:schemeClr val="accent1"/>
          </a:solidFill>
          <a:ln w="12700">
            <a:solidFill>
              <a:schemeClr val="tx1"/>
            </a:solidFill>
            <a:miter lim="800000"/>
            <a:headEnd/>
            <a:tailEnd/>
          </a:ln>
          <a:effectLst/>
          <a:extLst/>
        </p:spPr>
        <p:txBody>
          <a:bodyPr lIns="90000" tIns="46800" rIns="90000" bIns="46800" anchor="ctr">
            <a:spAutoFit/>
          </a:bodyP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dirty="0"/>
          </a:p>
        </p:txBody>
      </p:sp>
      <p:sp>
        <p:nvSpPr>
          <p:cNvPr id="60" name="AutoShape 24"/>
          <p:cNvSpPr>
            <a:spLocks noChangeArrowheads="1"/>
          </p:cNvSpPr>
          <p:nvPr/>
        </p:nvSpPr>
        <p:spPr bwMode="auto">
          <a:xfrm rot="5400000">
            <a:off x="4850495" y="4064453"/>
            <a:ext cx="234950" cy="568325"/>
          </a:xfrm>
          <a:prstGeom prst="rightArrow">
            <a:avLst>
              <a:gd name="adj1" fmla="val 62204"/>
              <a:gd name="adj2" fmla="val 49750"/>
            </a:avLst>
          </a:prstGeom>
          <a:solidFill>
            <a:schemeClr val="accent1"/>
          </a:solidFill>
          <a:ln w="12700">
            <a:solidFill>
              <a:schemeClr val="tx1"/>
            </a:solidFill>
            <a:miter lim="800000"/>
            <a:headEnd/>
            <a:tailEnd/>
          </a:ln>
          <a:effectLst/>
          <a:extLst/>
        </p:spPr>
        <p:txBody>
          <a:bodyPr lIns="90000" tIns="46800" rIns="90000" bIns="46800" anchor="ctr">
            <a:spAutoFit/>
          </a:bodyP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dirty="0"/>
          </a:p>
        </p:txBody>
      </p:sp>
      <p:sp>
        <p:nvSpPr>
          <p:cNvPr id="61" name="AutoShape 25"/>
          <p:cNvSpPr>
            <a:spLocks noChangeArrowheads="1"/>
          </p:cNvSpPr>
          <p:nvPr/>
        </p:nvSpPr>
        <p:spPr bwMode="auto">
          <a:xfrm rot="5400000">
            <a:off x="7469870" y="4064453"/>
            <a:ext cx="234950" cy="568325"/>
          </a:xfrm>
          <a:prstGeom prst="rightArrow">
            <a:avLst>
              <a:gd name="adj1" fmla="val 62204"/>
              <a:gd name="adj2" fmla="val 49750"/>
            </a:avLst>
          </a:prstGeom>
          <a:solidFill>
            <a:schemeClr val="accent1"/>
          </a:solidFill>
          <a:ln w="12700">
            <a:solidFill>
              <a:schemeClr val="tx1"/>
            </a:solidFill>
            <a:miter lim="800000"/>
            <a:headEnd/>
            <a:tailEnd/>
          </a:ln>
          <a:effectLst/>
          <a:extLst/>
        </p:spPr>
        <p:txBody>
          <a:bodyPr lIns="90000" tIns="46800" rIns="90000" bIns="46800" anchor="ctr">
            <a:spAutoFit/>
          </a:bodyP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dirty="0"/>
          </a:p>
        </p:txBody>
      </p:sp>
      <p:sp>
        <p:nvSpPr>
          <p:cNvPr id="62" name="AutoShape 26"/>
          <p:cNvSpPr>
            <a:spLocks noChangeArrowheads="1"/>
          </p:cNvSpPr>
          <p:nvPr/>
        </p:nvSpPr>
        <p:spPr bwMode="auto">
          <a:xfrm rot="5400000">
            <a:off x="-618020" y="4578377"/>
            <a:ext cx="2501053" cy="644525"/>
          </a:xfrm>
          <a:prstGeom prst="homePlate">
            <a:avLst>
              <a:gd name="adj" fmla="val 41155"/>
            </a:avLst>
          </a:prstGeom>
          <a:solidFill>
            <a:schemeClr val="accent2"/>
          </a:solidFill>
          <a:ln w="12700">
            <a:solidFill>
              <a:schemeClr val="tx1"/>
            </a:solidFill>
            <a:miter lim="800000"/>
            <a:headEnd/>
            <a:tailEnd/>
          </a:ln>
          <a:effectLst/>
          <a:extLst/>
        </p:spPr>
        <p:txBody>
          <a:bodyPr wrap="square" lIns="90000" tIns="46800" rIns="90000" bIns="46800" anchor="ctr">
            <a:spAutoFit/>
          </a:bodyP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dirty="0"/>
          </a:p>
        </p:txBody>
      </p:sp>
      <p:sp>
        <p:nvSpPr>
          <p:cNvPr id="63" name="AutoShape 27"/>
          <p:cNvSpPr>
            <a:spLocks noChangeArrowheads="1"/>
          </p:cNvSpPr>
          <p:nvPr/>
        </p:nvSpPr>
        <p:spPr bwMode="auto">
          <a:xfrm rot="5400000">
            <a:off x="-719285" y="2607956"/>
            <a:ext cx="2703584" cy="644525"/>
          </a:xfrm>
          <a:prstGeom prst="homePlate">
            <a:avLst>
              <a:gd name="adj" fmla="val 41155"/>
            </a:avLst>
          </a:prstGeom>
          <a:solidFill>
            <a:schemeClr val="accent1"/>
          </a:solidFill>
          <a:ln w="12700">
            <a:solidFill>
              <a:schemeClr val="tx1"/>
            </a:solidFill>
            <a:miter lim="800000"/>
            <a:headEnd/>
            <a:tailEnd/>
          </a:ln>
          <a:effectLst/>
          <a:extLst/>
        </p:spPr>
        <p:txBody>
          <a:bodyPr wrap="square" lIns="90000" tIns="46800" rIns="90000" bIns="46800" anchor="ctr">
            <a:spAutoFit/>
          </a:bodyPr>
          <a:lstStyle>
            <a:lvl1pPr>
              <a:defRPr sz="1300" b="1">
                <a:solidFill>
                  <a:srgbClr val="000000"/>
                </a:solidFill>
                <a:latin typeface="Arial" pitchFamily="34" charset="0"/>
                <a:ea typeface="SimSun" pitchFamily="2" charset="-122"/>
              </a:defRPr>
            </a:lvl1pPr>
            <a:lvl2pPr marL="742950" indent="-285750">
              <a:defRPr sz="1300" b="1">
                <a:solidFill>
                  <a:srgbClr val="000000"/>
                </a:solidFill>
                <a:latin typeface="Arial" pitchFamily="34" charset="0"/>
                <a:ea typeface="SimSun" pitchFamily="2" charset="-122"/>
              </a:defRPr>
            </a:lvl2pPr>
            <a:lvl3pPr marL="1143000" indent="-228600">
              <a:defRPr sz="1300" b="1">
                <a:solidFill>
                  <a:srgbClr val="000000"/>
                </a:solidFill>
                <a:latin typeface="Arial" pitchFamily="34" charset="0"/>
                <a:ea typeface="SimSun" pitchFamily="2" charset="-122"/>
              </a:defRPr>
            </a:lvl3pPr>
            <a:lvl4pPr marL="1600200" indent="-228600">
              <a:defRPr sz="1300" b="1">
                <a:solidFill>
                  <a:srgbClr val="000000"/>
                </a:solidFill>
                <a:latin typeface="Arial" pitchFamily="34" charset="0"/>
                <a:ea typeface="SimSun" pitchFamily="2" charset="-122"/>
              </a:defRPr>
            </a:lvl4pPr>
            <a:lvl5pPr marL="2057400" indent="-228600">
              <a:defRPr sz="1300" b="1">
                <a:solidFill>
                  <a:srgbClr val="000000"/>
                </a:solidFill>
                <a:latin typeface="Arial" pitchFamily="34" charset="0"/>
                <a:ea typeface="SimSun"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SimSun" pitchFamily="2" charset="-122"/>
              </a:defRPr>
            </a:lvl9pPr>
          </a:lstStyle>
          <a:p>
            <a:endParaRPr lang="en-US" altLang="en-US" dirty="0"/>
          </a:p>
        </p:txBody>
      </p:sp>
      <p:sp>
        <p:nvSpPr>
          <p:cNvPr id="64" name="Rectangle 28"/>
          <p:cNvSpPr>
            <a:spLocks noChangeArrowheads="1"/>
          </p:cNvSpPr>
          <p:nvPr/>
        </p:nvSpPr>
        <p:spPr bwMode="auto">
          <a:xfrm rot="16200000">
            <a:off x="-573199" y="2648954"/>
            <a:ext cx="2405062" cy="28623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defTabSz="762000">
              <a:defRPr sz="1300" b="1">
                <a:solidFill>
                  <a:srgbClr val="000000"/>
                </a:solidFill>
                <a:latin typeface="Arial" pitchFamily="34" charset="0"/>
                <a:ea typeface="SimSun" pitchFamily="2" charset="-122"/>
              </a:defRPr>
            </a:lvl1pPr>
            <a:lvl2pPr marL="742950" indent="-285750" defTabSz="762000">
              <a:defRPr sz="1300" b="1">
                <a:solidFill>
                  <a:srgbClr val="000000"/>
                </a:solidFill>
                <a:latin typeface="Arial" pitchFamily="34" charset="0"/>
                <a:ea typeface="SimSun" pitchFamily="2" charset="-122"/>
              </a:defRPr>
            </a:lvl2pPr>
            <a:lvl3pPr marL="1143000" indent="-228600"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algn="ctr">
              <a:lnSpc>
                <a:spcPct val="90000"/>
              </a:lnSpc>
            </a:pPr>
            <a:r>
              <a:rPr lang="en-US" altLang="zh-CN" sz="1400" dirty="0">
                <a:solidFill>
                  <a:schemeClr val="tx1"/>
                </a:solidFill>
              </a:rPr>
              <a:t>Phase </a:t>
            </a:r>
            <a:r>
              <a:rPr lang="en-US" altLang="zh-CN" sz="1400" dirty="0" smtClean="0">
                <a:solidFill>
                  <a:schemeClr val="tx1"/>
                </a:solidFill>
              </a:rPr>
              <a:t>I</a:t>
            </a:r>
            <a:endParaRPr lang="en-US" altLang="zh-CN" sz="1400" dirty="0">
              <a:solidFill>
                <a:schemeClr val="tx1"/>
              </a:solidFill>
            </a:endParaRPr>
          </a:p>
        </p:txBody>
      </p:sp>
      <p:sp>
        <p:nvSpPr>
          <p:cNvPr id="65" name="Rectangle 29"/>
          <p:cNvSpPr>
            <a:spLocks noChangeArrowheads="1"/>
          </p:cNvSpPr>
          <p:nvPr/>
        </p:nvSpPr>
        <p:spPr bwMode="auto">
          <a:xfrm rot="16200000">
            <a:off x="-573200" y="4790492"/>
            <a:ext cx="2405063" cy="28623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defTabSz="762000">
              <a:defRPr sz="1300" b="1">
                <a:solidFill>
                  <a:srgbClr val="000000"/>
                </a:solidFill>
                <a:latin typeface="Arial" pitchFamily="34" charset="0"/>
                <a:ea typeface="SimSun" pitchFamily="2" charset="-122"/>
              </a:defRPr>
            </a:lvl1pPr>
            <a:lvl2pPr marL="742950" indent="-285750" defTabSz="762000">
              <a:defRPr sz="1300" b="1">
                <a:solidFill>
                  <a:srgbClr val="000000"/>
                </a:solidFill>
                <a:latin typeface="Arial" pitchFamily="34" charset="0"/>
                <a:ea typeface="SimSun" pitchFamily="2" charset="-122"/>
              </a:defRPr>
            </a:lvl2pPr>
            <a:lvl3pPr marL="1143000" indent="-228600" defTabSz="762000">
              <a:defRPr sz="1300" b="1">
                <a:solidFill>
                  <a:srgbClr val="000000"/>
                </a:solidFill>
                <a:latin typeface="Arial" pitchFamily="34" charset="0"/>
                <a:ea typeface="SimSun" pitchFamily="2" charset="-122"/>
              </a:defRPr>
            </a:lvl3pPr>
            <a:lvl4pPr marL="1600200" indent="-228600" defTabSz="762000">
              <a:defRPr sz="1300" b="1">
                <a:solidFill>
                  <a:srgbClr val="000000"/>
                </a:solidFill>
                <a:latin typeface="Arial" pitchFamily="34" charset="0"/>
                <a:ea typeface="SimSun" pitchFamily="2" charset="-122"/>
              </a:defRPr>
            </a:lvl4pPr>
            <a:lvl5pPr marL="2057400" indent="-228600" defTabSz="762000">
              <a:defRPr sz="1300" b="1">
                <a:solidFill>
                  <a:srgbClr val="000000"/>
                </a:solidFill>
                <a:latin typeface="Arial" pitchFamily="34" charset="0"/>
                <a:ea typeface="SimSun" pitchFamily="2" charset="-122"/>
              </a:defRPr>
            </a:lvl5pPr>
            <a:lvl6pPr marL="25146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6pPr>
            <a:lvl7pPr marL="29718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7pPr>
            <a:lvl8pPr marL="34290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8pPr>
            <a:lvl9pPr marL="3886200" indent="-228600" defTabSz="762000" eaLnBrk="0" fontAlgn="base" hangingPunct="0">
              <a:spcBef>
                <a:spcPct val="0"/>
              </a:spcBef>
              <a:spcAft>
                <a:spcPct val="0"/>
              </a:spcAft>
              <a:defRPr sz="1300" b="1">
                <a:solidFill>
                  <a:srgbClr val="000000"/>
                </a:solidFill>
                <a:latin typeface="Arial" pitchFamily="34" charset="0"/>
                <a:ea typeface="SimSun" pitchFamily="2" charset="-122"/>
              </a:defRPr>
            </a:lvl9pPr>
          </a:lstStyle>
          <a:p>
            <a:pPr algn="ctr">
              <a:lnSpc>
                <a:spcPct val="90000"/>
              </a:lnSpc>
            </a:pPr>
            <a:r>
              <a:rPr lang="en-US" altLang="zh-CN" sz="1400" dirty="0">
                <a:solidFill>
                  <a:schemeClr val="bg1"/>
                </a:solidFill>
              </a:rPr>
              <a:t>Phase </a:t>
            </a:r>
            <a:r>
              <a:rPr lang="en-US" altLang="zh-CN" sz="1400" dirty="0" smtClean="0">
                <a:solidFill>
                  <a:schemeClr val="bg1"/>
                </a:solidFill>
              </a:rPr>
              <a:t>II</a:t>
            </a:r>
            <a:endParaRPr lang="en-US" altLang="zh-CN" sz="1400" dirty="0">
              <a:solidFill>
                <a:schemeClr val="bg1"/>
              </a:solidFill>
            </a:endParaRPr>
          </a:p>
        </p:txBody>
      </p:sp>
      <p:sp>
        <p:nvSpPr>
          <p:cNvPr id="31" name="Rectangle 17"/>
          <p:cNvSpPr>
            <a:spLocks noChangeArrowheads="1"/>
          </p:cNvSpPr>
          <p:nvPr/>
        </p:nvSpPr>
        <p:spPr bwMode="auto">
          <a:xfrm>
            <a:off x="1253219" y="4550965"/>
            <a:ext cx="7561262" cy="1600200"/>
          </a:xfrm>
          <a:prstGeom prst="rect">
            <a:avLst/>
          </a:prstGeom>
          <a:noFill/>
        </p:spPr>
        <p:style>
          <a:lnRef idx="2">
            <a:schemeClr val="accent6"/>
          </a:lnRef>
          <a:fillRef idx="1">
            <a:schemeClr val="lt1"/>
          </a:fillRef>
          <a:effectRef idx="0">
            <a:schemeClr val="accent6"/>
          </a:effectRef>
          <a:fontRef idx="minor">
            <a:schemeClr val="dk1"/>
          </a:fontRef>
        </p:style>
        <p:txBody>
          <a:bodyPr wrap="square" anchor="ctr">
            <a:noAutofit/>
          </a:bodyPr>
          <a:lstStyle/>
          <a:p>
            <a:pPr>
              <a:spcAft>
                <a:spcPts val="600"/>
              </a:spcAft>
            </a:pPr>
            <a:endParaRPr lang="en-US" altLang="en-US" sz="1400" dirty="0">
              <a:solidFill>
                <a:schemeClr val="accent6"/>
              </a:solidFill>
              <a:latin typeface="+mn-lt"/>
            </a:endParaRPr>
          </a:p>
        </p:txBody>
      </p:sp>
      <p:sp>
        <p:nvSpPr>
          <p:cNvPr id="32" name="Rounded Rectangle 31"/>
          <p:cNvSpPr/>
          <p:nvPr/>
        </p:nvSpPr>
        <p:spPr>
          <a:xfrm>
            <a:off x="3929746" y="4709161"/>
            <a:ext cx="2236945" cy="1293972"/>
          </a:xfrm>
          <a:prstGeom prst="roundRect">
            <a:avLst/>
          </a:prstGeom>
          <a:noFill/>
        </p:spPr>
        <p:style>
          <a:lnRef idx="2">
            <a:schemeClr val="accent6"/>
          </a:lnRef>
          <a:fillRef idx="1">
            <a:schemeClr val="lt1"/>
          </a:fillRef>
          <a:effectRef idx="0">
            <a:schemeClr val="accent6"/>
          </a:effectRef>
          <a:fontRef idx="minor">
            <a:schemeClr val="dk1"/>
          </a:fontRef>
        </p:style>
        <p:txBody>
          <a:bodyPr wrap="square" anchor="ctr">
            <a:noAutofit/>
          </a:bodyPr>
          <a:lstStyle/>
          <a:p>
            <a:pPr>
              <a:spcAft>
                <a:spcPts val="600"/>
              </a:spcAft>
            </a:pPr>
            <a:r>
              <a:rPr lang="en-US" sz="1400" dirty="0">
                <a:solidFill>
                  <a:schemeClr val="accent6"/>
                </a:solidFill>
              </a:rPr>
              <a:t>Optimize travel </a:t>
            </a:r>
            <a:r>
              <a:rPr lang="en-US" sz="1400" dirty="0" smtClean="0">
                <a:solidFill>
                  <a:schemeClr val="accent6"/>
                </a:solidFill>
              </a:rPr>
              <a:t>speeds &gt;&gt; </a:t>
            </a:r>
            <a:r>
              <a:rPr lang="en-US" sz="1400" b="1" dirty="0" smtClean="0">
                <a:solidFill>
                  <a:schemeClr val="accent6"/>
                </a:solidFill>
              </a:rPr>
              <a:t>Increase </a:t>
            </a:r>
            <a:r>
              <a:rPr lang="en-US" sz="1400" b="1" dirty="0">
                <a:solidFill>
                  <a:schemeClr val="accent6"/>
                </a:solidFill>
              </a:rPr>
              <a:t>road speeds from </a:t>
            </a:r>
            <a:r>
              <a:rPr lang="en-US" sz="1400" b="1" dirty="0" smtClean="0">
                <a:solidFill>
                  <a:schemeClr val="accent6"/>
                </a:solidFill>
              </a:rPr>
              <a:t>8–60%</a:t>
            </a:r>
            <a:endParaRPr lang="en-US" sz="1400" b="1" dirty="0">
              <a:solidFill>
                <a:schemeClr val="accent6"/>
              </a:solidFill>
            </a:endParaRPr>
          </a:p>
        </p:txBody>
      </p:sp>
      <p:sp>
        <p:nvSpPr>
          <p:cNvPr id="33" name="Rounded Rectangle 32"/>
          <p:cNvSpPr/>
          <p:nvPr/>
        </p:nvSpPr>
        <p:spPr>
          <a:xfrm>
            <a:off x="6381253" y="4709161"/>
            <a:ext cx="2358578" cy="1293972"/>
          </a:xfrm>
          <a:prstGeom prst="roundRect">
            <a:avLst/>
          </a:prstGeom>
          <a:noFill/>
        </p:spPr>
        <p:style>
          <a:lnRef idx="2">
            <a:schemeClr val="accent6"/>
          </a:lnRef>
          <a:fillRef idx="1">
            <a:schemeClr val="lt1"/>
          </a:fillRef>
          <a:effectRef idx="0">
            <a:schemeClr val="accent6"/>
          </a:effectRef>
          <a:fontRef idx="minor">
            <a:schemeClr val="dk1"/>
          </a:fontRef>
        </p:style>
        <p:txBody>
          <a:bodyPr wrap="square" anchor="ctr">
            <a:noAutofit/>
          </a:bodyPr>
          <a:lstStyle/>
          <a:p>
            <a:pPr>
              <a:spcAft>
                <a:spcPts val="600"/>
              </a:spcAft>
            </a:pPr>
            <a:r>
              <a:rPr lang="en-US" sz="1400" dirty="0" smtClean="0">
                <a:solidFill>
                  <a:schemeClr val="accent6"/>
                </a:solidFill>
              </a:rPr>
              <a:t>Efficient driving modes &gt;&gt; </a:t>
            </a:r>
            <a:r>
              <a:rPr lang="en-US" sz="1400" b="1" dirty="0">
                <a:solidFill>
                  <a:schemeClr val="accent6"/>
                </a:solidFill>
              </a:rPr>
              <a:t>Reduce fuel consumption by 10%</a:t>
            </a:r>
          </a:p>
        </p:txBody>
      </p:sp>
      <p:sp>
        <p:nvSpPr>
          <p:cNvPr id="34" name="Rounded Rectangle 33"/>
          <p:cNvSpPr/>
          <p:nvPr/>
        </p:nvSpPr>
        <p:spPr>
          <a:xfrm>
            <a:off x="1385527" y="4709162"/>
            <a:ext cx="2280692" cy="1293971"/>
          </a:xfrm>
          <a:prstGeom prst="roundRect">
            <a:avLst/>
          </a:prstGeom>
          <a:noFill/>
        </p:spPr>
        <p:style>
          <a:lnRef idx="2">
            <a:schemeClr val="accent6"/>
          </a:lnRef>
          <a:fillRef idx="1">
            <a:schemeClr val="lt1"/>
          </a:fillRef>
          <a:effectRef idx="0">
            <a:schemeClr val="accent6"/>
          </a:effectRef>
          <a:fontRef idx="minor">
            <a:schemeClr val="dk1"/>
          </a:fontRef>
        </p:style>
        <p:txBody>
          <a:bodyPr wrap="square" anchor="ctr">
            <a:noAutofit/>
          </a:bodyPr>
          <a:lstStyle/>
          <a:p>
            <a:pPr>
              <a:spcAft>
                <a:spcPts val="600"/>
              </a:spcAft>
            </a:pPr>
            <a:r>
              <a:rPr lang="en-US" sz="1400" dirty="0" smtClean="0">
                <a:solidFill>
                  <a:schemeClr val="accent6"/>
                </a:solidFill>
              </a:rPr>
              <a:t>Traffic flow optimization &gt;&gt; </a:t>
            </a:r>
            <a:r>
              <a:rPr lang="en-US" sz="1400" b="1" dirty="0" smtClean="0">
                <a:solidFill>
                  <a:schemeClr val="accent6"/>
                </a:solidFill>
              </a:rPr>
              <a:t>Reduce </a:t>
            </a:r>
            <a:r>
              <a:rPr lang="en-US" sz="1400" b="1" dirty="0">
                <a:solidFill>
                  <a:schemeClr val="accent6"/>
                </a:solidFill>
              </a:rPr>
              <a:t>congestion by 12% to 30%</a:t>
            </a:r>
          </a:p>
        </p:txBody>
      </p:sp>
      <p:sp>
        <p:nvSpPr>
          <p:cNvPr id="35" name="Rectangle 2"/>
          <p:cNvSpPr txBox="1">
            <a:spLocks noChangeArrowheads="1"/>
          </p:cNvSpPr>
          <p:nvPr/>
        </p:nvSpPr>
        <p:spPr bwMode="auto">
          <a:xfrm>
            <a:off x="261260" y="152400"/>
            <a:ext cx="899160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lvl1pPr algn="l" rtl="0" eaLnBrk="0" fontAlgn="base" hangingPunct="0">
              <a:spcBef>
                <a:spcPct val="0"/>
              </a:spcBef>
              <a:spcAft>
                <a:spcPct val="0"/>
              </a:spcAft>
              <a:defRPr sz="2000" b="1" baseline="0">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US" dirty="0">
                <a:solidFill>
                  <a:schemeClr val="tx2"/>
                </a:solidFill>
              </a:rPr>
              <a:t>Impacts of Intelligent </a:t>
            </a:r>
            <a:r>
              <a:rPr lang="en-US" dirty="0" smtClean="0">
                <a:solidFill>
                  <a:schemeClr val="tx2"/>
                </a:solidFill>
              </a:rPr>
              <a:t>Mobility</a:t>
            </a:r>
            <a:r>
              <a:rPr lang="en-US" kern="0" dirty="0" smtClean="0">
                <a:solidFill>
                  <a:schemeClr val="tx2"/>
                </a:solidFill>
              </a:rPr>
              <a:t/>
            </a:r>
            <a:br>
              <a:rPr lang="en-US" kern="0" dirty="0" smtClean="0">
                <a:solidFill>
                  <a:schemeClr val="tx2"/>
                </a:solidFill>
              </a:rPr>
            </a:br>
            <a:r>
              <a:rPr lang="en-US" sz="1400" b="0" dirty="0">
                <a:solidFill>
                  <a:schemeClr val="tx2"/>
                </a:solidFill>
              </a:rPr>
              <a:t>As a unified approach, intelligent mobility reduces traffic congestion by a fifth, carbon emission by a tenth, and optimizes travel speed up to 60%, depending on infrastructural intelligence.</a:t>
            </a:r>
          </a:p>
        </p:txBody>
      </p:sp>
      <p:sp>
        <p:nvSpPr>
          <p:cNvPr id="36" name="Text Box 80"/>
          <p:cNvSpPr txBox="1">
            <a:spLocks noChangeArrowheads="1"/>
          </p:cNvSpPr>
          <p:nvPr/>
        </p:nvSpPr>
        <p:spPr bwMode="auto">
          <a:xfrm>
            <a:off x="5257800" y="6204858"/>
            <a:ext cx="3657600" cy="230832"/>
          </a:xfrm>
          <a:prstGeom prst="rect">
            <a:avLst/>
          </a:prstGeom>
          <a:noFill/>
          <a:ln w="9525">
            <a:noFill/>
            <a:miter lim="800000"/>
            <a:headEnd/>
            <a:tailEnd/>
          </a:ln>
        </p:spPr>
        <p:txBody>
          <a:bodyPr wrap="square" lIns="0" rIns="0">
            <a:spAutoFit/>
          </a:bodyPr>
          <a:lstStyle/>
          <a:p>
            <a:pPr algn="r" eaLnBrk="1" hangingPunct="1">
              <a:lnSpc>
                <a:spcPct val="100000"/>
              </a:lnSpc>
              <a:spcBef>
                <a:spcPct val="0"/>
              </a:spcBef>
              <a:spcAft>
                <a:spcPct val="0"/>
              </a:spcAft>
              <a:buSzTx/>
            </a:pPr>
            <a:r>
              <a:rPr lang="en-US" sz="900" dirty="0">
                <a:solidFill>
                  <a:schemeClr val="accent2"/>
                </a:solidFill>
                <a:latin typeface="+mj-lt"/>
              </a:rPr>
              <a:t>Source: Frost &amp; </a:t>
            </a:r>
            <a:r>
              <a:rPr lang="en-US" sz="900" dirty="0" smtClean="0">
                <a:solidFill>
                  <a:schemeClr val="accent2"/>
                </a:solidFill>
                <a:latin typeface="+mj-lt"/>
              </a:rPr>
              <a:t>Sullivan </a:t>
            </a:r>
            <a:endParaRPr lang="en-US" sz="900" dirty="0">
              <a:solidFill>
                <a:schemeClr val="accent2"/>
              </a:solidFill>
              <a:latin typeface="+mj-lt"/>
            </a:endParaRPr>
          </a:p>
        </p:txBody>
      </p:sp>
    </p:spTree>
    <p:extLst>
      <p:ext uri="{BB962C8B-B14F-4D97-AF65-F5344CB8AC3E}">
        <p14:creationId xmlns:p14="http://schemas.microsoft.com/office/powerpoint/2010/main" val="39796676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89189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4889" name="Text Box 14"/>
          <p:cNvSpPr txBox="1">
            <a:spLocks noChangeArrowheads="1"/>
          </p:cNvSpPr>
          <p:nvPr/>
        </p:nvSpPr>
        <p:spPr bwMode="auto">
          <a:xfrm>
            <a:off x="8220125" y="3295857"/>
            <a:ext cx="639599" cy="553998"/>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b="1" dirty="0">
                <a:solidFill>
                  <a:srgbClr val="06325C"/>
                </a:solidFill>
                <a:ea typeface="Cambria Math" pitchFamily="18" charset="0"/>
                <a:cs typeface="Arial" pitchFamily="34" charset="0"/>
              </a:rPr>
              <a:t>Instant –</a:t>
            </a:r>
            <a:br>
              <a:rPr lang="en-US" sz="1200" b="1" dirty="0">
                <a:solidFill>
                  <a:srgbClr val="06325C"/>
                </a:solidFill>
                <a:ea typeface="Cambria Math" pitchFamily="18" charset="0"/>
                <a:cs typeface="Arial" pitchFamily="34" charset="0"/>
              </a:rPr>
            </a:br>
            <a:r>
              <a:rPr lang="en-US" sz="1200" b="1" dirty="0">
                <a:solidFill>
                  <a:srgbClr val="06325C"/>
                </a:solidFill>
                <a:ea typeface="Cambria Math" pitchFamily="18" charset="0"/>
                <a:cs typeface="Arial" pitchFamily="34" charset="0"/>
              </a:rPr>
              <a:t>Short </a:t>
            </a:r>
            <a:br>
              <a:rPr lang="en-US" sz="1200" b="1" dirty="0">
                <a:solidFill>
                  <a:srgbClr val="06325C"/>
                </a:solidFill>
                <a:ea typeface="Cambria Math" pitchFamily="18" charset="0"/>
                <a:cs typeface="Arial" pitchFamily="34" charset="0"/>
              </a:rPr>
            </a:br>
            <a:r>
              <a:rPr lang="en-US" sz="1200" b="1" dirty="0">
                <a:solidFill>
                  <a:srgbClr val="06325C"/>
                </a:solidFill>
                <a:ea typeface="Cambria Math" pitchFamily="18" charset="0"/>
                <a:cs typeface="Arial" pitchFamily="34" charset="0"/>
              </a:rPr>
              <a:t>Distance</a:t>
            </a:r>
          </a:p>
        </p:txBody>
      </p:sp>
      <p:sp>
        <p:nvSpPr>
          <p:cNvPr id="634890" name="Text Box 15"/>
          <p:cNvSpPr txBox="1">
            <a:spLocks noChangeArrowheads="1"/>
          </p:cNvSpPr>
          <p:nvPr/>
        </p:nvSpPr>
        <p:spPr bwMode="auto">
          <a:xfrm>
            <a:off x="289881" y="3295857"/>
            <a:ext cx="727763" cy="553998"/>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b="1" dirty="0">
                <a:solidFill>
                  <a:srgbClr val="06325C"/>
                </a:solidFill>
                <a:ea typeface="Cambria Math" pitchFamily="18" charset="0"/>
                <a:cs typeface="Arial" pitchFamily="34" charset="0"/>
              </a:rPr>
              <a:t>Planned –</a:t>
            </a:r>
            <a:br>
              <a:rPr lang="en-US" sz="1200" b="1" dirty="0">
                <a:solidFill>
                  <a:srgbClr val="06325C"/>
                </a:solidFill>
                <a:ea typeface="Cambria Math" pitchFamily="18" charset="0"/>
                <a:cs typeface="Arial" pitchFamily="34" charset="0"/>
              </a:rPr>
            </a:br>
            <a:r>
              <a:rPr lang="en-US" sz="1200" b="1" dirty="0">
                <a:solidFill>
                  <a:srgbClr val="06325C"/>
                </a:solidFill>
                <a:ea typeface="Cambria Math" pitchFamily="18" charset="0"/>
                <a:cs typeface="Arial" pitchFamily="34" charset="0"/>
              </a:rPr>
              <a:t>Long </a:t>
            </a:r>
            <a:br>
              <a:rPr lang="en-US" sz="1200" b="1" dirty="0">
                <a:solidFill>
                  <a:srgbClr val="06325C"/>
                </a:solidFill>
                <a:ea typeface="Cambria Math" pitchFamily="18" charset="0"/>
                <a:cs typeface="Arial" pitchFamily="34" charset="0"/>
              </a:rPr>
            </a:br>
            <a:r>
              <a:rPr lang="en-US" sz="1200" b="1" dirty="0">
                <a:solidFill>
                  <a:srgbClr val="06325C"/>
                </a:solidFill>
                <a:ea typeface="Cambria Math" pitchFamily="18" charset="0"/>
                <a:cs typeface="Arial" pitchFamily="34" charset="0"/>
              </a:rPr>
              <a:t>Distance</a:t>
            </a:r>
          </a:p>
        </p:txBody>
      </p:sp>
      <p:sp>
        <p:nvSpPr>
          <p:cNvPr id="40" name="Text Box 12"/>
          <p:cNvSpPr txBox="1">
            <a:spLocks noChangeArrowheads="1"/>
          </p:cNvSpPr>
          <p:nvPr/>
        </p:nvSpPr>
        <p:spPr bwMode="auto">
          <a:xfrm>
            <a:off x="354729" y="1343025"/>
            <a:ext cx="1101392" cy="184666"/>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dirty="0">
                <a:solidFill>
                  <a:srgbClr val="000000"/>
                </a:solidFill>
                <a:ea typeface="Cambria Math" pitchFamily="18" charset="0"/>
                <a:cs typeface="Arial" pitchFamily="34" charset="0"/>
              </a:rPr>
              <a:t>Public Transport</a:t>
            </a:r>
          </a:p>
        </p:txBody>
      </p:sp>
      <p:pic>
        <p:nvPicPr>
          <p:cNvPr id="1033" name="Picture 9" descr="C:\Users\MartynB\Pictures\Modes\Taxi\kabbee.pn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4743224" y="2834725"/>
            <a:ext cx="643622" cy="412271"/>
          </a:xfrm>
          <a:prstGeom prst="rect">
            <a:avLst/>
          </a:prstGeom>
          <a:noFill/>
          <a:extLst>
            <a:ext uri="{909E8E84-426E-40DD-AFC4-6F175D3DCCD1}">
              <a14:hiddenFill xmlns:a14="http://schemas.microsoft.com/office/drawing/2010/main">
                <a:solidFill>
                  <a:srgbClr val="FFFFFF"/>
                </a:solidFill>
              </a14:hiddenFill>
            </a:ext>
          </a:extLst>
        </p:spPr>
      </p:pic>
      <p:sp>
        <p:nvSpPr>
          <p:cNvPr id="634882" name="Line 3"/>
          <p:cNvSpPr>
            <a:spLocks noChangeShapeType="1"/>
          </p:cNvSpPr>
          <p:nvPr/>
        </p:nvSpPr>
        <p:spPr bwMode="auto">
          <a:xfrm>
            <a:off x="1248947" y="3552825"/>
            <a:ext cx="6721854" cy="0"/>
          </a:xfrm>
          <a:prstGeom prst="line">
            <a:avLst/>
          </a:prstGeom>
          <a:noFill/>
          <a:ln w="25400">
            <a:solidFill>
              <a:schemeClr val="accent2"/>
            </a:solidFill>
            <a:prstDash val="dash"/>
            <a:round/>
            <a:headEnd type="triangle" w="med" len="med"/>
            <a:tailEnd type="triangle" w="med" len="med"/>
          </a:ln>
        </p:spPr>
        <p:txBody>
          <a:bodyPr/>
          <a:lstStyle/>
          <a:p>
            <a:pPr fontAlgn="base">
              <a:spcBef>
                <a:spcPct val="0"/>
              </a:spcBef>
              <a:spcAft>
                <a:spcPct val="0"/>
              </a:spcAft>
            </a:pPr>
            <a:endParaRPr lang="en-US" sz="1200">
              <a:solidFill>
                <a:srgbClr val="000000"/>
              </a:solidFill>
              <a:ea typeface="Cambria Math" pitchFamily="18" charset="0"/>
              <a:cs typeface="Arial" pitchFamily="34" charset="0"/>
            </a:endParaRPr>
          </a:p>
        </p:txBody>
      </p:sp>
      <p:sp>
        <p:nvSpPr>
          <p:cNvPr id="634883" name="Line 4"/>
          <p:cNvSpPr>
            <a:spLocks noChangeShapeType="1"/>
          </p:cNvSpPr>
          <p:nvPr/>
        </p:nvSpPr>
        <p:spPr bwMode="auto">
          <a:xfrm flipV="1">
            <a:off x="4495574" y="1343025"/>
            <a:ext cx="0" cy="4724400"/>
          </a:xfrm>
          <a:prstGeom prst="line">
            <a:avLst/>
          </a:prstGeom>
          <a:noFill/>
          <a:ln w="25400">
            <a:solidFill>
              <a:schemeClr val="accent2"/>
            </a:solidFill>
            <a:prstDash val="dash"/>
            <a:round/>
            <a:headEnd type="triangle" w="med" len="med"/>
            <a:tailEnd type="triangle" w="med" len="med"/>
          </a:ln>
        </p:spPr>
        <p:txBody>
          <a:bodyPr/>
          <a:lstStyle/>
          <a:p>
            <a:pPr fontAlgn="base">
              <a:spcBef>
                <a:spcPct val="0"/>
              </a:spcBef>
              <a:spcAft>
                <a:spcPct val="0"/>
              </a:spcAft>
            </a:pPr>
            <a:endParaRPr lang="en-US" sz="1200">
              <a:solidFill>
                <a:srgbClr val="000000"/>
              </a:solidFill>
              <a:ea typeface="Cambria Math" pitchFamily="18" charset="0"/>
              <a:cs typeface="Arial" pitchFamily="34" charset="0"/>
            </a:endParaRPr>
          </a:p>
        </p:txBody>
      </p:sp>
      <p:sp>
        <p:nvSpPr>
          <p:cNvPr id="634888" name="Text Box 12"/>
          <p:cNvSpPr txBox="1">
            <a:spLocks noChangeArrowheads="1"/>
          </p:cNvSpPr>
          <p:nvPr/>
        </p:nvSpPr>
        <p:spPr bwMode="auto">
          <a:xfrm>
            <a:off x="289881" y="5882759"/>
            <a:ext cx="1259960" cy="184666"/>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dirty="0">
                <a:solidFill>
                  <a:srgbClr val="000000"/>
                </a:solidFill>
                <a:ea typeface="Cambria Math" pitchFamily="18" charset="0"/>
                <a:cs typeface="Arial" pitchFamily="34" charset="0"/>
              </a:rPr>
              <a:t>“Fixed” Carpooling</a:t>
            </a:r>
          </a:p>
        </p:txBody>
      </p:sp>
      <p:sp>
        <p:nvSpPr>
          <p:cNvPr id="634891" name="Text Box 16"/>
          <p:cNvSpPr txBox="1">
            <a:spLocks noChangeArrowheads="1"/>
          </p:cNvSpPr>
          <p:nvPr/>
        </p:nvSpPr>
        <p:spPr bwMode="auto">
          <a:xfrm>
            <a:off x="4581502" y="1343025"/>
            <a:ext cx="1469954" cy="184666"/>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b="1" dirty="0">
                <a:solidFill>
                  <a:srgbClr val="06325C"/>
                </a:solidFill>
                <a:ea typeface="Cambria Math" pitchFamily="18" charset="0"/>
                <a:cs typeface="Arial" pitchFamily="34" charset="0"/>
              </a:rPr>
              <a:t>Higher Price per KM</a:t>
            </a:r>
          </a:p>
        </p:txBody>
      </p:sp>
      <p:sp>
        <p:nvSpPr>
          <p:cNvPr id="634892" name="Text Box 17"/>
          <p:cNvSpPr txBox="1">
            <a:spLocks noChangeArrowheads="1"/>
          </p:cNvSpPr>
          <p:nvPr/>
        </p:nvSpPr>
        <p:spPr bwMode="auto">
          <a:xfrm>
            <a:off x="4581502" y="5882759"/>
            <a:ext cx="1436291" cy="184666"/>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b="1" dirty="0">
                <a:solidFill>
                  <a:srgbClr val="06325C"/>
                </a:solidFill>
                <a:ea typeface="Cambria Math" pitchFamily="18" charset="0"/>
                <a:cs typeface="Arial" pitchFamily="34" charset="0"/>
              </a:rPr>
              <a:t>Lower Price per KM</a:t>
            </a:r>
          </a:p>
        </p:txBody>
      </p:sp>
      <p:pic>
        <p:nvPicPr>
          <p:cNvPr id="1026" name="Picture 2"/>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327109" y="3799355"/>
            <a:ext cx="786834" cy="281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767323" y="4196787"/>
            <a:ext cx="1276350" cy="3844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379432" y="4722944"/>
            <a:ext cx="1577269" cy="3205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6717997" y="3849619"/>
            <a:ext cx="363720" cy="4501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347058" y="4451828"/>
            <a:ext cx="533400" cy="3909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7064226" y="4430361"/>
            <a:ext cx="927881" cy="335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descr="C:\Users\MartynB\Pictures\Modes\Taxi\taximy.bmp"/>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5505493" y="1928750"/>
            <a:ext cx="690562" cy="307372"/>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C:\Users\MartynB\Pictures\Modes\Taxi\hailo.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5938256" y="2370999"/>
            <a:ext cx="386391" cy="38639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Users\MartynB\Pictures\Modes\Taxi\gettaxi.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5130791" y="2359770"/>
            <a:ext cx="619125" cy="353786"/>
          </a:xfrm>
          <a:prstGeom prst="rect">
            <a:avLst/>
          </a:prstGeom>
          <a:noFill/>
          <a:extLst>
            <a:ext uri="{909E8E84-426E-40DD-AFC4-6F175D3DCCD1}">
              <a14:hiddenFill xmlns:a14="http://schemas.microsoft.com/office/drawing/2010/main">
                <a:solidFill>
                  <a:srgbClr val="FFFFFF"/>
                </a:solidFill>
              </a14:hiddenFill>
            </a:ext>
          </a:extLst>
        </p:spPr>
      </p:pic>
      <p:sp>
        <p:nvSpPr>
          <p:cNvPr id="34" name="Text Box 12"/>
          <p:cNvSpPr txBox="1">
            <a:spLocks noChangeArrowheads="1"/>
          </p:cNvSpPr>
          <p:nvPr/>
        </p:nvSpPr>
        <p:spPr bwMode="auto">
          <a:xfrm>
            <a:off x="5030531" y="4632353"/>
            <a:ext cx="929742" cy="369332"/>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dirty="0">
                <a:solidFill>
                  <a:srgbClr val="000000"/>
                </a:solidFill>
                <a:ea typeface="Cambria Math" pitchFamily="18" charset="0"/>
                <a:cs typeface="Arial" pitchFamily="34" charset="0"/>
              </a:rPr>
              <a:t>“On Demand”</a:t>
            </a:r>
            <a:br>
              <a:rPr lang="en-US" sz="1200" dirty="0">
                <a:solidFill>
                  <a:srgbClr val="000000"/>
                </a:solidFill>
                <a:ea typeface="Cambria Math" pitchFamily="18" charset="0"/>
                <a:cs typeface="Arial" pitchFamily="34" charset="0"/>
              </a:rPr>
            </a:br>
            <a:r>
              <a:rPr lang="en-US" sz="1200" dirty="0">
                <a:solidFill>
                  <a:srgbClr val="000000"/>
                </a:solidFill>
                <a:ea typeface="Cambria Math" pitchFamily="18" charset="0"/>
                <a:cs typeface="Arial" pitchFamily="34" charset="0"/>
              </a:rPr>
              <a:t>Carpooling</a:t>
            </a:r>
          </a:p>
        </p:txBody>
      </p:sp>
      <p:pic>
        <p:nvPicPr>
          <p:cNvPr id="1038" name="Picture 14"/>
          <p:cNvPicPr>
            <a:picLocks noChangeAspect="1" noChangeArrowheads="1"/>
          </p:cNvPicPr>
          <p:nvPr/>
        </p:nvPicPr>
        <p:blipFill rotWithShape="1">
          <a:blip r:embed="rId17" cstate="print">
            <a:extLst>
              <a:ext uri="{28A0092B-C50C-407E-A947-70E740481C1C}">
                <a14:useLocalDpi xmlns:a14="http://schemas.microsoft.com/office/drawing/2010/main"/>
              </a:ext>
            </a:extLst>
          </a:blip>
          <a:srcRect/>
          <a:stretch/>
        </p:blipFill>
        <p:spPr bwMode="auto">
          <a:xfrm>
            <a:off x="7583393" y="3962431"/>
            <a:ext cx="418962" cy="310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 Box 12"/>
          <p:cNvSpPr txBox="1">
            <a:spLocks noChangeArrowheads="1"/>
          </p:cNvSpPr>
          <p:nvPr/>
        </p:nvSpPr>
        <p:spPr bwMode="auto">
          <a:xfrm>
            <a:off x="7661488" y="1343025"/>
            <a:ext cx="1262140" cy="369332"/>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dirty="0">
                <a:solidFill>
                  <a:srgbClr val="000000"/>
                </a:solidFill>
                <a:ea typeface="Cambria Math" pitchFamily="18" charset="0"/>
                <a:cs typeface="Arial" pitchFamily="34" charset="0"/>
              </a:rPr>
              <a:t>“Taxi” &amp; Limousine</a:t>
            </a:r>
            <a:br>
              <a:rPr lang="en-US" sz="1200" dirty="0">
                <a:solidFill>
                  <a:srgbClr val="000000"/>
                </a:solidFill>
                <a:ea typeface="Cambria Math" pitchFamily="18" charset="0"/>
                <a:cs typeface="Arial" pitchFamily="34" charset="0"/>
              </a:rPr>
            </a:br>
            <a:r>
              <a:rPr lang="en-US" sz="1200" dirty="0">
                <a:solidFill>
                  <a:srgbClr val="000000"/>
                </a:solidFill>
                <a:ea typeface="Cambria Math" pitchFamily="18" charset="0"/>
                <a:cs typeface="Arial" pitchFamily="34" charset="0"/>
              </a:rPr>
              <a:t>Services</a:t>
            </a:r>
          </a:p>
        </p:txBody>
      </p:sp>
      <p:pic>
        <p:nvPicPr>
          <p:cNvPr id="1039" name="Picture 15"/>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2482171" y="1782164"/>
            <a:ext cx="1438275" cy="638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0" name="Picture 16"/>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1248947" y="2713556"/>
            <a:ext cx="1438275"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Oval 2"/>
          <p:cNvSpPr/>
          <p:nvPr/>
        </p:nvSpPr>
        <p:spPr bwMode="auto">
          <a:xfrm rot="19192002">
            <a:off x="1022846" y="3937039"/>
            <a:ext cx="2444593" cy="1417022"/>
          </a:xfrm>
          <a:prstGeom prst="ellipse">
            <a:avLst/>
          </a:prstGeom>
          <a:noFill/>
          <a:ln w="9525">
            <a:solidFill>
              <a:schemeClr val="accent1"/>
            </a:solidFill>
            <a:miter lim="800000"/>
            <a:headEnd/>
            <a:tailEnd/>
          </a:ln>
          <a:effectLst>
            <a:outerShdw algn="ctr" rotWithShape="0">
              <a:schemeClr val="bg2"/>
            </a:outerShdw>
          </a:effectLst>
          <a:extLst/>
        </p:spPr>
        <p:txBody>
          <a:bodyPr rtlCol="0" anchor="ctr"/>
          <a:lstStyle/>
          <a:p>
            <a:pPr algn="ctr" eaLnBrk="0" fontAlgn="base" hangingPunct="0">
              <a:lnSpc>
                <a:spcPct val="125000"/>
              </a:lnSpc>
              <a:spcBef>
                <a:spcPct val="18000"/>
              </a:spcBef>
              <a:spcAft>
                <a:spcPct val="18000"/>
              </a:spcAft>
              <a:buSzPct val="75000"/>
            </a:pPr>
            <a:endParaRPr lang="en-GB" sz="1200" dirty="0">
              <a:solidFill>
                <a:srgbClr val="000000"/>
              </a:solidFill>
              <a:ea typeface="Cambria Math" pitchFamily="18" charset="0"/>
              <a:cs typeface="Arial" pitchFamily="34" charset="0"/>
            </a:endParaRPr>
          </a:p>
        </p:txBody>
      </p:sp>
      <p:sp>
        <p:nvSpPr>
          <p:cNvPr id="44" name="Oval 43"/>
          <p:cNvSpPr/>
          <p:nvPr/>
        </p:nvSpPr>
        <p:spPr bwMode="auto">
          <a:xfrm rot="19192002">
            <a:off x="6303171" y="3570814"/>
            <a:ext cx="1885376" cy="2036388"/>
          </a:xfrm>
          <a:prstGeom prst="ellipse">
            <a:avLst/>
          </a:prstGeom>
          <a:noFill/>
          <a:ln w="9525">
            <a:solidFill>
              <a:schemeClr val="accent1"/>
            </a:solidFill>
            <a:miter lim="800000"/>
            <a:headEnd/>
            <a:tailEnd/>
          </a:ln>
          <a:effectLst>
            <a:outerShdw algn="ctr" rotWithShape="0">
              <a:schemeClr val="bg2"/>
            </a:outerShdw>
          </a:effectLst>
          <a:extLst/>
        </p:spPr>
        <p:txBody>
          <a:bodyPr rtlCol="0" anchor="ctr"/>
          <a:lstStyle/>
          <a:p>
            <a:pPr algn="ctr" eaLnBrk="0" fontAlgn="base" hangingPunct="0">
              <a:lnSpc>
                <a:spcPct val="125000"/>
              </a:lnSpc>
              <a:spcBef>
                <a:spcPct val="18000"/>
              </a:spcBef>
              <a:spcAft>
                <a:spcPct val="18000"/>
              </a:spcAft>
              <a:buSzPct val="75000"/>
            </a:pPr>
            <a:endParaRPr lang="en-GB" sz="1200" dirty="0">
              <a:solidFill>
                <a:srgbClr val="000000"/>
              </a:solidFill>
              <a:ea typeface="Cambria Math" pitchFamily="18" charset="0"/>
              <a:cs typeface="Arial" pitchFamily="34" charset="0"/>
            </a:endParaRPr>
          </a:p>
        </p:txBody>
      </p:sp>
      <p:sp>
        <p:nvSpPr>
          <p:cNvPr id="45" name="Oval 44"/>
          <p:cNvSpPr/>
          <p:nvPr/>
        </p:nvSpPr>
        <p:spPr bwMode="auto">
          <a:xfrm rot="19601790">
            <a:off x="4502469" y="1776639"/>
            <a:ext cx="2791733" cy="1326578"/>
          </a:xfrm>
          <a:prstGeom prst="ellipse">
            <a:avLst/>
          </a:prstGeom>
          <a:noFill/>
          <a:ln w="9525">
            <a:solidFill>
              <a:schemeClr val="accent1"/>
            </a:solidFill>
            <a:miter lim="800000"/>
            <a:headEnd/>
            <a:tailEnd/>
          </a:ln>
          <a:effectLst>
            <a:outerShdw algn="ctr" rotWithShape="0">
              <a:schemeClr val="bg2"/>
            </a:outerShdw>
          </a:effectLst>
          <a:extLst/>
        </p:spPr>
        <p:txBody>
          <a:bodyPr rtlCol="0" anchor="ctr"/>
          <a:lstStyle/>
          <a:p>
            <a:pPr algn="ctr" eaLnBrk="0" fontAlgn="base" hangingPunct="0">
              <a:lnSpc>
                <a:spcPct val="125000"/>
              </a:lnSpc>
              <a:spcBef>
                <a:spcPct val="18000"/>
              </a:spcBef>
              <a:spcAft>
                <a:spcPct val="18000"/>
              </a:spcAft>
              <a:buSzPct val="75000"/>
            </a:pPr>
            <a:endParaRPr lang="en-GB" sz="1200" dirty="0">
              <a:solidFill>
                <a:srgbClr val="000000"/>
              </a:solidFill>
              <a:cs typeface="Arial" pitchFamily="34" charset="0"/>
            </a:endParaRPr>
          </a:p>
        </p:txBody>
      </p:sp>
      <p:pic>
        <p:nvPicPr>
          <p:cNvPr id="46" name="Picture 3"/>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1474675" y="5232779"/>
            <a:ext cx="894500" cy="196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4831895" y="5136819"/>
            <a:ext cx="673599" cy="283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5680951" y="5138780"/>
            <a:ext cx="440410" cy="279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Oval 34"/>
          <p:cNvSpPr/>
          <p:nvPr/>
        </p:nvSpPr>
        <p:spPr bwMode="auto">
          <a:xfrm rot="189638">
            <a:off x="4718834" y="5027560"/>
            <a:ext cx="1511987" cy="491420"/>
          </a:xfrm>
          <a:prstGeom prst="ellipse">
            <a:avLst/>
          </a:prstGeom>
          <a:noFill/>
          <a:ln w="9525">
            <a:solidFill>
              <a:schemeClr val="accent1"/>
            </a:solidFill>
            <a:miter lim="800000"/>
            <a:headEnd/>
            <a:tailEnd/>
          </a:ln>
          <a:effectLst>
            <a:outerShdw algn="ctr" rotWithShape="0">
              <a:schemeClr val="bg2"/>
            </a:outerShdw>
          </a:effectLst>
          <a:extLst/>
        </p:spPr>
        <p:txBody>
          <a:bodyPr rtlCol="0" anchor="ctr"/>
          <a:lstStyle/>
          <a:p>
            <a:pPr algn="ctr" eaLnBrk="0" fontAlgn="base" hangingPunct="0">
              <a:lnSpc>
                <a:spcPct val="125000"/>
              </a:lnSpc>
              <a:spcBef>
                <a:spcPct val="18000"/>
              </a:spcBef>
              <a:spcAft>
                <a:spcPct val="18000"/>
              </a:spcAft>
              <a:buSzPct val="75000"/>
            </a:pPr>
            <a:endParaRPr lang="en-GB" sz="1200" dirty="0">
              <a:solidFill>
                <a:srgbClr val="000000"/>
              </a:solidFill>
              <a:ea typeface="Cambria Math" pitchFamily="18" charset="0"/>
              <a:cs typeface="Arial" pitchFamily="34" charset="0"/>
            </a:endParaRPr>
          </a:p>
        </p:txBody>
      </p:sp>
      <p:sp>
        <p:nvSpPr>
          <p:cNvPr id="36" name="Text Box 12"/>
          <p:cNvSpPr txBox="1">
            <a:spLocks noChangeArrowheads="1"/>
          </p:cNvSpPr>
          <p:nvPr/>
        </p:nvSpPr>
        <p:spPr bwMode="auto">
          <a:xfrm>
            <a:off x="7815339" y="5513427"/>
            <a:ext cx="1053302" cy="553998"/>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dirty="0">
                <a:solidFill>
                  <a:srgbClr val="000000"/>
                </a:solidFill>
                <a:ea typeface="Cambria Math" pitchFamily="18" charset="0"/>
                <a:cs typeface="Arial" pitchFamily="34" charset="0"/>
              </a:rPr>
              <a:t>“Transportation</a:t>
            </a:r>
            <a:br>
              <a:rPr lang="en-US" sz="1200" dirty="0">
                <a:solidFill>
                  <a:srgbClr val="000000"/>
                </a:solidFill>
                <a:ea typeface="Cambria Math" pitchFamily="18" charset="0"/>
                <a:cs typeface="Arial" pitchFamily="34" charset="0"/>
              </a:rPr>
            </a:br>
            <a:r>
              <a:rPr lang="en-US" sz="1200" dirty="0">
                <a:solidFill>
                  <a:srgbClr val="000000"/>
                </a:solidFill>
                <a:ea typeface="Cambria Math" pitchFamily="18" charset="0"/>
                <a:cs typeface="Arial" pitchFamily="34" charset="0"/>
              </a:rPr>
              <a:t>Network </a:t>
            </a:r>
            <a:br>
              <a:rPr lang="en-US" sz="1200" dirty="0">
                <a:solidFill>
                  <a:srgbClr val="000000"/>
                </a:solidFill>
                <a:ea typeface="Cambria Math" pitchFamily="18" charset="0"/>
                <a:cs typeface="Arial" pitchFamily="34" charset="0"/>
              </a:rPr>
            </a:br>
            <a:r>
              <a:rPr lang="en-US" sz="1200" dirty="0">
                <a:solidFill>
                  <a:srgbClr val="000000"/>
                </a:solidFill>
                <a:ea typeface="Cambria Math" pitchFamily="18" charset="0"/>
                <a:cs typeface="Arial" pitchFamily="34" charset="0"/>
              </a:rPr>
              <a:t>Companies”</a:t>
            </a:r>
          </a:p>
        </p:txBody>
      </p:sp>
      <p:cxnSp>
        <p:nvCxnSpPr>
          <p:cNvPr id="5" name="Straight Arrow Connector 4"/>
          <p:cNvCxnSpPr>
            <a:stCxn id="3" idx="4"/>
            <a:endCxn id="35" idx="2"/>
          </p:cNvCxnSpPr>
          <p:nvPr/>
        </p:nvCxnSpPr>
        <p:spPr>
          <a:xfrm>
            <a:off x="2701826" y="5187240"/>
            <a:ext cx="2018158" cy="44348"/>
          </a:xfrm>
          <a:prstGeom prst="straightConnector1">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35" idx="0"/>
          </p:cNvCxnSpPr>
          <p:nvPr/>
        </p:nvCxnSpPr>
        <p:spPr>
          <a:xfrm flipV="1">
            <a:off x="5488375" y="4339283"/>
            <a:ext cx="396136" cy="688651"/>
          </a:xfrm>
          <a:prstGeom prst="straightConnector1">
            <a:avLst/>
          </a:prstGeom>
          <a:ln>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6984513" y="2495219"/>
            <a:ext cx="4600" cy="947090"/>
          </a:xfrm>
          <a:prstGeom prst="straightConnector1">
            <a:avLst/>
          </a:prstGeom>
          <a:ln>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7848" t="16698" r="5477" b="16838"/>
          <a:stretch/>
        </p:blipFill>
        <p:spPr bwMode="auto">
          <a:xfrm>
            <a:off x="4076657" y="3879001"/>
            <a:ext cx="817042" cy="2705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895765" y="4277541"/>
            <a:ext cx="847459" cy="3177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2" name="Text Box 12"/>
          <p:cNvSpPr txBox="1">
            <a:spLocks noChangeArrowheads="1"/>
          </p:cNvSpPr>
          <p:nvPr/>
        </p:nvSpPr>
        <p:spPr bwMode="auto">
          <a:xfrm>
            <a:off x="3579884" y="4788489"/>
            <a:ext cx="823944" cy="369332"/>
          </a:xfrm>
          <a:prstGeom prst="rect">
            <a:avLst/>
          </a:prstGeom>
          <a:noFill/>
          <a:ln w="9525">
            <a:noFill/>
            <a:miter lim="800000"/>
            <a:headEnd/>
            <a:tailEnd/>
          </a:ln>
        </p:spPr>
        <p:txBody>
          <a:bodyPr wrap="none" lIns="0" tIns="0" rIns="0" bIns="0">
            <a:spAutoFit/>
          </a:bodyPr>
          <a:lstStyle/>
          <a:p>
            <a:pPr fontAlgn="base">
              <a:spcBef>
                <a:spcPct val="50000"/>
              </a:spcBef>
              <a:spcAft>
                <a:spcPct val="0"/>
              </a:spcAft>
            </a:pPr>
            <a:r>
              <a:rPr lang="en-US" sz="1200" dirty="0">
                <a:solidFill>
                  <a:srgbClr val="000000"/>
                </a:solidFill>
                <a:ea typeface="Cambria Math" pitchFamily="18" charset="0"/>
                <a:cs typeface="Arial" pitchFamily="34" charset="0"/>
              </a:rPr>
              <a:t>Corporate</a:t>
            </a:r>
            <a:br>
              <a:rPr lang="en-US" sz="1200" dirty="0">
                <a:solidFill>
                  <a:srgbClr val="000000"/>
                </a:solidFill>
                <a:ea typeface="Cambria Math" pitchFamily="18" charset="0"/>
                <a:cs typeface="Arial" pitchFamily="34" charset="0"/>
              </a:rPr>
            </a:br>
            <a:r>
              <a:rPr lang="en-US" sz="1200" dirty="0">
                <a:solidFill>
                  <a:srgbClr val="000000"/>
                </a:solidFill>
                <a:ea typeface="Cambria Math" pitchFamily="18" charset="0"/>
                <a:cs typeface="Arial" pitchFamily="34" charset="0"/>
              </a:rPr>
              <a:t>Carpooling?</a:t>
            </a:r>
          </a:p>
        </p:txBody>
      </p:sp>
      <p:sp>
        <p:nvSpPr>
          <p:cNvPr id="47" name="Oval 46"/>
          <p:cNvSpPr/>
          <p:nvPr/>
        </p:nvSpPr>
        <p:spPr bwMode="auto">
          <a:xfrm rot="4929552">
            <a:off x="3961634" y="3452572"/>
            <a:ext cx="880053" cy="1474135"/>
          </a:xfrm>
          <a:prstGeom prst="ellipse">
            <a:avLst/>
          </a:prstGeom>
          <a:noFill/>
          <a:ln w="9525">
            <a:solidFill>
              <a:srgbClr val="FF0000"/>
            </a:solidFill>
            <a:miter lim="800000"/>
            <a:headEnd/>
            <a:tailEnd/>
          </a:ln>
          <a:effectLst>
            <a:outerShdw algn="ctr" rotWithShape="0">
              <a:schemeClr val="bg2"/>
            </a:outerShdw>
          </a:effectLst>
          <a:extLst/>
        </p:spPr>
        <p:txBody>
          <a:bodyPr rtlCol="0" anchor="ctr"/>
          <a:lstStyle/>
          <a:p>
            <a:pPr algn="ctr" eaLnBrk="0" fontAlgn="base" hangingPunct="0">
              <a:lnSpc>
                <a:spcPct val="125000"/>
              </a:lnSpc>
              <a:spcBef>
                <a:spcPct val="18000"/>
              </a:spcBef>
              <a:spcAft>
                <a:spcPct val="18000"/>
              </a:spcAft>
              <a:buSzPct val="75000"/>
            </a:pPr>
            <a:endParaRPr lang="en-GB" sz="1200" dirty="0">
              <a:solidFill>
                <a:srgbClr val="000000"/>
              </a:solidFill>
              <a:ea typeface="Cambria Math" pitchFamily="18" charset="0"/>
              <a:cs typeface="Arial" pitchFamily="34" charset="0"/>
            </a:endParaRPr>
          </a:p>
        </p:txBody>
      </p:sp>
      <p:pic>
        <p:nvPicPr>
          <p:cNvPr id="8194" name="Picture 2"/>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28351" t="44772" r="26677" b="29219"/>
          <a:stretch/>
        </p:blipFill>
        <p:spPr bwMode="auto">
          <a:xfrm>
            <a:off x="6599270" y="2852014"/>
            <a:ext cx="775087" cy="23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27557" t="35650" r="16790" b="39290"/>
          <a:stretch/>
        </p:blipFill>
        <p:spPr bwMode="auto">
          <a:xfrm>
            <a:off x="6681650" y="4937959"/>
            <a:ext cx="999552" cy="2520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31573" t="13595" r="29618" b="64973"/>
          <a:stretch/>
        </p:blipFill>
        <p:spPr bwMode="auto">
          <a:xfrm>
            <a:off x="6174826" y="1619526"/>
            <a:ext cx="784509" cy="2221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Title 1"/>
          <p:cNvSpPr txBox="1">
            <a:spLocks/>
          </p:cNvSpPr>
          <p:nvPr/>
        </p:nvSpPr>
        <p:spPr bwMode="auto">
          <a:xfrm>
            <a:off x="238125" y="162461"/>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GB" sz="2000" dirty="0" smtClean="0">
                <a:ea typeface="Cambria Math" pitchFamily="18" charset="0"/>
              </a:rPr>
              <a:t>Growth of  Ride Sharing Business Models</a:t>
            </a:r>
            <a:endParaRPr lang="en-IN" sz="1400" b="0" dirty="0">
              <a:solidFill>
                <a:srgbClr val="002060"/>
              </a:solidFill>
              <a:ea typeface="Cambria Math" pitchFamily="18" charset="0"/>
            </a:endParaRPr>
          </a:p>
        </p:txBody>
      </p:sp>
      <p:sp>
        <p:nvSpPr>
          <p:cNvPr id="48"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Sullivan</a:t>
            </a:r>
          </a:p>
        </p:txBody>
      </p:sp>
    </p:spTree>
    <p:extLst>
      <p:ext uri="{BB962C8B-B14F-4D97-AF65-F5344CB8AC3E}">
        <p14:creationId xmlns:p14="http://schemas.microsoft.com/office/powerpoint/2010/main" val="2701517276"/>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8330" name="Picture 10" descr="https://d30y9cdsu7xlg0.cloudfront.net/png/40506-200.png"/>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43207" y="2357381"/>
            <a:ext cx="4083537" cy="3521439"/>
          </a:xfrm>
          <a:prstGeom prst="rect">
            <a:avLst/>
          </a:prstGeom>
          <a:noFill/>
          <a:extLst>
            <a:ext uri="{909E8E84-426E-40DD-AFC4-6F175D3DCCD1}">
              <a14:hiddenFill xmlns:a14="http://schemas.microsoft.com/office/drawing/2010/main">
                <a:solidFill>
                  <a:srgbClr val="FFFFFF"/>
                </a:solidFill>
              </a14:hiddenFill>
            </a:ext>
          </a:extLst>
        </p:spPr>
      </p:pic>
      <p:pic>
        <p:nvPicPr>
          <p:cNvPr id="568322" name="Picture 2" descr="http://www.vgn.de/ib/site/documents/media/1d2362c8-3c10-fbc5-b509-54a2e855a759.png/carsharin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0553" y="1960522"/>
            <a:ext cx="4552733" cy="403483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63902" y="2080946"/>
            <a:ext cx="4507656" cy="3793125"/>
          </a:xfrm>
          <a:prstGeom prst="rect">
            <a:avLst/>
          </a:prstGeom>
          <a:solidFill>
            <a:schemeClr val="bg1">
              <a:alpha val="6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sz="2200">
              <a:solidFill>
                <a:srgbClr val="FFFFFF">
                  <a:hueOff val="0"/>
                  <a:satOff val="0"/>
                  <a:lumOff val="0"/>
                  <a:alphaOff val="0"/>
                </a:srgbClr>
              </a:solidFill>
            </a:endParaRPr>
          </a:p>
        </p:txBody>
      </p:sp>
      <p:sp>
        <p:nvSpPr>
          <p:cNvPr id="81" name="Rectangle 80"/>
          <p:cNvSpPr/>
          <p:nvPr/>
        </p:nvSpPr>
        <p:spPr>
          <a:xfrm>
            <a:off x="4731940" y="1820044"/>
            <a:ext cx="4039531" cy="4047957"/>
          </a:xfrm>
          <a:prstGeom prst="rect">
            <a:avLst/>
          </a:prstGeom>
          <a:solidFill>
            <a:schemeClr val="bg1">
              <a:alpha val="6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sz="2200">
              <a:solidFill>
                <a:srgbClr val="FFFFFF">
                  <a:hueOff val="0"/>
                  <a:satOff val="0"/>
                  <a:lumOff val="0"/>
                  <a:alphaOff val="0"/>
                </a:srgbClr>
              </a:solidFill>
            </a:endParaRPr>
          </a:p>
        </p:txBody>
      </p:sp>
      <p:grpSp>
        <p:nvGrpSpPr>
          <p:cNvPr id="84" name="Group 83"/>
          <p:cNvGrpSpPr>
            <a:grpSpLocks/>
          </p:cNvGrpSpPr>
          <p:nvPr/>
        </p:nvGrpSpPr>
        <p:grpSpPr bwMode="auto">
          <a:xfrm>
            <a:off x="6442833" y="2331200"/>
            <a:ext cx="484659" cy="385678"/>
            <a:chOff x="3398" y="701"/>
            <a:chExt cx="354" cy="383"/>
          </a:xfrm>
          <a:solidFill>
            <a:schemeClr val="accent2"/>
          </a:solidFill>
        </p:grpSpPr>
        <p:sp>
          <p:nvSpPr>
            <p:cNvPr id="85" name="Freeform 84"/>
            <p:cNvSpPr>
              <a:spLocks noChangeArrowheads="1"/>
            </p:cNvSpPr>
            <p:nvPr/>
          </p:nvSpPr>
          <p:spPr bwMode="auto">
            <a:xfrm>
              <a:off x="3555" y="701"/>
              <a:ext cx="49" cy="54"/>
            </a:xfrm>
            <a:custGeom>
              <a:avLst/>
              <a:gdLst>
                <a:gd name="T0" fmla="*/ 0 w 455"/>
                <a:gd name="T1" fmla="*/ 0 h 493"/>
                <a:gd name="T2" fmla="*/ 0 w 455"/>
                <a:gd name="T3" fmla="*/ 0 h 493"/>
                <a:gd name="T4" fmla="*/ 0 w 455"/>
                <a:gd name="T5" fmla="*/ 0 h 493"/>
                <a:gd name="T6" fmla="*/ 0 w 455"/>
                <a:gd name="T7" fmla="*/ 0 h 493"/>
                <a:gd name="T8" fmla="*/ 0 w 455"/>
                <a:gd name="T9" fmla="*/ 0 h 493"/>
                <a:gd name="T10" fmla="*/ 0 w 455"/>
                <a:gd name="T11" fmla="*/ 0 h 493"/>
                <a:gd name="T12" fmla="*/ 0 w 455"/>
                <a:gd name="T13" fmla="*/ 0 h 493"/>
                <a:gd name="T14" fmla="*/ 0 60000 65536"/>
                <a:gd name="T15" fmla="*/ 0 60000 65536"/>
                <a:gd name="T16" fmla="*/ 0 60000 65536"/>
                <a:gd name="T17" fmla="*/ 0 60000 65536"/>
                <a:gd name="T18" fmla="*/ 0 60000 65536"/>
                <a:gd name="T19" fmla="*/ 0 60000 65536"/>
                <a:gd name="T20" fmla="*/ 0 60000 65536"/>
                <a:gd name="T21" fmla="*/ 0 w 455"/>
                <a:gd name="T22" fmla="*/ 0 h 493"/>
                <a:gd name="T23" fmla="*/ 455 w 455"/>
                <a:gd name="T24" fmla="*/ 493 h 4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5" h="493">
                  <a:moveTo>
                    <a:pt x="246" y="0"/>
                  </a:moveTo>
                  <a:lnTo>
                    <a:pt x="455" y="0"/>
                  </a:lnTo>
                  <a:lnTo>
                    <a:pt x="208" y="245"/>
                  </a:lnTo>
                  <a:lnTo>
                    <a:pt x="455" y="493"/>
                  </a:lnTo>
                  <a:lnTo>
                    <a:pt x="246" y="493"/>
                  </a:lnTo>
                  <a:lnTo>
                    <a:pt x="0" y="245"/>
                  </a:lnTo>
                  <a:lnTo>
                    <a:pt x="246" y="0"/>
                  </a:lnTo>
                  <a:close/>
                </a:path>
              </a:pathLst>
            </a:custGeom>
            <a:grpFill/>
            <a:ln w="9525">
              <a:noFill/>
              <a:round/>
              <a:headEnd/>
              <a:tailEnd/>
            </a:ln>
          </p:spPr>
          <p:txBody>
            <a:bodyPr wrap="none" anchor="ctr"/>
            <a:lstStyle/>
            <a:p>
              <a:endParaRPr lang="en-GB" sz="2200">
                <a:solidFill>
                  <a:srgbClr val="000000"/>
                </a:solidFill>
              </a:endParaRPr>
            </a:p>
          </p:txBody>
        </p:sp>
        <p:sp>
          <p:nvSpPr>
            <p:cNvPr id="86" name="Freeform 85"/>
            <p:cNvSpPr>
              <a:spLocks noChangeArrowheads="1"/>
            </p:cNvSpPr>
            <p:nvPr/>
          </p:nvSpPr>
          <p:spPr bwMode="auto">
            <a:xfrm>
              <a:off x="3546" y="1030"/>
              <a:ext cx="49" cy="54"/>
            </a:xfrm>
            <a:custGeom>
              <a:avLst/>
              <a:gdLst>
                <a:gd name="T0" fmla="*/ 0 w 455"/>
                <a:gd name="T1" fmla="*/ 0 h 493"/>
                <a:gd name="T2" fmla="*/ 0 w 455"/>
                <a:gd name="T3" fmla="*/ 0 h 493"/>
                <a:gd name="T4" fmla="*/ 0 w 455"/>
                <a:gd name="T5" fmla="*/ 0 h 493"/>
                <a:gd name="T6" fmla="*/ 0 w 455"/>
                <a:gd name="T7" fmla="*/ 0 h 493"/>
                <a:gd name="T8" fmla="*/ 0 w 455"/>
                <a:gd name="T9" fmla="*/ 0 h 493"/>
                <a:gd name="T10" fmla="*/ 0 w 455"/>
                <a:gd name="T11" fmla="*/ 0 h 493"/>
                <a:gd name="T12" fmla="*/ 0 w 455"/>
                <a:gd name="T13" fmla="*/ 0 h 493"/>
                <a:gd name="T14" fmla="*/ 0 60000 65536"/>
                <a:gd name="T15" fmla="*/ 0 60000 65536"/>
                <a:gd name="T16" fmla="*/ 0 60000 65536"/>
                <a:gd name="T17" fmla="*/ 0 60000 65536"/>
                <a:gd name="T18" fmla="*/ 0 60000 65536"/>
                <a:gd name="T19" fmla="*/ 0 60000 65536"/>
                <a:gd name="T20" fmla="*/ 0 60000 65536"/>
                <a:gd name="T21" fmla="*/ 0 w 455"/>
                <a:gd name="T22" fmla="*/ 0 h 493"/>
                <a:gd name="T23" fmla="*/ 455 w 455"/>
                <a:gd name="T24" fmla="*/ 493 h 4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5" h="493">
                  <a:moveTo>
                    <a:pt x="0" y="0"/>
                  </a:moveTo>
                  <a:lnTo>
                    <a:pt x="210" y="0"/>
                  </a:lnTo>
                  <a:lnTo>
                    <a:pt x="455" y="246"/>
                  </a:lnTo>
                  <a:lnTo>
                    <a:pt x="210" y="493"/>
                  </a:lnTo>
                  <a:lnTo>
                    <a:pt x="0" y="493"/>
                  </a:lnTo>
                  <a:lnTo>
                    <a:pt x="247" y="246"/>
                  </a:lnTo>
                  <a:lnTo>
                    <a:pt x="0" y="0"/>
                  </a:lnTo>
                  <a:close/>
                </a:path>
              </a:pathLst>
            </a:custGeom>
            <a:grpFill/>
            <a:ln w="9525">
              <a:noFill/>
              <a:round/>
              <a:headEnd/>
              <a:tailEnd/>
            </a:ln>
          </p:spPr>
          <p:txBody>
            <a:bodyPr wrap="none" anchor="ctr"/>
            <a:lstStyle/>
            <a:p>
              <a:endParaRPr lang="en-GB" sz="2200">
                <a:solidFill>
                  <a:srgbClr val="000000"/>
                </a:solidFill>
              </a:endParaRPr>
            </a:p>
          </p:txBody>
        </p:sp>
        <p:sp>
          <p:nvSpPr>
            <p:cNvPr id="87" name="Freeform 86"/>
            <p:cNvSpPr>
              <a:spLocks noChangeArrowheads="1"/>
            </p:cNvSpPr>
            <p:nvPr/>
          </p:nvSpPr>
          <p:spPr bwMode="auto">
            <a:xfrm>
              <a:off x="3469" y="807"/>
              <a:ext cx="212" cy="171"/>
            </a:xfrm>
            <a:custGeom>
              <a:avLst/>
              <a:gdLst>
                <a:gd name="T0" fmla="*/ 0 w 1916"/>
                <a:gd name="T1" fmla="*/ 0 h 1551"/>
                <a:gd name="T2" fmla="*/ 0 w 1916"/>
                <a:gd name="T3" fmla="*/ 0 h 1551"/>
                <a:gd name="T4" fmla="*/ 0 w 1916"/>
                <a:gd name="T5" fmla="*/ 0 h 1551"/>
                <a:gd name="T6" fmla="*/ 0 w 1916"/>
                <a:gd name="T7" fmla="*/ 0 h 1551"/>
                <a:gd name="T8" fmla="*/ 0 w 1916"/>
                <a:gd name="T9" fmla="*/ 0 h 1551"/>
                <a:gd name="T10" fmla="*/ 0 w 1916"/>
                <a:gd name="T11" fmla="*/ 0 h 1551"/>
                <a:gd name="T12" fmla="*/ 0 w 1916"/>
                <a:gd name="T13" fmla="*/ 0 h 1551"/>
                <a:gd name="T14" fmla="*/ 0 w 1916"/>
                <a:gd name="T15" fmla="*/ 0 h 1551"/>
                <a:gd name="T16" fmla="*/ 0 w 1916"/>
                <a:gd name="T17" fmla="*/ 0 h 1551"/>
                <a:gd name="T18" fmla="*/ 0 w 1916"/>
                <a:gd name="T19" fmla="*/ 0 h 1551"/>
                <a:gd name="T20" fmla="*/ 0 w 1916"/>
                <a:gd name="T21" fmla="*/ 0 h 1551"/>
                <a:gd name="T22" fmla="*/ 0 w 1916"/>
                <a:gd name="T23" fmla="*/ 0 h 1551"/>
                <a:gd name="T24" fmla="*/ 0 w 1916"/>
                <a:gd name="T25" fmla="*/ 0 h 1551"/>
                <a:gd name="T26" fmla="*/ 0 w 1916"/>
                <a:gd name="T27" fmla="*/ 0 h 1551"/>
                <a:gd name="T28" fmla="*/ 0 w 1916"/>
                <a:gd name="T29" fmla="*/ 0 h 1551"/>
                <a:gd name="T30" fmla="*/ 0 w 1916"/>
                <a:gd name="T31" fmla="*/ 0 h 1551"/>
                <a:gd name="T32" fmla="*/ 0 w 1916"/>
                <a:gd name="T33" fmla="*/ 0 h 1551"/>
                <a:gd name="T34" fmla="*/ 0 w 1916"/>
                <a:gd name="T35" fmla="*/ 0 h 1551"/>
                <a:gd name="T36" fmla="*/ 0 w 1916"/>
                <a:gd name="T37" fmla="*/ 0 h 1551"/>
                <a:gd name="T38" fmla="*/ 0 w 1916"/>
                <a:gd name="T39" fmla="*/ 0 h 1551"/>
                <a:gd name="T40" fmla="*/ 0 w 1916"/>
                <a:gd name="T41" fmla="*/ 0 h 1551"/>
                <a:gd name="T42" fmla="*/ 0 w 1916"/>
                <a:gd name="T43" fmla="*/ 0 h 1551"/>
                <a:gd name="T44" fmla="*/ 0 w 1916"/>
                <a:gd name="T45" fmla="*/ 0 h 1551"/>
                <a:gd name="T46" fmla="*/ 0 w 1916"/>
                <a:gd name="T47" fmla="*/ 0 h 1551"/>
                <a:gd name="T48" fmla="*/ 0 w 1916"/>
                <a:gd name="T49" fmla="*/ 0 h 1551"/>
                <a:gd name="T50" fmla="*/ 0 w 1916"/>
                <a:gd name="T51" fmla="*/ 0 h 1551"/>
                <a:gd name="T52" fmla="*/ 0 w 1916"/>
                <a:gd name="T53" fmla="*/ 0 h 1551"/>
                <a:gd name="T54" fmla="*/ 0 w 1916"/>
                <a:gd name="T55" fmla="*/ 0 h 1551"/>
                <a:gd name="T56" fmla="*/ 0 w 1916"/>
                <a:gd name="T57" fmla="*/ 0 h 1551"/>
                <a:gd name="T58" fmla="*/ 0 w 1916"/>
                <a:gd name="T59" fmla="*/ 0 h 1551"/>
                <a:gd name="T60" fmla="*/ 0 w 1916"/>
                <a:gd name="T61" fmla="*/ 0 h 1551"/>
                <a:gd name="T62" fmla="*/ 0 w 1916"/>
                <a:gd name="T63" fmla="*/ 0 h 1551"/>
                <a:gd name="T64" fmla="*/ 0 w 1916"/>
                <a:gd name="T65" fmla="*/ 0 h 1551"/>
                <a:gd name="T66" fmla="*/ 0 w 1916"/>
                <a:gd name="T67" fmla="*/ 0 h 1551"/>
                <a:gd name="T68" fmla="*/ 0 w 1916"/>
                <a:gd name="T69" fmla="*/ 0 h 1551"/>
                <a:gd name="T70" fmla="*/ 0 w 1916"/>
                <a:gd name="T71" fmla="*/ 0 h 1551"/>
                <a:gd name="T72" fmla="*/ 0 w 1916"/>
                <a:gd name="T73" fmla="*/ 0 h 1551"/>
                <a:gd name="T74" fmla="*/ 0 w 1916"/>
                <a:gd name="T75" fmla="*/ 0 h 1551"/>
                <a:gd name="T76" fmla="*/ 0 w 1916"/>
                <a:gd name="T77" fmla="*/ 0 h 1551"/>
                <a:gd name="T78" fmla="*/ 0 w 1916"/>
                <a:gd name="T79" fmla="*/ 0 h 1551"/>
                <a:gd name="T80" fmla="*/ 0 w 1916"/>
                <a:gd name="T81" fmla="*/ 0 h 1551"/>
                <a:gd name="T82" fmla="*/ 0 w 1916"/>
                <a:gd name="T83" fmla="*/ 0 h 1551"/>
                <a:gd name="T84" fmla="*/ 0 w 1916"/>
                <a:gd name="T85" fmla="*/ 0 h 1551"/>
                <a:gd name="T86" fmla="*/ 0 w 1916"/>
                <a:gd name="T87" fmla="*/ 0 h 1551"/>
                <a:gd name="T88" fmla="*/ 0 w 1916"/>
                <a:gd name="T89" fmla="*/ 0 h 1551"/>
                <a:gd name="T90" fmla="*/ 0 w 1916"/>
                <a:gd name="T91" fmla="*/ 0 h 1551"/>
                <a:gd name="T92" fmla="*/ 0 w 1916"/>
                <a:gd name="T93" fmla="*/ 0 h 1551"/>
                <a:gd name="T94" fmla="*/ 0 w 1916"/>
                <a:gd name="T95" fmla="*/ 0 h 1551"/>
                <a:gd name="T96" fmla="*/ 0 w 1916"/>
                <a:gd name="T97" fmla="*/ 0 h 1551"/>
                <a:gd name="T98" fmla="*/ 0 w 1916"/>
                <a:gd name="T99" fmla="*/ 0 h 15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16"/>
                <a:gd name="T151" fmla="*/ 0 h 1551"/>
                <a:gd name="T152" fmla="*/ 1916 w 1916"/>
                <a:gd name="T153" fmla="*/ 1551 h 15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16" h="1551">
                  <a:moveTo>
                    <a:pt x="1605" y="682"/>
                  </a:moveTo>
                  <a:lnTo>
                    <a:pt x="1576" y="686"/>
                  </a:lnTo>
                  <a:lnTo>
                    <a:pt x="1550" y="695"/>
                  </a:lnTo>
                  <a:lnTo>
                    <a:pt x="1527" y="710"/>
                  </a:lnTo>
                  <a:lnTo>
                    <a:pt x="1506" y="730"/>
                  </a:lnTo>
                  <a:lnTo>
                    <a:pt x="1492" y="753"/>
                  </a:lnTo>
                  <a:lnTo>
                    <a:pt x="1482" y="780"/>
                  </a:lnTo>
                  <a:lnTo>
                    <a:pt x="1478" y="809"/>
                  </a:lnTo>
                  <a:lnTo>
                    <a:pt x="1481" y="834"/>
                  </a:lnTo>
                  <a:lnTo>
                    <a:pt x="1489" y="859"/>
                  </a:lnTo>
                  <a:lnTo>
                    <a:pt x="1501" y="880"/>
                  </a:lnTo>
                  <a:lnTo>
                    <a:pt x="1516" y="898"/>
                  </a:lnTo>
                  <a:lnTo>
                    <a:pt x="1535" y="913"/>
                  </a:lnTo>
                  <a:lnTo>
                    <a:pt x="1557" y="925"/>
                  </a:lnTo>
                  <a:lnTo>
                    <a:pt x="1580" y="933"/>
                  </a:lnTo>
                  <a:lnTo>
                    <a:pt x="1605" y="936"/>
                  </a:lnTo>
                  <a:lnTo>
                    <a:pt x="1631" y="933"/>
                  </a:lnTo>
                  <a:lnTo>
                    <a:pt x="1654" y="925"/>
                  </a:lnTo>
                  <a:lnTo>
                    <a:pt x="1676" y="913"/>
                  </a:lnTo>
                  <a:lnTo>
                    <a:pt x="1695" y="898"/>
                  </a:lnTo>
                  <a:lnTo>
                    <a:pt x="1710" y="880"/>
                  </a:lnTo>
                  <a:lnTo>
                    <a:pt x="1722" y="859"/>
                  </a:lnTo>
                  <a:lnTo>
                    <a:pt x="1729" y="834"/>
                  </a:lnTo>
                  <a:lnTo>
                    <a:pt x="1732" y="809"/>
                  </a:lnTo>
                  <a:lnTo>
                    <a:pt x="1729" y="783"/>
                  </a:lnTo>
                  <a:lnTo>
                    <a:pt x="1722" y="760"/>
                  </a:lnTo>
                  <a:lnTo>
                    <a:pt x="1710" y="738"/>
                  </a:lnTo>
                  <a:lnTo>
                    <a:pt x="1695" y="720"/>
                  </a:lnTo>
                  <a:lnTo>
                    <a:pt x="1676" y="704"/>
                  </a:lnTo>
                  <a:lnTo>
                    <a:pt x="1654" y="692"/>
                  </a:lnTo>
                  <a:lnTo>
                    <a:pt x="1631" y="685"/>
                  </a:lnTo>
                  <a:lnTo>
                    <a:pt x="1605" y="682"/>
                  </a:lnTo>
                  <a:close/>
                  <a:moveTo>
                    <a:pt x="301" y="682"/>
                  </a:moveTo>
                  <a:lnTo>
                    <a:pt x="272" y="686"/>
                  </a:lnTo>
                  <a:lnTo>
                    <a:pt x="245" y="695"/>
                  </a:lnTo>
                  <a:lnTo>
                    <a:pt x="221" y="710"/>
                  </a:lnTo>
                  <a:lnTo>
                    <a:pt x="202" y="730"/>
                  </a:lnTo>
                  <a:lnTo>
                    <a:pt x="187" y="753"/>
                  </a:lnTo>
                  <a:lnTo>
                    <a:pt x="177" y="780"/>
                  </a:lnTo>
                  <a:lnTo>
                    <a:pt x="174" y="809"/>
                  </a:lnTo>
                  <a:lnTo>
                    <a:pt x="176" y="834"/>
                  </a:lnTo>
                  <a:lnTo>
                    <a:pt x="183" y="859"/>
                  </a:lnTo>
                  <a:lnTo>
                    <a:pt x="195" y="880"/>
                  </a:lnTo>
                  <a:lnTo>
                    <a:pt x="210" y="898"/>
                  </a:lnTo>
                  <a:lnTo>
                    <a:pt x="230" y="913"/>
                  </a:lnTo>
                  <a:lnTo>
                    <a:pt x="251" y="925"/>
                  </a:lnTo>
                  <a:lnTo>
                    <a:pt x="275" y="933"/>
                  </a:lnTo>
                  <a:lnTo>
                    <a:pt x="301" y="936"/>
                  </a:lnTo>
                  <a:lnTo>
                    <a:pt x="328" y="932"/>
                  </a:lnTo>
                  <a:lnTo>
                    <a:pt x="355" y="923"/>
                  </a:lnTo>
                  <a:lnTo>
                    <a:pt x="379" y="908"/>
                  </a:lnTo>
                  <a:lnTo>
                    <a:pt x="398" y="888"/>
                  </a:lnTo>
                  <a:lnTo>
                    <a:pt x="413" y="865"/>
                  </a:lnTo>
                  <a:lnTo>
                    <a:pt x="423" y="838"/>
                  </a:lnTo>
                  <a:lnTo>
                    <a:pt x="426" y="809"/>
                  </a:lnTo>
                  <a:lnTo>
                    <a:pt x="423" y="780"/>
                  </a:lnTo>
                  <a:lnTo>
                    <a:pt x="413" y="753"/>
                  </a:lnTo>
                  <a:lnTo>
                    <a:pt x="398" y="730"/>
                  </a:lnTo>
                  <a:lnTo>
                    <a:pt x="379" y="710"/>
                  </a:lnTo>
                  <a:lnTo>
                    <a:pt x="355" y="695"/>
                  </a:lnTo>
                  <a:lnTo>
                    <a:pt x="328" y="686"/>
                  </a:lnTo>
                  <a:lnTo>
                    <a:pt x="301" y="682"/>
                  </a:lnTo>
                  <a:close/>
                  <a:moveTo>
                    <a:pt x="518" y="123"/>
                  </a:moveTo>
                  <a:lnTo>
                    <a:pt x="504" y="125"/>
                  </a:lnTo>
                  <a:lnTo>
                    <a:pt x="492" y="131"/>
                  </a:lnTo>
                  <a:lnTo>
                    <a:pt x="481" y="142"/>
                  </a:lnTo>
                  <a:lnTo>
                    <a:pt x="474" y="155"/>
                  </a:lnTo>
                  <a:lnTo>
                    <a:pt x="323" y="517"/>
                  </a:lnTo>
                  <a:lnTo>
                    <a:pt x="1592" y="517"/>
                  </a:lnTo>
                  <a:lnTo>
                    <a:pt x="1442" y="155"/>
                  </a:lnTo>
                  <a:lnTo>
                    <a:pt x="1434" y="142"/>
                  </a:lnTo>
                  <a:lnTo>
                    <a:pt x="1423" y="131"/>
                  </a:lnTo>
                  <a:lnTo>
                    <a:pt x="1411" y="125"/>
                  </a:lnTo>
                  <a:lnTo>
                    <a:pt x="1396" y="123"/>
                  </a:lnTo>
                  <a:lnTo>
                    <a:pt x="518" y="123"/>
                  </a:lnTo>
                  <a:close/>
                  <a:moveTo>
                    <a:pt x="504" y="0"/>
                  </a:moveTo>
                  <a:lnTo>
                    <a:pt x="1411" y="0"/>
                  </a:lnTo>
                  <a:lnTo>
                    <a:pt x="1440" y="2"/>
                  </a:lnTo>
                  <a:lnTo>
                    <a:pt x="1467" y="10"/>
                  </a:lnTo>
                  <a:lnTo>
                    <a:pt x="1494" y="22"/>
                  </a:lnTo>
                  <a:lnTo>
                    <a:pt x="1517" y="38"/>
                  </a:lnTo>
                  <a:lnTo>
                    <a:pt x="1537" y="57"/>
                  </a:lnTo>
                  <a:lnTo>
                    <a:pt x="1554" y="80"/>
                  </a:lnTo>
                  <a:lnTo>
                    <a:pt x="1567" y="105"/>
                  </a:lnTo>
                  <a:lnTo>
                    <a:pt x="1744" y="525"/>
                  </a:lnTo>
                  <a:lnTo>
                    <a:pt x="1780" y="538"/>
                  </a:lnTo>
                  <a:lnTo>
                    <a:pt x="1813" y="558"/>
                  </a:lnTo>
                  <a:lnTo>
                    <a:pt x="1842" y="580"/>
                  </a:lnTo>
                  <a:lnTo>
                    <a:pt x="1868" y="608"/>
                  </a:lnTo>
                  <a:lnTo>
                    <a:pt x="1888" y="639"/>
                  </a:lnTo>
                  <a:lnTo>
                    <a:pt x="1903" y="675"/>
                  </a:lnTo>
                  <a:lnTo>
                    <a:pt x="1913" y="712"/>
                  </a:lnTo>
                  <a:lnTo>
                    <a:pt x="1916" y="751"/>
                  </a:lnTo>
                  <a:lnTo>
                    <a:pt x="1916" y="1247"/>
                  </a:lnTo>
                  <a:lnTo>
                    <a:pt x="1763" y="1247"/>
                  </a:lnTo>
                  <a:lnTo>
                    <a:pt x="1763" y="1399"/>
                  </a:lnTo>
                  <a:lnTo>
                    <a:pt x="1759" y="1429"/>
                  </a:lnTo>
                  <a:lnTo>
                    <a:pt x="1751" y="1458"/>
                  </a:lnTo>
                  <a:lnTo>
                    <a:pt x="1737" y="1484"/>
                  </a:lnTo>
                  <a:lnTo>
                    <a:pt x="1719" y="1507"/>
                  </a:lnTo>
                  <a:lnTo>
                    <a:pt x="1696" y="1525"/>
                  </a:lnTo>
                  <a:lnTo>
                    <a:pt x="1670" y="1539"/>
                  </a:lnTo>
                  <a:lnTo>
                    <a:pt x="1642" y="1547"/>
                  </a:lnTo>
                  <a:lnTo>
                    <a:pt x="1611" y="1551"/>
                  </a:lnTo>
                  <a:lnTo>
                    <a:pt x="1581" y="1547"/>
                  </a:lnTo>
                  <a:lnTo>
                    <a:pt x="1552" y="1539"/>
                  </a:lnTo>
                  <a:lnTo>
                    <a:pt x="1528" y="1525"/>
                  </a:lnTo>
                  <a:lnTo>
                    <a:pt x="1505" y="1507"/>
                  </a:lnTo>
                  <a:lnTo>
                    <a:pt x="1487" y="1484"/>
                  </a:lnTo>
                  <a:lnTo>
                    <a:pt x="1473" y="1458"/>
                  </a:lnTo>
                  <a:lnTo>
                    <a:pt x="1464" y="1429"/>
                  </a:lnTo>
                  <a:lnTo>
                    <a:pt x="1461" y="1399"/>
                  </a:lnTo>
                  <a:lnTo>
                    <a:pt x="1461" y="1247"/>
                  </a:lnTo>
                  <a:lnTo>
                    <a:pt x="454" y="1247"/>
                  </a:lnTo>
                  <a:lnTo>
                    <a:pt x="454" y="1399"/>
                  </a:lnTo>
                  <a:lnTo>
                    <a:pt x="451" y="1429"/>
                  </a:lnTo>
                  <a:lnTo>
                    <a:pt x="442" y="1458"/>
                  </a:lnTo>
                  <a:lnTo>
                    <a:pt x="428" y="1484"/>
                  </a:lnTo>
                  <a:lnTo>
                    <a:pt x="410" y="1507"/>
                  </a:lnTo>
                  <a:lnTo>
                    <a:pt x="387" y="1525"/>
                  </a:lnTo>
                  <a:lnTo>
                    <a:pt x="362" y="1539"/>
                  </a:lnTo>
                  <a:lnTo>
                    <a:pt x="334" y="1547"/>
                  </a:lnTo>
                  <a:lnTo>
                    <a:pt x="304" y="1551"/>
                  </a:lnTo>
                  <a:lnTo>
                    <a:pt x="273" y="1547"/>
                  </a:lnTo>
                  <a:lnTo>
                    <a:pt x="245" y="1539"/>
                  </a:lnTo>
                  <a:lnTo>
                    <a:pt x="219" y="1525"/>
                  </a:lnTo>
                  <a:lnTo>
                    <a:pt x="197" y="1507"/>
                  </a:lnTo>
                  <a:lnTo>
                    <a:pt x="179" y="1484"/>
                  </a:lnTo>
                  <a:lnTo>
                    <a:pt x="165" y="1458"/>
                  </a:lnTo>
                  <a:lnTo>
                    <a:pt x="157" y="1429"/>
                  </a:lnTo>
                  <a:lnTo>
                    <a:pt x="153" y="1399"/>
                  </a:lnTo>
                  <a:lnTo>
                    <a:pt x="153" y="1247"/>
                  </a:lnTo>
                  <a:lnTo>
                    <a:pt x="0" y="1247"/>
                  </a:lnTo>
                  <a:lnTo>
                    <a:pt x="0" y="751"/>
                  </a:lnTo>
                  <a:lnTo>
                    <a:pt x="3" y="712"/>
                  </a:lnTo>
                  <a:lnTo>
                    <a:pt x="13" y="675"/>
                  </a:lnTo>
                  <a:lnTo>
                    <a:pt x="28" y="639"/>
                  </a:lnTo>
                  <a:lnTo>
                    <a:pt x="48" y="608"/>
                  </a:lnTo>
                  <a:lnTo>
                    <a:pt x="74" y="580"/>
                  </a:lnTo>
                  <a:lnTo>
                    <a:pt x="103" y="558"/>
                  </a:lnTo>
                  <a:lnTo>
                    <a:pt x="135" y="538"/>
                  </a:lnTo>
                  <a:lnTo>
                    <a:pt x="171" y="525"/>
                  </a:lnTo>
                  <a:lnTo>
                    <a:pt x="348" y="105"/>
                  </a:lnTo>
                  <a:lnTo>
                    <a:pt x="361" y="80"/>
                  </a:lnTo>
                  <a:lnTo>
                    <a:pt x="377" y="57"/>
                  </a:lnTo>
                  <a:lnTo>
                    <a:pt x="397" y="38"/>
                  </a:lnTo>
                  <a:lnTo>
                    <a:pt x="421" y="22"/>
                  </a:lnTo>
                  <a:lnTo>
                    <a:pt x="447" y="10"/>
                  </a:lnTo>
                  <a:lnTo>
                    <a:pt x="474" y="2"/>
                  </a:lnTo>
                  <a:lnTo>
                    <a:pt x="504" y="0"/>
                  </a:lnTo>
                  <a:close/>
                </a:path>
              </a:pathLst>
            </a:custGeom>
            <a:grpFill/>
            <a:ln w="9525">
              <a:noFill/>
              <a:round/>
              <a:headEnd/>
              <a:tailEnd/>
            </a:ln>
          </p:spPr>
          <p:txBody>
            <a:bodyPr wrap="none" anchor="ctr"/>
            <a:lstStyle/>
            <a:p>
              <a:endParaRPr lang="en-GB" sz="2200">
                <a:solidFill>
                  <a:srgbClr val="000000"/>
                </a:solidFill>
              </a:endParaRPr>
            </a:p>
          </p:txBody>
        </p:sp>
        <p:sp>
          <p:nvSpPr>
            <p:cNvPr id="88" name="Freeform 87"/>
            <p:cNvSpPr>
              <a:spLocks noChangeArrowheads="1"/>
            </p:cNvSpPr>
            <p:nvPr/>
          </p:nvSpPr>
          <p:spPr bwMode="auto">
            <a:xfrm>
              <a:off x="3724" y="715"/>
              <a:ext cx="28" cy="28"/>
            </a:xfrm>
            <a:custGeom>
              <a:avLst/>
              <a:gdLst>
                <a:gd name="T0" fmla="*/ 0 w 263"/>
                <a:gd name="T1" fmla="*/ 0 h 261"/>
                <a:gd name="T2" fmla="*/ 0 w 263"/>
                <a:gd name="T3" fmla="*/ 0 h 261"/>
                <a:gd name="T4" fmla="*/ 0 w 263"/>
                <a:gd name="T5" fmla="*/ 0 h 261"/>
                <a:gd name="T6" fmla="*/ 0 w 263"/>
                <a:gd name="T7" fmla="*/ 0 h 261"/>
                <a:gd name="T8" fmla="*/ 0 w 263"/>
                <a:gd name="T9" fmla="*/ 0 h 261"/>
                <a:gd name="T10" fmla="*/ 0 w 263"/>
                <a:gd name="T11" fmla="*/ 0 h 261"/>
                <a:gd name="T12" fmla="*/ 0 w 263"/>
                <a:gd name="T13" fmla="*/ 0 h 261"/>
                <a:gd name="T14" fmla="*/ 0 w 263"/>
                <a:gd name="T15" fmla="*/ 0 h 261"/>
                <a:gd name="T16" fmla="*/ 0 w 263"/>
                <a:gd name="T17" fmla="*/ 0 h 261"/>
                <a:gd name="T18" fmla="*/ 0 w 263"/>
                <a:gd name="T19" fmla="*/ 0 h 261"/>
                <a:gd name="T20" fmla="*/ 0 w 263"/>
                <a:gd name="T21" fmla="*/ 0 h 261"/>
                <a:gd name="T22" fmla="*/ 0 w 263"/>
                <a:gd name="T23" fmla="*/ 0 h 261"/>
                <a:gd name="T24" fmla="*/ 0 w 263"/>
                <a:gd name="T25" fmla="*/ 0 h 261"/>
                <a:gd name="T26" fmla="*/ 0 w 263"/>
                <a:gd name="T27" fmla="*/ 0 h 261"/>
                <a:gd name="T28" fmla="*/ 0 w 263"/>
                <a:gd name="T29" fmla="*/ 0 h 261"/>
                <a:gd name="T30" fmla="*/ 0 w 263"/>
                <a:gd name="T31" fmla="*/ 0 h 261"/>
                <a:gd name="T32" fmla="*/ 0 w 263"/>
                <a:gd name="T33" fmla="*/ 0 h 261"/>
                <a:gd name="T34" fmla="*/ 0 w 263"/>
                <a:gd name="T35" fmla="*/ 0 h 261"/>
                <a:gd name="T36" fmla="*/ 0 w 263"/>
                <a:gd name="T37" fmla="*/ 0 h 261"/>
                <a:gd name="T38" fmla="*/ 0 w 263"/>
                <a:gd name="T39" fmla="*/ 0 h 261"/>
                <a:gd name="T40" fmla="*/ 0 w 263"/>
                <a:gd name="T41" fmla="*/ 0 h 261"/>
                <a:gd name="T42" fmla="*/ 0 w 263"/>
                <a:gd name="T43" fmla="*/ 0 h 261"/>
                <a:gd name="T44" fmla="*/ 0 w 263"/>
                <a:gd name="T45" fmla="*/ 0 h 261"/>
                <a:gd name="T46" fmla="*/ 0 w 263"/>
                <a:gd name="T47" fmla="*/ 0 h 261"/>
                <a:gd name="T48" fmla="*/ 0 w 263"/>
                <a:gd name="T49" fmla="*/ 0 h 261"/>
                <a:gd name="T50" fmla="*/ 0 w 263"/>
                <a:gd name="T51" fmla="*/ 0 h 261"/>
                <a:gd name="T52" fmla="*/ 0 w 263"/>
                <a:gd name="T53" fmla="*/ 0 h 261"/>
                <a:gd name="T54" fmla="*/ 0 w 263"/>
                <a:gd name="T55" fmla="*/ 0 h 261"/>
                <a:gd name="T56" fmla="*/ 0 w 263"/>
                <a:gd name="T57" fmla="*/ 0 h 261"/>
                <a:gd name="T58" fmla="*/ 0 w 263"/>
                <a:gd name="T59" fmla="*/ 0 h 261"/>
                <a:gd name="T60" fmla="*/ 0 w 263"/>
                <a:gd name="T61" fmla="*/ 0 h 261"/>
                <a:gd name="T62" fmla="*/ 0 w 263"/>
                <a:gd name="T63" fmla="*/ 0 h 261"/>
                <a:gd name="T64" fmla="*/ 0 w 263"/>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1"/>
                <a:gd name="T101" fmla="*/ 263 w 263"/>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1">
                  <a:moveTo>
                    <a:pt x="132" y="0"/>
                  </a:moveTo>
                  <a:lnTo>
                    <a:pt x="158" y="2"/>
                  </a:lnTo>
                  <a:lnTo>
                    <a:pt x="183" y="9"/>
                  </a:lnTo>
                  <a:lnTo>
                    <a:pt x="205" y="21"/>
                  </a:lnTo>
                  <a:lnTo>
                    <a:pt x="225" y="37"/>
                  </a:lnTo>
                  <a:lnTo>
                    <a:pt x="241" y="57"/>
                  </a:lnTo>
                  <a:lnTo>
                    <a:pt x="252" y="79"/>
                  </a:lnTo>
                  <a:lnTo>
                    <a:pt x="260" y="103"/>
                  </a:lnTo>
                  <a:lnTo>
                    <a:pt x="263" y="130"/>
                  </a:lnTo>
                  <a:lnTo>
                    <a:pt x="260" y="157"/>
                  </a:lnTo>
                  <a:lnTo>
                    <a:pt x="252" y="181"/>
                  </a:lnTo>
                  <a:lnTo>
                    <a:pt x="241" y="203"/>
                  </a:lnTo>
                  <a:lnTo>
                    <a:pt x="225" y="223"/>
                  </a:lnTo>
                  <a:lnTo>
                    <a:pt x="205" y="238"/>
                  </a:lnTo>
                  <a:lnTo>
                    <a:pt x="183" y="251"/>
                  </a:lnTo>
                  <a:lnTo>
                    <a:pt x="158" y="259"/>
                  </a:lnTo>
                  <a:lnTo>
                    <a:pt x="132" y="261"/>
                  </a:lnTo>
                  <a:lnTo>
                    <a:pt x="105" y="259"/>
                  </a:lnTo>
                  <a:lnTo>
                    <a:pt x="81" y="251"/>
                  </a:lnTo>
                  <a:lnTo>
                    <a:pt x="58" y="238"/>
                  </a:lnTo>
                  <a:lnTo>
                    <a:pt x="39" y="223"/>
                  </a:lnTo>
                  <a:lnTo>
                    <a:pt x="23" y="203"/>
                  </a:lnTo>
                  <a:lnTo>
                    <a:pt x="10" y="181"/>
                  </a:lnTo>
                  <a:lnTo>
                    <a:pt x="2" y="157"/>
                  </a:lnTo>
                  <a:lnTo>
                    <a:pt x="0" y="130"/>
                  </a:lnTo>
                  <a:lnTo>
                    <a:pt x="2" y="103"/>
                  </a:lnTo>
                  <a:lnTo>
                    <a:pt x="10" y="79"/>
                  </a:lnTo>
                  <a:lnTo>
                    <a:pt x="23" y="57"/>
                  </a:lnTo>
                  <a:lnTo>
                    <a:pt x="39" y="37"/>
                  </a:lnTo>
                  <a:lnTo>
                    <a:pt x="58" y="21"/>
                  </a:lnTo>
                  <a:lnTo>
                    <a:pt x="81" y="9"/>
                  </a:lnTo>
                  <a:lnTo>
                    <a:pt x="105" y="2"/>
                  </a:lnTo>
                  <a:lnTo>
                    <a:pt x="132" y="0"/>
                  </a:lnTo>
                  <a:close/>
                </a:path>
              </a:pathLst>
            </a:custGeom>
            <a:grpFill/>
            <a:ln w="9525">
              <a:noFill/>
              <a:round/>
              <a:headEnd/>
              <a:tailEnd/>
            </a:ln>
          </p:spPr>
          <p:txBody>
            <a:bodyPr wrap="none" anchor="ctr"/>
            <a:lstStyle/>
            <a:p>
              <a:endParaRPr lang="en-GB" sz="2200">
                <a:solidFill>
                  <a:srgbClr val="000000"/>
                </a:solidFill>
              </a:endParaRPr>
            </a:p>
          </p:txBody>
        </p:sp>
        <p:sp>
          <p:nvSpPr>
            <p:cNvPr id="89" name="Freeform 88"/>
            <p:cNvSpPr>
              <a:spLocks noChangeArrowheads="1"/>
            </p:cNvSpPr>
            <p:nvPr/>
          </p:nvSpPr>
          <p:spPr bwMode="auto">
            <a:xfrm>
              <a:off x="3398" y="1042"/>
              <a:ext cx="28" cy="28"/>
            </a:xfrm>
            <a:custGeom>
              <a:avLst/>
              <a:gdLst>
                <a:gd name="T0" fmla="*/ 0 w 262"/>
                <a:gd name="T1" fmla="*/ 0 h 261"/>
                <a:gd name="T2" fmla="*/ 0 w 262"/>
                <a:gd name="T3" fmla="*/ 0 h 261"/>
                <a:gd name="T4" fmla="*/ 0 w 262"/>
                <a:gd name="T5" fmla="*/ 0 h 261"/>
                <a:gd name="T6" fmla="*/ 0 w 262"/>
                <a:gd name="T7" fmla="*/ 0 h 261"/>
                <a:gd name="T8" fmla="*/ 0 w 262"/>
                <a:gd name="T9" fmla="*/ 0 h 261"/>
                <a:gd name="T10" fmla="*/ 0 w 262"/>
                <a:gd name="T11" fmla="*/ 0 h 261"/>
                <a:gd name="T12" fmla="*/ 0 w 262"/>
                <a:gd name="T13" fmla="*/ 0 h 261"/>
                <a:gd name="T14" fmla="*/ 0 w 262"/>
                <a:gd name="T15" fmla="*/ 0 h 261"/>
                <a:gd name="T16" fmla="*/ 0 w 262"/>
                <a:gd name="T17" fmla="*/ 0 h 261"/>
                <a:gd name="T18" fmla="*/ 0 w 262"/>
                <a:gd name="T19" fmla="*/ 0 h 261"/>
                <a:gd name="T20" fmla="*/ 0 w 262"/>
                <a:gd name="T21" fmla="*/ 0 h 261"/>
                <a:gd name="T22" fmla="*/ 0 w 262"/>
                <a:gd name="T23" fmla="*/ 0 h 261"/>
                <a:gd name="T24" fmla="*/ 0 w 262"/>
                <a:gd name="T25" fmla="*/ 0 h 261"/>
                <a:gd name="T26" fmla="*/ 0 w 262"/>
                <a:gd name="T27" fmla="*/ 0 h 261"/>
                <a:gd name="T28" fmla="*/ 0 w 262"/>
                <a:gd name="T29" fmla="*/ 0 h 261"/>
                <a:gd name="T30" fmla="*/ 0 w 262"/>
                <a:gd name="T31" fmla="*/ 0 h 261"/>
                <a:gd name="T32" fmla="*/ 0 w 262"/>
                <a:gd name="T33" fmla="*/ 0 h 261"/>
                <a:gd name="T34" fmla="*/ 0 w 262"/>
                <a:gd name="T35" fmla="*/ 0 h 261"/>
                <a:gd name="T36" fmla="*/ 0 w 262"/>
                <a:gd name="T37" fmla="*/ 0 h 261"/>
                <a:gd name="T38" fmla="*/ 0 w 262"/>
                <a:gd name="T39" fmla="*/ 0 h 261"/>
                <a:gd name="T40" fmla="*/ 0 w 262"/>
                <a:gd name="T41" fmla="*/ 0 h 261"/>
                <a:gd name="T42" fmla="*/ 0 w 262"/>
                <a:gd name="T43" fmla="*/ 0 h 261"/>
                <a:gd name="T44" fmla="*/ 0 w 262"/>
                <a:gd name="T45" fmla="*/ 0 h 261"/>
                <a:gd name="T46" fmla="*/ 0 w 262"/>
                <a:gd name="T47" fmla="*/ 0 h 261"/>
                <a:gd name="T48" fmla="*/ 0 w 262"/>
                <a:gd name="T49" fmla="*/ 0 h 261"/>
                <a:gd name="T50" fmla="*/ 0 w 262"/>
                <a:gd name="T51" fmla="*/ 0 h 261"/>
                <a:gd name="T52" fmla="*/ 0 w 262"/>
                <a:gd name="T53" fmla="*/ 0 h 261"/>
                <a:gd name="T54" fmla="*/ 0 w 262"/>
                <a:gd name="T55" fmla="*/ 0 h 261"/>
                <a:gd name="T56" fmla="*/ 0 w 262"/>
                <a:gd name="T57" fmla="*/ 0 h 261"/>
                <a:gd name="T58" fmla="*/ 0 w 262"/>
                <a:gd name="T59" fmla="*/ 0 h 261"/>
                <a:gd name="T60" fmla="*/ 0 w 262"/>
                <a:gd name="T61" fmla="*/ 0 h 261"/>
                <a:gd name="T62" fmla="*/ 0 w 262"/>
                <a:gd name="T63" fmla="*/ 0 h 261"/>
                <a:gd name="T64" fmla="*/ 0 w 262"/>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1"/>
                <a:gd name="T101" fmla="*/ 262 w 262"/>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1">
                  <a:moveTo>
                    <a:pt x="130" y="0"/>
                  </a:moveTo>
                  <a:lnTo>
                    <a:pt x="157" y="2"/>
                  </a:lnTo>
                  <a:lnTo>
                    <a:pt x="181" y="9"/>
                  </a:lnTo>
                  <a:lnTo>
                    <a:pt x="204" y="21"/>
                  </a:lnTo>
                  <a:lnTo>
                    <a:pt x="223" y="37"/>
                  </a:lnTo>
                  <a:lnTo>
                    <a:pt x="239" y="57"/>
                  </a:lnTo>
                  <a:lnTo>
                    <a:pt x="251" y="79"/>
                  </a:lnTo>
                  <a:lnTo>
                    <a:pt x="259" y="104"/>
                  </a:lnTo>
                  <a:lnTo>
                    <a:pt x="262" y="131"/>
                  </a:lnTo>
                  <a:lnTo>
                    <a:pt x="259" y="157"/>
                  </a:lnTo>
                  <a:lnTo>
                    <a:pt x="251" y="181"/>
                  </a:lnTo>
                  <a:lnTo>
                    <a:pt x="239" y="204"/>
                  </a:lnTo>
                  <a:lnTo>
                    <a:pt x="223" y="223"/>
                  </a:lnTo>
                  <a:lnTo>
                    <a:pt x="204" y="239"/>
                  </a:lnTo>
                  <a:lnTo>
                    <a:pt x="181" y="251"/>
                  </a:lnTo>
                  <a:lnTo>
                    <a:pt x="157" y="259"/>
                  </a:lnTo>
                  <a:lnTo>
                    <a:pt x="130" y="261"/>
                  </a:lnTo>
                  <a:lnTo>
                    <a:pt x="104" y="259"/>
                  </a:lnTo>
                  <a:lnTo>
                    <a:pt x="79" y="251"/>
                  </a:lnTo>
                  <a:lnTo>
                    <a:pt x="57" y="239"/>
                  </a:lnTo>
                  <a:lnTo>
                    <a:pt x="38" y="223"/>
                  </a:lnTo>
                  <a:lnTo>
                    <a:pt x="23" y="204"/>
                  </a:lnTo>
                  <a:lnTo>
                    <a:pt x="10" y="181"/>
                  </a:lnTo>
                  <a:lnTo>
                    <a:pt x="2" y="157"/>
                  </a:lnTo>
                  <a:lnTo>
                    <a:pt x="0" y="131"/>
                  </a:lnTo>
                  <a:lnTo>
                    <a:pt x="2" y="104"/>
                  </a:lnTo>
                  <a:lnTo>
                    <a:pt x="10" y="79"/>
                  </a:lnTo>
                  <a:lnTo>
                    <a:pt x="23" y="57"/>
                  </a:lnTo>
                  <a:lnTo>
                    <a:pt x="38" y="37"/>
                  </a:lnTo>
                  <a:lnTo>
                    <a:pt x="57" y="21"/>
                  </a:lnTo>
                  <a:lnTo>
                    <a:pt x="79" y="9"/>
                  </a:lnTo>
                  <a:lnTo>
                    <a:pt x="104" y="2"/>
                  </a:lnTo>
                  <a:lnTo>
                    <a:pt x="130" y="0"/>
                  </a:lnTo>
                  <a:close/>
                </a:path>
              </a:pathLst>
            </a:custGeom>
            <a:grpFill/>
            <a:ln w="9525">
              <a:noFill/>
              <a:round/>
              <a:headEnd/>
              <a:tailEnd/>
            </a:ln>
          </p:spPr>
          <p:txBody>
            <a:bodyPr wrap="none" anchor="ctr"/>
            <a:lstStyle/>
            <a:p>
              <a:endParaRPr lang="en-GB" sz="2200">
                <a:solidFill>
                  <a:srgbClr val="000000"/>
                </a:solidFill>
              </a:endParaRPr>
            </a:p>
          </p:txBody>
        </p:sp>
        <p:sp>
          <p:nvSpPr>
            <p:cNvPr id="90" name="Freeform 89"/>
            <p:cNvSpPr>
              <a:spLocks noChangeArrowheads="1"/>
            </p:cNvSpPr>
            <p:nvPr/>
          </p:nvSpPr>
          <p:spPr bwMode="auto">
            <a:xfrm>
              <a:off x="3452" y="1043"/>
              <a:ext cx="28" cy="28"/>
            </a:xfrm>
            <a:custGeom>
              <a:avLst/>
              <a:gdLst>
                <a:gd name="T0" fmla="*/ 0 w 260"/>
                <a:gd name="T1" fmla="*/ 0 h 261"/>
                <a:gd name="T2" fmla="*/ 0 w 260"/>
                <a:gd name="T3" fmla="*/ 0 h 261"/>
                <a:gd name="T4" fmla="*/ 0 w 260"/>
                <a:gd name="T5" fmla="*/ 0 h 261"/>
                <a:gd name="T6" fmla="*/ 0 w 260"/>
                <a:gd name="T7" fmla="*/ 0 h 261"/>
                <a:gd name="T8" fmla="*/ 0 w 260"/>
                <a:gd name="T9" fmla="*/ 0 h 261"/>
                <a:gd name="T10" fmla="*/ 0 w 260"/>
                <a:gd name="T11" fmla="*/ 0 h 261"/>
                <a:gd name="T12" fmla="*/ 0 w 260"/>
                <a:gd name="T13" fmla="*/ 0 h 261"/>
                <a:gd name="T14" fmla="*/ 0 w 260"/>
                <a:gd name="T15" fmla="*/ 0 h 261"/>
                <a:gd name="T16" fmla="*/ 0 w 260"/>
                <a:gd name="T17" fmla="*/ 0 h 261"/>
                <a:gd name="T18" fmla="*/ 0 w 260"/>
                <a:gd name="T19" fmla="*/ 0 h 261"/>
                <a:gd name="T20" fmla="*/ 0 w 260"/>
                <a:gd name="T21" fmla="*/ 0 h 261"/>
                <a:gd name="T22" fmla="*/ 0 w 260"/>
                <a:gd name="T23" fmla="*/ 0 h 261"/>
                <a:gd name="T24" fmla="*/ 0 w 260"/>
                <a:gd name="T25" fmla="*/ 0 h 261"/>
                <a:gd name="T26" fmla="*/ 0 w 260"/>
                <a:gd name="T27" fmla="*/ 0 h 261"/>
                <a:gd name="T28" fmla="*/ 0 w 260"/>
                <a:gd name="T29" fmla="*/ 0 h 261"/>
                <a:gd name="T30" fmla="*/ 0 w 260"/>
                <a:gd name="T31" fmla="*/ 0 h 261"/>
                <a:gd name="T32" fmla="*/ 0 w 260"/>
                <a:gd name="T33" fmla="*/ 0 h 261"/>
                <a:gd name="T34" fmla="*/ 0 w 260"/>
                <a:gd name="T35" fmla="*/ 0 h 261"/>
                <a:gd name="T36" fmla="*/ 0 w 260"/>
                <a:gd name="T37" fmla="*/ 0 h 261"/>
                <a:gd name="T38" fmla="*/ 0 w 260"/>
                <a:gd name="T39" fmla="*/ 0 h 261"/>
                <a:gd name="T40" fmla="*/ 0 w 260"/>
                <a:gd name="T41" fmla="*/ 0 h 261"/>
                <a:gd name="T42" fmla="*/ 0 w 260"/>
                <a:gd name="T43" fmla="*/ 0 h 261"/>
                <a:gd name="T44" fmla="*/ 0 w 260"/>
                <a:gd name="T45" fmla="*/ 0 h 261"/>
                <a:gd name="T46" fmla="*/ 0 w 260"/>
                <a:gd name="T47" fmla="*/ 0 h 261"/>
                <a:gd name="T48" fmla="*/ 0 w 260"/>
                <a:gd name="T49" fmla="*/ 0 h 261"/>
                <a:gd name="T50" fmla="*/ 0 w 260"/>
                <a:gd name="T51" fmla="*/ 0 h 261"/>
                <a:gd name="T52" fmla="*/ 0 w 260"/>
                <a:gd name="T53" fmla="*/ 0 h 261"/>
                <a:gd name="T54" fmla="*/ 0 w 260"/>
                <a:gd name="T55" fmla="*/ 0 h 261"/>
                <a:gd name="T56" fmla="*/ 0 w 260"/>
                <a:gd name="T57" fmla="*/ 0 h 261"/>
                <a:gd name="T58" fmla="*/ 0 w 260"/>
                <a:gd name="T59" fmla="*/ 0 h 261"/>
                <a:gd name="T60" fmla="*/ 0 w 260"/>
                <a:gd name="T61" fmla="*/ 0 h 261"/>
                <a:gd name="T62" fmla="*/ 0 w 260"/>
                <a:gd name="T63" fmla="*/ 0 h 261"/>
                <a:gd name="T64" fmla="*/ 0 w 260"/>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0"/>
                <a:gd name="T100" fmla="*/ 0 h 261"/>
                <a:gd name="T101" fmla="*/ 260 w 260"/>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0" h="261">
                  <a:moveTo>
                    <a:pt x="131" y="0"/>
                  </a:moveTo>
                  <a:lnTo>
                    <a:pt x="156" y="2"/>
                  </a:lnTo>
                  <a:lnTo>
                    <a:pt x="181" y="9"/>
                  </a:lnTo>
                  <a:lnTo>
                    <a:pt x="204" y="21"/>
                  </a:lnTo>
                  <a:lnTo>
                    <a:pt x="223" y="37"/>
                  </a:lnTo>
                  <a:lnTo>
                    <a:pt x="238" y="57"/>
                  </a:lnTo>
                  <a:lnTo>
                    <a:pt x="251" y="79"/>
                  </a:lnTo>
                  <a:lnTo>
                    <a:pt x="258" y="104"/>
                  </a:lnTo>
                  <a:lnTo>
                    <a:pt x="260" y="130"/>
                  </a:lnTo>
                  <a:lnTo>
                    <a:pt x="258" y="156"/>
                  </a:lnTo>
                  <a:lnTo>
                    <a:pt x="251" y="181"/>
                  </a:lnTo>
                  <a:lnTo>
                    <a:pt x="238" y="204"/>
                  </a:lnTo>
                  <a:lnTo>
                    <a:pt x="223" y="223"/>
                  </a:lnTo>
                  <a:lnTo>
                    <a:pt x="204" y="239"/>
                  </a:lnTo>
                  <a:lnTo>
                    <a:pt x="181" y="251"/>
                  </a:lnTo>
                  <a:lnTo>
                    <a:pt x="156" y="259"/>
                  </a:lnTo>
                  <a:lnTo>
                    <a:pt x="131" y="261"/>
                  </a:lnTo>
                  <a:lnTo>
                    <a:pt x="104" y="259"/>
                  </a:lnTo>
                  <a:lnTo>
                    <a:pt x="79" y="251"/>
                  </a:lnTo>
                  <a:lnTo>
                    <a:pt x="58" y="239"/>
                  </a:lnTo>
                  <a:lnTo>
                    <a:pt x="38" y="223"/>
                  </a:lnTo>
                  <a:lnTo>
                    <a:pt x="22" y="204"/>
                  </a:lnTo>
                  <a:lnTo>
                    <a:pt x="10" y="181"/>
                  </a:lnTo>
                  <a:lnTo>
                    <a:pt x="3" y="156"/>
                  </a:lnTo>
                  <a:lnTo>
                    <a:pt x="0" y="130"/>
                  </a:lnTo>
                  <a:lnTo>
                    <a:pt x="3" y="104"/>
                  </a:lnTo>
                  <a:lnTo>
                    <a:pt x="10" y="79"/>
                  </a:lnTo>
                  <a:lnTo>
                    <a:pt x="22" y="57"/>
                  </a:lnTo>
                  <a:lnTo>
                    <a:pt x="38" y="37"/>
                  </a:lnTo>
                  <a:lnTo>
                    <a:pt x="58" y="21"/>
                  </a:lnTo>
                  <a:lnTo>
                    <a:pt x="79" y="9"/>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1" name="Freeform 90"/>
            <p:cNvSpPr>
              <a:spLocks noChangeArrowheads="1"/>
            </p:cNvSpPr>
            <p:nvPr/>
          </p:nvSpPr>
          <p:spPr bwMode="auto">
            <a:xfrm>
              <a:off x="3507" y="104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2"/>
                  </a:lnTo>
                  <a:lnTo>
                    <a:pt x="183" y="9"/>
                  </a:lnTo>
                  <a:lnTo>
                    <a:pt x="205" y="22"/>
                  </a:lnTo>
                  <a:lnTo>
                    <a:pt x="224" y="37"/>
                  </a:lnTo>
                  <a:lnTo>
                    <a:pt x="240" y="57"/>
                  </a:lnTo>
                  <a:lnTo>
                    <a:pt x="252" y="79"/>
                  </a:lnTo>
                  <a:lnTo>
                    <a:pt x="260" y="104"/>
                  </a:lnTo>
                  <a:lnTo>
                    <a:pt x="263" y="130"/>
                  </a:lnTo>
                  <a:lnTo>
                    <a:pt x="260" y="157"/>
                  </a:lnTo>
                  <a:lnTo>
                    <a:pt x="252" y="181"/>
                  </a:lnTo>
                  <a:lnTo>
                    <a:pt x="240" y="204"/>
                  </a:lnTo>
                  <a:lnTo>
                    <a:pt x="224" y="223"/>
                  </a:lnTo>
                  <a:lnTo>
                    <a:pt x="205" y="239"/>
                  </a:lnTo>
                  <a:lnTo>
                    <a:pt x="183" y="251"/>
                  </a:lnTo>
                  <a:lnTo>
                    <a:pt x="158" y="259"/>
                  </a:lnTo>
                  <a:lnTo>
                    <a:pt x="131" y="262"/>
                  </a:lnTo>
                  <a:lnTo>
                    <a:pt x="105" y="259"/>
                  </a:lnTo>
                  <a:lnTo>
                    <a:pt x="81" y="251"/>
                  </a:lnTo>
                  <a:lnTo>
                    <a:pt x="58" y="239"/>
                  </a:lnTo>
                  <a:lnTo>
                    <a:pt x="39" y="223"/>
                  </a:lnTo>
                  <a:lnTo>
                    <a:pt x="23" y="204"/>
                  </a:lnTo>
                  <a:lnTo>
                    <a:pt x="11" y="181"/>
                  </a:lnTo>
                  <a:lnTo>
                    <a:pt x="2" y="157"/>
                  </a:lnTo>
                  <a:lnTo>
                    <a:pt x="0" y="130"/>
                  </a:lnTo>
                  <a:lnTo>
                    <a:pt x="2" y="104"/>
                  </a:lnTo>
                  <a:lnTo>
                    <a:pt x="11" y="79"/>
                  </a:lnTo>
                  <a:lnTo>
                    <a:pt x="23" y="57"/>
                  </a:lnTo>
                  <a:lnTo>
                    <a:pt x="39" y="37"/>
                  </a:lnTo>
                  <a:lnTo>
                    <a:pt x="58" y="22"/>
                  </a:lnTo>
                  <a:lnTo>
                    <a:pt x="81" y="9"/>
                  </a:lnTo>
                  <a:lnTo>
                    <a:pt x="105"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2" name="Freeform 91"/>
            <p:cNvSpPr>
              <a:spLocks noChangeArrowheads="1"/>
            </p:cNvSpPr>
            <p:nvPr/>
          </p:nvSpPr>
          <p:spPr bwMode="auto">
            <a:xfrm>
              <a:off x="3615" y="1043"/>
              <a:ext cx="29"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2"/>
                  </a:lnTo>
                  <a:lnTo>
                    <a:pt x="183" y="9"/>
                  </a:lnTo>
                  <a:lnTo>
                    <a:pt x="205" y="22"/>
                  </a:lnTo>
                  <a:lnTo>
                    <a:pt x="224" y="37"/>
                  </a:lnTo>
                  <a:lnTo>
                    <a:pt x="241" y="57"/>
                  </a:lnTo>
                  <a:lnTo>
                    <a:pt x="252" y="79"/>
                  </a:lnTo>
                  <a:lnTo>
                    <a:pt x="260" y="104"/>
                  </a:lnTo>
                  <a:lnTo>
                    <a:pt x="263" y="130"/>
                  </a:lnTo>
                  <a:lnTo>
                    <a:pt x="260" y="157"/>
                  </a:lnTo>
                  <a:lnTo>
                    <a:pt x="252" y="181"/>
                  </a:lnTo>
                  <a:lnTo>
                    <a:pt x="241" y="204"/>
                  </a:lnTo>
                  <a:lnTo>
                    <a:pt x="224" y="223"/>
                  </a:lnTo>
                  <a:lnTo>
                    <a:pt x="205" y="239"/>
                  </a:lnTo>
                  <a:lnTo>
                    <a:pt x="183" y="251"/>
                  </a:lnTo>
                  <a:lnTo>
                    <a:pt x="158" y="259"/>
                  </a:lnTo>
                  <a:lnTo>
                    <a:pt x="131" y="262"/>
                  </a:lnTo>
                  <a:lnTo>
                    <a:pt x="105" y="259"/>
                  </a:lnTo>
                  <a:lnTo>
                    <a:pt x="81" y="251"/>
                  </a:lnTo>
                  <a:lnTo>
                    <a:pt x="58" y="239"/>
                  </a:lnTo>
                  <a:lnTo>
                    <a:pt x="39" y="223"/>
                  </a:lnTo>
                  <a:lnTo>
                    <a:pt x="23" y="204"/>
                  </a:lnTo>
                  <a:lnTo>
                    <a:pt x="11" y="181"/>
                  </a:lnTo>
                  <a:lnTo>
                    <a:pt x="3" y="157"/>
                  </a:lnTo>
                  <a:lnTo>
                    <a:pt x="0" y="130"/>
                  </a:lnTo>
                  <a:lnTo>
                    <a:pt x="3" y="104"/>
                  </a:lnTo>
                  <a:lnTo>
                    <a:pt x="11" y="79"/>
                  </a:lnTo>
                  <a:lnTo>
                    <a:pt x="23" y="57"/>
                  </a:lnTo>
                  <a:lnTo>
                    <a:pt x="39" y="37"/>
                  </a:lnTo>
                  <a:lnTo>
                    <a:pt x="58" y="22"/>
                  </a:lnTo>
                  <a:lnTo>
                    <a:pt x="81" y="9"/>
                  </a:lnTo>
                  <a:lnTo>
                    <a:pt x="105"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3" name="Freeform 92"/>
            <p:cNvSpPr>
              <a:spLocks noChangeArrowheads="1"/>
            </p:cNvSpPr>
            <p:nvPr/>
          </p:nvSpPr>
          <p:spPr bwMode="auto">
            <a:xfrm>
              <a:off x="3670" y="104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6" y="2"/>
                  </a:lnTo>
                  <a:lnTo>
                    <a:pt x="181" y="9"/>
                  </a:lnTo>
                  <a:lnTo>
                    <a:pt x="204" y="22"/>
                  </a:lnTo>
                  <a:lnTo>
                    <a:pt x="223" y="37"/>
                  </a:lnTo>
                  <a:lnTo>
                    <a:pt x="240" y="57"/>
                  </a:lnTo>
                  <a:lnTo>
                    <a:pt x="252" y="79"/>
                  </a:lnTo>
                  <a:lnTo>
                    <a:pt x="259" y="104"/>
                  </a:lnTo>
                  <a:lnTo>
                    <a:pt x="263" y="130"/>
                  </a:lnTo>
                  <a:lnTo>
                    <a:pt x="259" y="157"/>
                  </a:lnTo>
                  <a:lnTo>
                    <a:pt x="252" y="181"/>
                  </a:lnTo>
                  <a:lnTo>
                    <a:pt x="240" y="204"/>
                  </a:lnTo>
                  <a:lnTo>
                    <a:pt x="223" y="223"/>
                  </a:lnTo>
                  <a:lnTo>
                    <a:pt x="204" y="239"/>
                  </a:lnTo>
                  <a:lnTo>
                    <a:pt x="181" y="251"/>
                  </a:lnTo>
                  <a:lnTo>
                    <a:pt x="156" y="259"/>
                  </a:lnTo>
                  <a:lnTo>
                    <a:pt x="131" y="262"/>
                  </a:lnTo>
                  <a:lnTo>
                    <a:pt x="104" y="259"/>
                  </a:lnTo>
                  <a:lnTo>
                    <a:pt x="79" y="251"/>
                  </a:lnTo>
                  <a:lnTo>
                    <a:pt x="57" y="239"/>
                  </a:lnTo>
                  <a:lnTo>
                    <a:pt x="37" y="223"/>
                  </a:lnTo>
                  <a:lnTo>
                    <a:pt x="22" y="204"/>
                  </a:lnTo>
                  <a:lnTo>
                    <a:pt x="10" y="181"/>
                  </a:lnTo>
                  <a:lnTo>
                    <a:pt x="3" y="157"/>
                  </a:lnTo>
                  <a:lnTo>
                    <a:pt x="0" y="130"/>
                  </a:lnTo>
                  <a:lnTo>
                    <a:pt x="3" y="104"/>
                  </a:lnTo>
                  <a:lnTo>
                    <a:pt x="10" y="79"/>
                  </a:lnTo>
                  <a:lnTo>
                    <a:pt x="22" y="57"/>
                  </a:lnTo>
                  <a:lnTo>
                    <a:pt x="37" y="37"/>
                  </a:lnTo>
                  <a:lnTo>
                    <a:pt x="57" y="22"/>
                  </a:lnTo>
                  <a:lnTo>
                    <a:pt x="79" y="9"/>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4" name="Freeform 93"/>
            <p:cNvSpPr>
              <a:spLocks noChangeArrowheads="1"/>
            </p:cNvSpPr>
            <p:nvPr/>
          </p:nvSpPr>
          <p:spPr bwMode="auto">
            <a:xfrm>
              <a:off x="3724" y="104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3" y="10"/>
                  </a:lnTo>
                  <a:lnTo>
                    <a:pt x="205" y="22"/>
                  </a:lnTo>
                  <a:lnTo>
                    <a:pt x="225" y="38"/>
                  </a:lnTo>
                  <a:lnTo>
                    <a:pt x="241" y="58"/>
                  </a:lnTo>
                  <a:lnTo>
                    <a:pt x="252" y="80"/>
                  </a:lnTo>
                  <a:lnTo>
                    <a:pt x="261" y="104"/>
                  </a:lnTo>
                  <a:lnTo>
                    <a:pt x="263" y="131"/>
                  </a:lnTo>
                  <a:lnTo>
                    <a:pt x="261" y="158"/>
                  </a:lnTo>
                  <a:lnTo>
                    <a:pt x="252" y="182"/>
                  </a:lnTo>
                  <a:lnTo>
                    <a:pt x="241" y="205"/>
                  </a:lnTo>
                  <a:lnTo>
                    <a:pt x="225" y="224"/>
                  </a:lnTo>
                  <a:lnTo>
                    <a:pt x="205" y="240"/>
                  </a:lnTo>
                  <a:lnTo>
                    <a:pt x="183" y="252"/>
                  </a:lnTo>
                  <a:lnTo>
                    <a:pt x="158" y="260"/>
                  </a:lnTo>
                  <a:lnTo>
                    <a:pt x="131" y="262"/>
                  </a:lnTo>
                  <a:lnTo>
                    <a:pt x="104" y="260"/>
                  </a:lnTo>
                  <a:lnTo>
                    <a:pt x="80" y="252"/>
                  </a:lnTo>
                  <a:lnTo>
                    <a:pt x="58" y="240"/>
                  </a:lnTo>
                  <a:lnTo>
                    <a:pt x="39" y="224"/>
                  </a:lnTo>
                  <a:lnTo>
                    <a:pt x="23" y="205"/>
                  </a:lnTo>
                  <a:lnTo>
                    <a:pt x="10" y="182"/>
                  </a:lnTo>
                  <a:lnTo>
                    <a:pt x="2" y="158"/>
                  </a:lnTo>
                  <a:lnTo>
                    <a:pt x="0" y="131"/>
                  </a:lnTo>
                  <a:lnTo>
                    <a:pt x="2" y="104"/>
                  </a:lnTo>
                  <a:lnTo>
                    <a:pt x="10" y="80"/>
                  </a:lnTo>
                  <a:lnTo>
                    <a:pt x="23" y="58"/>
                  </a:lnTo>
                  <a:lnTo>
                    <a:pt x="39" y="38"/>
                  </a:lnTo>
                  <a:lnTo>
                    <a:pt x="58" y="22"/>
                  </a:lnTo>
                  <a:lnTo>
                    <a:pt x="80"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5" name="Freeform 94"/>
            <p:cNvSpPr>
              <a:spLocks noChangeArrowheads="1"/>
            </p:cNvSpPr>
            <p:nvPr/>
          </p:nvSpPr>
          <p:spPr bwMode="auto">
            <a:xfrm>
              <a:off x="3398" y="987"/>
              <a:ext cx="28" cy="28"/>
            </a:xfrm>
            <a:custGeom>
              <a:avLst/>
              <a:gdLst>
                <a:gd name="T0" fmla="*/ 0 w 262"/>
                <a:gd name="T1" fmla="*/ 0 h 262"/>
                <a:gd name="T2" fmla="*/ 0 w 262"/>
                <a:gd name="T3" fmla="*/ 0 h 262"/>
                <a:gd name="T4" fmla="*/ 0 w 262"/>
                <a:gd name="T5" fmla="*/ 0 h 262"/>
                <a:gd name="T6" fmla="*/ 0 w 262"/>
                <a:gd name="T7" fmla="*/ 0 h 262"/>
                <a:gd name="T8" fmla="*/ 0 w 262"/>
                <a:gd name="T9" fmla="*/ 0 h 262"/>
                <a:gd name="T10" fmla="*/ 0 w 262"/>
                <a:gd name="T11" fmla="*/ 0 h 262"/>
                <a:gd name="T12" fmla="*/ 0 w 262"/>
                <a:gd name="T13" fmla="*/ 0 h 262"/>
                <a:gd name="T14" fmla="*/ 0 w 262"/>
                <a:gd name="T15" fmla="*/ 0 h 262"/>
                <a:gd name="T16" fmla="*/ 0 w 262"/>
                <a:gd name="T17" fmla="*/ 0 h 262"/>
                <a:gd name="T18" fmla="*/ 0 w 262"/>
                <a:gd name="T19" fmla="*/ 0 h 262"/>
                <a:gd name="T20" fmla="*/ 0 w 262"/>
                <a:gd name="T21" fmla="*/ 0 h 262"/>
                <a:gd name="T22" fmla="*/ 0 w 262"/>
                <a:gd name="T23" fmla="*/ 0 h 262"/>
                <a:gd name="T24" fmla="*/ 0 w 262"/>
                <a:gd name="T25" fmla="*/ 0 h 262"/>
                <a:gd name="T26" fmla="*/ 0 w 262"/>
                <a:gd name="T27" fmla="*/ 0 h 262"/>
                <a:gd name="T28" fmla="*/ 0 w 262"/>
                <a:gd name="T29" fmla="*/ 0 h 262"/>
                <a:gd name="T30" fmla="*/ 0 w 262"/>
                <a:gd name="T31" fmla="*/ 0 h 262"/>
                <a:gd name="T32" fmla="*/ 0 w 262"/>
                <a:gd name="T33" fmla="*/ 0 h 262"/>
                <a:gd name="T34" fmla="*/ 0 w 262"/>
                <a:gd name="T35" fmla="*/ 0 h 262"/>
                <a:gd name="T36" fmla="*/ 0 w 262"/>
                <a:gd name="T37" fmla="*/ 0 h 262"/>
                <a:gd name="T38" fmla="*/ 0 w 262"/>
                <a:gd name="T39" fmla="*/ 0 h 262"/>
                <a:gd name="T40" fmla="*/ 0 w 262"/>
                <a:gd name="T41" fmla="*/ 0 h 262"/>
                <a:gd name="T42" fmla="*/ 0 w 262"/>
                <a:gd name="T43" fmla="*/ 0 h 262"/>
                <a:gd name="T44" fmla="*/ 0 w 262"/>
                <a:gd name="T45" fmla="*/ 0 h 262"/>
                <a:gd name="T46" fmla="*/ 0 w 262"/>
                <a:gd name="T47" fmla="*/ 0 h 262"/>
                <a:gd name="T48" fmla="*/ 0 w 262"/>
                <a:gd name="T49" fmla="*/ 0 h 262"/>
                <a:gd name="T50" fmla="*/ 0 w 262"/>
                <a:gd name="T51" fmla="*/ 0 h 262"/>
                <a:gd name="T52" fmla="*/ 0 w 262"/>
                <a:gd name="T53" fmla="*/ 0 h 262"/>
                <a:gd name="T54" fmla="*/ 0 w 262"/>
                <a:gd name="T55" fmla="*/ 0 h 262"/>
                <a:gd name="T56" fmla="*/ 0 w 262"/>
                <a:gd name="T57" fmla="*/ 0 h 262"/>
                <a:gd name="T58" fmla="*/ 0 w 262"/>
                <a:gd name="T59" fmla="*/ 0 h 262"/>
                <a:gd name="T60" fmla="*/ 0 w 262"/>
                <a:gd name="T61" fmla="*/ 0 h 262"/>
                <a:gd name="T62" fmla="*/ 0 w 262"/>
                <a:gd name="T63" fmla="*/ 0 h 262"/>
                <a:gd name="T64" fmla="*/ 0 w 262"/>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2"/>
                <a:gd name="T101" fmla="*/ 262 w 262"/>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2">
                  <a:moveTo>
                    <a:pt x="130" y="0"/>
                  </a:moveTo>
                  <a:lnTo>
                    <a:pt x="157" y="2"/>
                  </a:lnTo>
                  <a:lnTo>
                    <a:pt x="181" y="9"/>
                  </a:lnTo>
                  <a:lnTo>
                    <a:pt x="204" y="22"/>
                  </a:lnTo>
                  <a:lnTo>
                    <a:pt x="223" y="37"/>
                  </a:lnTo>
                  <a:lnTo>
                    <a:pt x="239" y="57"/>
                  </a:lnTo>
                  <a:lnTo>
                    <a:pt x="251" y="79"/>
                  </a:lnTo>
                  <a:lnTo>
                    <a:pt x="259" y="104"/>
                  </a:lnTo>
                  <a:lnTo>
                    <a:pt x="262" y="130"/>
                  </a:lnTo>
                  <a:lnTo>
                    <a:pt x="259" y="157"/>
                  </a:lnTo>
                  <a:lnTo>
                    <a:pt x="251" y="181"/>
                  </a:lnTo>
                  <a:lnTo>
                    <a:pt x="239" y="204"/>
                  </a:lnTo>
                  <a:lnTo>
                    <a:pt x="223" y="223"/>
                  </a:lnTo>
                  <a:lnTo>
                    <a:pt x="204" y="239"/>
                  </a:lnTo>
                  <a:lnTo>
                    <a:pt x="181" y="251"/>
                  </a:lnTo>
                  <a:lnTo>
                    <a:pt x="157" y="259"/>
                  </a:lnTo>
                  <a:lnTo>
                    <a:pt x="130" y="262"/>
                  </a:lnTo>
                  <a:lnTo>
                    <a:pt x="104" y="259"/>
                  </a:lnTo>
                  <a:lnTo>
                    <a:pt x="79" y="251"/>
                  </a:lnTo>
                  <a:lnTo>
                    <a:pt x="57" y="239"/>
                  </a:lnTo>
                  <a:lnTo>
                    <a:pt x="38" y="223"/>
                  </a:lnTo>
                  <a:lnTo>
                    <a:pt x="23" y="204"/>
                  </a:lnTo>
                  <a:lnTo>
                    <a:pt x="10" y="181"/>
                  </a:lnTo>
                  <a:lnTo>
                    <a:pt x="2" y="157"/>
                  </a:lnTo>
                  <a:lnTo>
                    <a:pt x="0" y="130"/>
                  </a:lnTo>
                  <a:lnTo>
                    <a:pt x="2" y="104"/>
                  </a:lnTo>
                  <a:lnTo>
                    <a:pt x="10" y="79"/>
                  </a:lnTo>
                  <a:lnTo>
                    <a:pt x="23" y="57"/>
                  </a:lnTo>
                  <a:lnTo>
                    <a:pt x="38" y="37"/>
                  </a:lnTo>
                  <a:lnTo>
                    <a:pt x="57" y="22"/>
                  </a:lnTo>
                  <a:lnTo>
                    <a:pt x="79" y="9"/>
                  </a:lnTo>
                  <a:lnTo>
                    <a:pt x="104" y="2"/>
                  </a:lnTo>
                  <a:lnTo>
                    <a:pt x="130" y="0"/>
                  </a:lnTo>
                  <a:close/>
                </a:path>
              </a:pathLst>
            </a:custGeom>
            <a:grpFill/>
            <a:ln w="9525">
              <a:noFill/>
              <a:round/>
              <a:headEnd/>
              <a:tailEnd/>
            </a:ln>
          </p:spPr>
          <p:txBody>
            <a:bodyPr wrap="none" anchor="ctr"/>
            <a:lstStyle/>
            <a:p>
              <a:endParaRPr lang="en-GB" sz="2200">
                <a:solidFill>
                  <a:srgbClr val="000000"/>
                </a:solidFill>
              </a:endParaRPr>
            </a:p>
          </p:txBody>
        </p:sp>
        <p:sp>
          <p:nvSpPr>
            <p:cNvPr id="96" name="Freeform 95"/>
            <p:cNvSpPr>
              <a:spLocks noChangeArrowheads="1"/>
            </p:cNvSpPr>
            <p:nvPr/>
          </p:nvSpPr>
          <p:spPr bwMode="auto">
            <a:xfrm>
              <a:off x="3398" y="932"/>
              <a:ext cx="28" cy="28"/>
            </a:xfrm>
            <a:custGeom>
              <a:avLst/>
              <a:gdLst>
                <a:gd name="T0" fmla="*/ 0 w 262"/>
                <a:gd name="T1" fmla="*/ 0 h 263"/>
                <a:gd name="T2" fmla="*/ 0 w 262"/>
                <a:gd name="T3" fmla="*/ 0 h 263"/>
                <a:gd name="T4" fmla="*/ 0 w 262"/>
                <a:gd name="T5" fmla="*/ 0 h 263"/>
                <a:gd name="T6" fmla="*/ 0 w 262"/>
                <a:gd name="T7" fmla="*/ 0 h 263"/>
                <a:gd name="T8" fmla="*/ 0 w 262"/>
                <a:gd name="T9" fmla="*/ 0 h 263"/>
                <a:gd name="T10" fmla="*/ 0 w 262"/>
                <a:gd name="T11" fmla="*/ 0 h 263"/>
                <a:gd name="T12" fmla="*/ 0 w 262"/>
                <a:gd name="T13" fmla="*/ 0 h 263"/>
                <a:gd name="T14" fmla="*/ 0 w 262"/>
                <a:gd name="T15" fmla="*/ 0 h 263"/>
                <a:gd name="T16" fmla="*/ 0 w 262"/>
                <a:gd name="T17" fmla="*/ 0 h 263"/>
                <a:gd name="T18" fmla="*/ 0 w 262"/>
                <a:gd name="T19" fmla="*/ 0 h 263"/>
                <a:gd name="T20" fmla="*/ 0 w 262"/>
                <a:gd name="T21" fmla="*/ 0 h 263"/>
                <a:gd name="T22" fmla="*/ 0 w 262"/>
                <a:gd name="T23" fmla="*/ 0 h 263"/>
                <a:gd name="T24" fmla="*/ 0 w 262"/>
                <a:gd name="T25" fmla="*/ 0 h 263"/>
                <a:gd name="T26" fmla="*/ 0 w 262"/>
                <a:gd name="T27" fmla="*/ 0 h 263"/>
                <a:gd name="T28" fmla="*/ 0 w 262"/>
                <a:gd name="T29" fmla="*/ 0 h 263"/>
                <a:gd name="T30" fmla="*/ 0 w 262"/>
                <a:gd name="T31" fmla="*/ 0 h 263"/>
                <a:gd name="T32" fmla="*/ 0 w 262"/>
                <a:gd name="T33" fmla="*/ 0 h 263"/>
                <a:gd name="T34" fmla="*/ 0 w 262"/>
                <a:gd name="T35" fmla="*/ 0 h 263"/>
                <a:gd name="T36" fmla="*/ 0 w 262"/>
                <a:gd name="T37" fmla="*/ 0 h 263"/>
                <a:gd name="T38" fmla="*/ 0 w 262"/>
                <a:gd name="T39" fmla="*/ 0 h 263"/>
                <a:gd name="T40" fmla="*/ 0 w 262"/>
                <a:gd name="T41" fmla="*/ 0 h 263"/>
                <a:gd name="T42" fmla="*/ 0 w 262"/>
                <a:gd name="T43" fmla="*/ 0 h 263"/>
                <a:gd name="T44" fmla="*/ 0 w 262"/>
                <a:gd name="T45" fmla="*/ 0 h 263"/>
                <a:gd name="T46" fmla="*/ 0 w 262"/>
                <a:gd name="T47" fmla="*/ 0 h 263"/>
                <a:gd name="T48" fmla="*/ 0 w 262"/>
                <a:gd name="T49" fmla="*/ 0 h 263"/>
                <a:gd name="T50" fmla="*/ 0 w 262"/>
                <a:gd name="T51" fmla="*/ 0 h 263"/>
                <a:gd name="T52" fmla="*/ 0 w 262"/>
                <a:gd name="T53" fmla="*/ 0 h 263"/>
                <a:gd name="T54" fmla="*/ 0 w 262"/>
                <a:gd name="T55" fmla="*/ 0 h 263"/>
                <a:gd name="T56" fmla="*/ 0 w 262"/>
                <a:gd name="T57" fmla="*/ 0 h 263"/>
                <a:gd name="T58" fmla="*/ 0 w 262"/>
                <a:gd name="T59" fmla="*/ 0 h 263"/>
                <a:gd name="T60" fmla="*/ 0 w 262"/>
                <a:gd name="T61" fmla="*/ 0 h 263"/>
                <a:gd name="T62" fmla="*/ 0 w 262"/>
                <a:gd name="T63" fmla="*/ 0 h 263"/>
                <a:gd name="T64" fmla="*/ 0 w 262"/>
                <a:gd name="T65" fmla="*/ 0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3"/>
                <a:gd name="T101" fmla="*/ 262 w 262"/>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3">
                  <a:moveTo>
                    <a:pt x="131" y="0"/>
                  </a:moveTo>
                  <a:lnTo>
                    <a:pt x="158" y="3"/>
                  </a:lnTo>
                  <a:lnTo>
                    <a:pt x="183" y="10"/>
                  </a:lnTo>
                  <a:lnTo>
                    <a:pt x="204" y="23"/>
                  </a:lnTo>
                  <a:lnTo>
                    <a:pt x="223" y="38"/>
                  </a:lnTo>
                  <a:lnTo>
                    <a:pt x="239" y="57"/>
                  </a:lnTo>
                  <a:lnTo>
                    <a:pt x="251" y="80"/>
                  </a:lnTo>
                  <a:lnTo>
                    <a:pt x="259" y="105"/>
                  </a:lnTo>
                  <a:lnTo>
                    <a:pt x="262" y="132"/>
                  </a:lnTo>
                  <a:lnTo>
                    <a:pt x="259" y="157"/>
                  </a:lnTo>
                  <a:lnTo>
                    <a:pt x="251" y="182"/>
                  </a:lnTo>
                  <a:lnTo>
                    <a:pt x="239" y="205"/>
                  </a:lnTo>
                  <a:lnTo>
                    <a:pt x="223" y="224"/>
                  </a:lnTo>
                  <a:lnTo>
                    <a:pt x="204" y="240"/>
                  </a:lnTo>
                  <a:lnTo>
                    <a:pt x="183" y="253"/>
                  </a:lnTo>
                  <a:lnTo>
                    <a:pt x="158" y="260"/>
                  </a:lnTo>
                  <a:lnTo>
                    <a:pt x="131" y="263"/>
                  </a:lnTo>
                  <a:lnTo>
                    <a:pt x="104" y="260"/>
                  </a:lnTo>
                  <a:lnTo>
                    <a:pt x="79" y="253"/>
                  </a:lnTo>
                  <a:lnTo>
                    <a:pt x="58" y="240"/>
                  </a:lnTo>
                  <a:lnTo>
                    <a:pt x="39" y="224"/>
                  </a:lnTo>
                  <a:lnTo>
                    <a:pt x="23" y="205"/>
                  </a:lnTo>
                  <a:lnTo>
                    <a:pt x="10" y="182"/>
                  </a:lnTo>
                  <a:lnTo>
                    <a:pt x="2" y="157"/>
                  </a:lnTo>
                  <a:lnTo>
                    <a:pt x="0" y="132"/>
                  </a:lnTo>
                  <a:lnTo>
                    <a:pt x="2" y="105"/>
                  </a:lnTo>
                  <a:lnTo>
                    <a:pt x="10" y="80"/>
                  </a:lnTo>
                  <a:lnTo>
                    <a:pt x="23" y="57"/>
                  </a:lnTo>
                  <a:lnTo>
                    <a:pt x="39" y="38"/>
                  </a:lnTo>
                  <a:lnTo>
                    <a:pt x="58" y="23"/>
                  </a:lnTo>
                  <a:lnTo>
                    <a:pt x="79"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7" name="Freeform 96"/>
            <p:cNvSpPr>
              <a:spLocks noChangeArrowheads="1"/>
            </p:cNvSpPr>
            <p:nvPr/>
          </p:nvSpPr>
          <p:spPr bwMode="auto">
            <a:xfrm>
              <a:off x="3398" y="877"/>
              <a:ext cx="28" cy="29"/>
            </a:xfrm>
            <a:custGeom>
              <a:avLst/>
              <a:gdLst>
                <a:gd name="T0" fmla="*/ 0 w 262"/>
                <a:gd name="T1" fmla="*/ 0 h 263"/>
                <a:gd name="T2" fmla="*/ 0 w 262"/>
                <a:gd name="T3" fmla="*/ 0 h 263"/>
                <a:gd name="T4" fmla="*/ 0 w 262"/>
                <a:gd name="T5" fmla="*/ 0 h 263"/>
                <a:gd name="T6" fmla="*/ 0 w 262"/>
                <a:gd name="T7" fmla="*/ 0 h 263"/>
                <a:gd name="T8" fmla="*/ 0 w 262"/>
                <a:gd name="T9" fmla="*/ 0 h 263"/>
                <a:gd name="T10" fmla="*/ 0 w 262"/>
                <a:gd name="T11" fmla="*/ 0 h 263"/>
                <a:gd name="T12" fmla="*/ 0 w 262"/>
                <a:gd name="T13" fmla="*/ 0 h 263"/>
                <a:gd name="T14" fmla="*/ 0 w 262"/>
                <a:gd name="T15" fmla="*/ 0 h 263"/>
                <a:gd name="T16" fmla="*/ 0 w 262"/>
                <a:gd name="T17" fmla="*/ 0 h 263"/>
                <a:gd name="T18" fmla="*/ 0 w 262"/>
                <a:gd name="T19" fmla="*/ 0 h 263"/>
                <a:gd name="T20" fmla="*/ 0 w 262"/>
                <a:gd name="T21" fmla="*/ 0 h 263"/>
                <a:gd name="T22" fmla="*/ 0 w 262"/>
                <a:gd name="T23" fmla="*/ 0 h 263"/>
                <a:gd name="T24" fmla="*/ 0 w 262"/>
                <a:gd name="T25" fmla="*/ 0 h 263"/>
                <a:gd name="T26" fmla="*/ 0 w 262"/>
                <a:gd name="T27" fmla="*/ 0 h 263"/>
                <a:gd name="T28" fmla="*/ 0 w 262"/>
                <a:gd name="T29" fmla="*/ 0 h 263"/>
                <a:gd name="T30" fmla="*/ 0 w 262"/>
                <a:gd name="T31" fmla="*/ 0 h 263"/>
                <a:gd name="T32" fmla="*/ 0 w 262"/>
                <a:gd name="T33" fmla="*/ 0 h 263"/>
                <a:gd name="T34" fmla="*/ 0 w 262"/>
                <a:gd name="T35" fmla="*/ 0 h 263"/>
                <a:gd name="T36" fmla="*/ 0 w 262"/>
                <a:gd name="T37" fmla="*/ 0 h 263"/>
                <a:gd name="T38" fmla="*/ 0 w 262"/>
                <a:gd name="T39" fmla="*/ 0 h 263"/>
                <a:gd name="T40" fmla="*/ 0 w 262"/>
                <a:gd name="T41" fmla="*/ 0 h 263"/>
                <a:gd name="T42" fmla="*/ 0 w 262"/>
                <a:gd name="T43" fmla="*/ 0 h 263"/>
                <a:gd name="T44" fmla="*/ 0 w 262"/>
                <a:gd name="T45" fmla="*/ 0 h 263"/>
                <a:gd name="T46" fmla="*/ 0 w 262"/>
                <a:gd name="T47" fmla="*/ 0 h 263"/>
                <a:gd name="T48" fmla="*/ 0 w 262"/>
                <a:gd name="T49" fmla="*/ 0 h 263"/>
                <a:gd name="T50" fmla="*/ 0 w 262"/>
                <a:gd name="T51" fmla="*/ 0 h 263"/>
                <a:gd name="T52" fmla="*/ 0 w 262"/>
                <a:gd name="T53" fmla="*/ 0 h 263"/>
                <a:gd name="T54" fmla="*/ 0 w 262"/>
                <a:gd name="T55" fmla="*/ 0 h 263"/>
                <a:gd name="T56" fmla="*/ 0 w 262"/>
                <a:gd name="T57" fmla="*/ 0 h 263"/>
                <a:gd name="T58" fmla="*/ 0 w 262"/>
                <a:gd name="T59" fmla="*/ 0 h 263"/>
                <a:gd name="T60" fmla="*/ 0 w 262"/>
                <a:gd name="T61" fmla="*/ 0 h 263"/>
                <a:gd name="T62" fmla="*/ 0 w 262"/>
                <a:gd name="T63" fmla="*/ 0 h 263"/>
                <a:gd name="T64" fmla="*/ 0 w 262"/>
                <a:gd name="T65" fmla="*/ 0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3"/>
                <a:gd name="T101" fmla="*/ 262 w 262"/>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3">
                  <a:moveTo>
                    <a:pt x="131" y="0"/>
                  </a:moveTo>
                  <a:lnTo>
                    <a:pt x="158" y="3"/>
                  </a:lnTo>
                  <a:lnTo>
                    <a:pt x="183" y="11"/>
                  </a:lnTo>
                  <a:lnTo>
                    <a:pt x="204" y="23"/>
                  </a:lnTo>
                  <a:lnTo>
                    <a:pt x="223" y="39"/>
                  </a:lnTo>
                  <a:lnTo>
                    <a:pt x="239" y="58"/>
                  </a:lnTo>
                  <a:lnTo>
                    <a:pt x="251" y="81"/>
                  </a:lnTo>
                  <a:lnTo>
                    <a:pt x="259" y="106"/>
                  </a:lnTo>
                  <a:lnTo>
                    <a:pt x="262" y="131"/>
                  </a:lnTo>
                  <a:lnTo>
                    <a:pt x="259" y="158"/>
                  </a:lnTo>
                  <a:lnTo>
                    <a:pt x="251" y="183"/>
                  </a:lnTo>
                  <a:lnTo>
                    <a:pt x="239" y="205"/>
                  </a:lnTo>
                  <a:lnTo>
                    <a:pt x="223" y="225"/>
                  </a:lnTo>
                  <a:lnTo>
                    <a:pt x="204" y="241"/>
                  </a:lnTo>
                  <a:lnTo>
                    <a:pt x="183" y="253"/>
                  </a:lnTo>
                  <a:lnTo>
                    <a:pt x="158" y="260"/>
                  </a:lnTo>
                  <a:lnTo>
                    <a:pt x="131" y="263"/>
                  </a:lnTo>
                  <a:lnTo>
                    <a:pt x="104" y="260"/>
                  </a:lnTo>
                  <a:lnTo>
                    <a:pt x="79" y="253"/>
                  </a:lnTo>
                  <a:lnTo>
                    <a:pt x="58" y="241"/>
                  </a:lnTo>
                  <a:lnTo>
                    <a:pt x="39" y="225"/>
                  </a:lnTo>
                  <a:lnTo>
                    <a:pt x="23" y="205"/>
                  </a:lnTo>
                  <a:lnTo>
                    <a:pt x="10" y="183"/>
                  </a:lnTo>
                  <a:lnTo>
                    <a:pt x="2" y="158"/>
                  </a:lnTo>
                  <a:lnTo>
                    <a:pt x="0" y="131"/>
                  </a:lnTo>
                  <a:lnTo>
                    <a:pt x="2" y="106"/>
                  </a:lnTo>
                  <a:lnTo>
                    <a:pt x="10" y="81"/>
                  </a:lnTo>
                  <a:lnTo>
                    <a:pt x="23" y="58"/>
                  </a:lnTo>
                  <a:lnTo>
                    <a:pt x="39" y="39"/>
                  </a:lnTo>
                  <a:lnTo>
                    <a:pt x="58" y="23"/>
                  </a:lnTo>
                  <a:lnTo>
                    <a:pt x="79" y="11"/>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8" name="Freeform 97"/>
            <p:cNvSpPr>
              <a:spLocks noChangeArrowheads="1"/>
            </p:cNvSpPr>
            <p:nvPr/>
          </p:nvSpPr>
          <p:spPr bwMode="auto">
            <a:xfrm>
              <a:off x="3398" y="823"/>
              <a:ext cx="28" cy="28"/>
            </a:xfrm>
            <a:custGeom>
              <a:avLst/>
              <a:gdLst>
                <a:gd name="T0" fmla="*/ 0 w 262"/>
                <a:gd name="T1" fmla="*/ 0 h 262"/>
                <a:gd name="T2" fmla="*/ 0 w 262"/>
                <a:gd name="T3" fmla="*/ 0 h 262"/>
                <a:gd name="T4" fmla="*/ 0 w 262"/>
                <a:gd name="T5" fmla="*/ 0 h 262"/>
                <a:gd name="T6" fmla="*/ 0 w 262"/>
                <a:gd name="T7" fmla="*/ 0 h 262"/>
                <a:gd name="T8" fmla="*/ 0 w 262"/>
                <a:gd name="T9" fmla="*/ 0 h 262"/>
                <a:gd name="T10" fmla="*/ 0 w 262"/>
                <a:gd name="T11" fmla="*/ 0 h 262"/>
                <a:gd name="T12" fmla="*/ 0 w 262"/>
                <a:gd name="T13" fmla="*/ 0 h 262"/>
                <a:gd name="T14" fmla="*/ 0 w 262"/>
                <a:gd name="T15" fmla="*/ 0 h 262"/>
                <a:gd name="T16" fmla="*/ 0 w 262"/>
                <a:gd name="T17" fmla="*/ 0 h 262"/>
                <a:gd name="T18" fmla="*/ 0 w 262"/>
                <a:gd name="T19" fmla="*/ 0 h 262"/>
                <a:gd name="T20" fmla="*/ 0 w 262"/>
                <a:gd name="T21" fmla="*/ 0 h 262"/>
                <a:gd name="T22" fmla="*/ 0 w 262"/>
                <a:gd name="T23" fmla="*/ 0 h 262"/>
                <a:gd name="T24" fmla="*/ 0 w 262"/>
                <a:gd name="T25" fmla="*/ 0 h 262"/>
                <a:gd name="T26" fmla="*/ 0 w 262"/>
                <a:gd name="T27" fmla="*/ 0 h 262"/>
                <a:gd name="T28" fmla="*/ 0 w 262"/>
                <a:gd name="T29" fmla="*/ 0 h 262"/>
                <a:gd name="T30" fmla="*/ 0 w 262"/>
                <a:gd name="T31" fmla="*/ 0 h 262"/>
                <a:gd name="T32" fmla="*/ 0 w 262"/>
                <a:gd name="T33" fmla="*/ 0 h 262"/>
                <a:gd name="T34" fmla="*/ 0 w 262"/>
                <a:gd name="T35" fmla="*/ 0 h 262"/>
                <a:gd name="T36" fmla="*/ 0 w 262"/>
                <a:gd name="T37" fmla="*/ 0 h 262"/>
                <a:gd name="T38" fmla="*/ 0 w 262"/>
                <a:gd name="T39" fmla="*/ 0 h 262"/>
                <a:gd name="T40" fmla="*/ 0 w 262"/>
                <a:gd name="T41" fmla="*/ 0 h 262"/>
                <a:gd name="T42" fmla="*/ 0 w 262"/>
                <a:gd name="T43" fmla="*/ 0 h 262"/>
                <a:gd name="T44" fmla="*/ 0 w 262"/>
                <a:gd name="T45" fmla="*/ 0 h 262"/>
                <a:gd name="T46" fmla="*/ 0 w 262"/>
                <a:gd name="T47" fmla="*/ 0 h 262"/>
                <a:gd name="T48" fmla="*/ 0 w 262"/>
                <a:gd name="T49" fmla="*/ 0 h 262"/>
                <a:gd name="T50" fmla="*/ 0 w 262"/>
                <a:gd name="T51" fmla="*/ 0 h 262"/>
                <a:gd name="T52" fmla="*/ 0 w 262"/>
                <a:gd name="T53" fmla="*/ 0 h 262"/>
                <a:gd name="T54" fmla="*/ 0 w 262"/>
                <a:gd name="T55" fmla="*/ 0 h 262"/>
                <a:gd name="T56" fmla="*/ 0 w 262"/>
                <a:gd name="T57" fmla="*/ 0 h 262"/>
                <a:gd name="T58" fmla="*/ 0 w 262"/>
                <a:gd name="T59" fmla="*/ 0 h 262"/>
                <a:gd name="T60" fmla="*/ 0 w 262"/>
                <a:gd name="T61" fmla="*/ 0 h 262"/>
                <a:gd name="T62" fmla="*/ 0 w 262"/>
                <a:gd name="T63" fmla="*/ 0 h 262"/>
                <a:gd name="T64" fmla="*/ 0 w 262"/>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2"/>
                <a:gd name="T101" fmla="*/ 262 w 262"/>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2">
                  <a:moveTo>
                    <a:pt x="131" y="0"/>
                  </a:moveTo>
                  <a:lnTo>
                    <a:pt x="158" y="2"/>
                  </a:lnTo>
                  <a:lnTo>
                    <a:pt x="183" y="10"/>
                  </a:lnTo>
                  <a:lnTo>
                    <a:pt x="204" y="23"/>
                  </a:lnTo>
                  <a:lnTo>
                    <a:pt x="223" y="38"/>
                  </a:lnTo>
                  <a:lnTo>
                    <a:pt x="239" y="57"/>
                  </a:lnTo>
                  <a:lnTo>
                    <a:pt x="251" y="80"/>
                  </a:lnTo>
                  <a:lnTo>
                    <a:pt x="259" y="104"/>
                  </a:lnTo>
                  <a:lnTo>
                    <a:pt x="262" y="130"/>
                  </a:lnTo>
                  <a:lnTo>
                    <a:pt x="259" y="157"/>
                  </a:lnTo>
                  <a:lnTo>
                    <a:pt x="251" y="182"/>
                  </a:lnTo>
                  <a:lnTo>
                    <a:pt x="239" y="204"/>
                  </a:lnTo>
                  <a:lnTo>
                    <a:pt x="223" y="224"/>
                  </a:lnTo>
                  <a:lnTo>
                    <a:pt x="204" y="240"/>
                  </a:lnTo>
                  <a:lnTo>
                    <a:pt x="183" y="252"/>
                  </a:lnTo>
                  <a:lnTo>
                    <a:pt x="158" y="259"/>
                  </a:lnTo>
                  <a:lnTo>
                    <a:pt x="131" y="262"/>
                  </a:lnTo>
                  <a:lnTo>
                    <a:pt x="104" y="259"/>
                  </a:lnTo>
                  <a:lnTo>
                    <a:pt x="79" y="252"/>
                  </a:lnTo>
                  <a:lnTo>
                    <a:pt x="58" y="240"/>
                  </a:lnTo>
                  <a:lnTo>
                    <a:pt x="39" y="224"/>
                  </a:lnTo>
                  <a:lnTo>
                    <a:pt x="23" y="204"/>
                  </a:lnTo>
                  <a:lnTo>
                    <a:pt x="10" y="182"/>
                  </a:lnTo>
                  <a:lnTo>
                    <a:pt x="2" y="157"/>
                  </a:lnTo>
                  <a:lnTo>
                    <a:pt x="0" y="130"/>
                  </a:lnTo>
                  <a:lnTo>
                    <a:pt x="2" y="104"/>
                  </a:lnTo>
                  <a:lnTo>
                    <a:pt x="10" y="80"/>
                  </a:lnTo>
                  <a:lnTo>
                    <a:pt x="23" y="57"/>
                  </a:lnTo>
                  <a:lnTo>
                    <a:pt x="39" y="38"/>
                  </a:lnTo>
                  <a:lnTo>
                    <a:pt x="58" y="23"/>
                  </a:lnTo>
                  <a:lnTo>
                    <a:pt x="79" y="10"/>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99" name="Freeform 98"/>
            <p:cNvSpPr>
              <a:spLocks noChangeArrowheads="1"/>
            </p:cNvSpPr>
            <p:nvPr/>
          </p:nvSpPr>
          <p:spPr bwMode="auto">
            <a:xfrm>
              <a:off x="3398" y="768"/>
              <a:ext cx="28" cy="28"/>
            </a:xfrm>
            <a:custGeom>
              <a:avLst/>
              <a:gdLst>
                <a:gd name="T0" fmla="*/ 0 w 262"/>
                <a:gd name="T1" fmla="*/ 0 h 261"/>
                <a:gd name="T2" fmla="*/ 0 w 262"/>
                <a:gd name="T3" fmla="*/ 0 h 261"/>
                <a:gd name="T4" fmla="*/ 0 w 262"/>
                <a:gd name="T5" fmla="*/ 0 h 261"/>
                <a:gd name="T6" fmla="*/ 0 w 262"/>
                <a:gd name="T7" fmla="*/ 0 h 261"/>
                <a:gd name="T8" fmla="*/ 0 w 262"/>
                <a:gd name="T9" fmla="*/ 0 h 261"/>
                <a:gd name="T10" fmla="*/ 0 w 262"/>
                <a:gd name="T11" fmla="*/ 0 h 261"/>
                <a:gd name="T12" fmla="*/ 0 w 262"/>
                <a:gd name="T13" fmla="*/ 0 h 261"/>
                <a:gd name="T14" fmla="*/ 0 w 262"/>
                <a:gd name="T15" fmla="*/ 0 h 261"/>
                <a:gd name="T16" fmla="*/ 0 w 262"/>
                <a:gd name="T17" fmla="*/ 0 h 261"/>
                <a:gd name="T18" fmla="*/ 0 w 262"/>
                <a:gd name="T19" fmla="*/ 0 h 261"/>
                <a:gd name="T20" fmla="*/ 0 w 262"/>
                <a:gd name="T21" fmla="*/ 0 h 261"/>
                <a:gd name="T22" fmla="*/ 0 w 262"/>
                <a:gd name="T23" fmla="*/ 0 h 261"/>
                <a:gd name="T24" fmla="*/ 0 w 262"/>
                <a:gd name="T25" fmla="*/ 0 h 261"/>
                <a:gd name="T26" fmla="*/ 0 w 262"/>
                <a:gd name="T27" fmla="*/ 0 h 261"/>
                <a:gd name="T28" fmla="*/ 0 w 262"/>
                <a:gd name="T29" fmla="*/ 0 h 261"/>
                <a:gd name="T30" fmla="*/ 0 w 262"/>
                <a:gd name="T31" fmla="*/ 0 h 261"/>
                <a:gd name="T32" fmla="*/ 0 w 262"/>
                <a:gd name="T33" fmla="*/ 0 h 261"/>
                <a:gd name="T34" fmla="*/ 0 w 262"/>
                <a:gd name="T35" fmla="*/ 0 h 261"/>
                <a:gd name="T36" fmla="*/ 0 w 262"/>
                <a:gd name="T37" fmla="*/ 0 h 261"/>
                <a:gd name="T38" fmla="*/ 0 w 262"/>
                <a:gd name="T39" fmla="*/ 0 h 261"/>
                <a:gd name="T40" fmla="*/ 0 w 262"/>
                <a:gd name="T41" fmla="*/ 0 h 261"/>
                <a:gd name="T42" fmla="*/ 0 w 262"/>
                <a:gd name="T43" fmla="*/ 0 h 261"/>
                <a:gd name="T44" fmla="*/ 0 w 262"/>
                <a:gd name="T45" fmla="*/ 0 h 261"/>
                <a:gd name="T46" fmla="*/ 0 w 262"/>
                <a:gd name="T47" fmla="*/ 0 h 261"/>
                <a:gd name="T48" fmla="*/ 0 w 262"/>
                <a:gd name="T49" fmla="*/ 0 h 261"/>
                <a:gd name="T50" fmla="*/ 0 w 262"/>
                <a:gd name="T51" fmla="*/ 0 h 261"/>
                <a:gd name="T52" fmla="*/ 0 w 262"/>
                <a:gd name="T53" fmla="*/ 0 h 261"/>
                <a:gd name="T54" fmla="*/ 0 w 262"/>
                <a:gd name="T55" fmla="*/ 0 h 261"/>
                <a:gd name="T56" fmla="*/ 0 w 262"/>
                <a:gd name="T57" fmla="*/ 0 h 261"/>
                <a:gd name="T58" fmla="*/ 0 w 262"/>
                <a:gd name="T59" fmla="*/ 0 h 261"/>
                <a:gd name="T60" fmla="*/ 0 w 262"/>
                <a:gd name="T61" fmla="*/ 0 h 261"/>
                <a:gd name="T62" fmla="*/ 0 w 262"/>
                <a:gd name="T63" fmla="*/ 0 h 261"/>
                <a:gd name="T64" fmla="*/ 0 w 262"/>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1"/>
                <a:gd name="T101" fmla="*/ 262 w 262"/>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1">
                  <a:moveTo>
                    <a:pt x="131" y="0"/>
                  </a:moveTo>
                  <a:lnTo>
                    <a:pt x="158" y="2"/>
                  </a:lnTo>
                  <a:lnTo>
                    <a:pt x="183" y="10"/>
                  </a:lnTo>
                  <a:lnTo>
                    <a:pt x="204" y="21"/>
                  </a:lnTo>
                  <a:lnTo>
                    <a:pt x="223" y="38"/>
                  </a:lnTo>
                  <a:lnTo>
                    <a:pt x="239" y="57"/>
                  </a:lnTo>
                  <a:lnTo>
                    <a:pt x="251" y="79"/>
                  </a:lnTo>
                  <a:lnTo>
                    <a:pt x="259" y="104"/>
                  </a:lnTo>
                  <a:lnTo>
                    <a:pt x="262" y="131"/>
                  </a:lnTo>
                  <a:lnTo>
                    <a:pt x="259" y="157"/>
                  </a:lnTo>
                  <a:lnTo>
                    <a:pt x="251" y="182"/>
                  </a:lnTo>
                  <a:lnTo>
                    <a:pt x="239" y="203"/>
                  </a:lnTo>
                  <a:lnTo>
                    <a:pt x="223" y="222"/>
                  </a:lnTo>
                  <a:lnTo>
                    <a:pt x="204" y="239"/>
                  </a:lnTo>
                  <a:lnTo>
                    <a:pt x="183" y="251"/>
                  </a:lnTo>
                  <a:lnTo>
                    <a:pt x="158" y="259"/>
                  </a:lnTo>
                  <a:lnTo>
                    <a:pt x="131" y="261"/>
                  </a:lnTo>
                  <a:lnTo>
                    <a:pt x="104" y="259"/>
                  </a:lnTo>
                  <a:lnTo>
                    <a:pt x="79" y="251"/>
                  </a:lnTo>
                  <a:lnTo>
                    <a:pt x="58" y="239"/>
                  </a:lnTo>
                  <a:lnTo>
                    <a:pt x="39" y="222"/>
                  </a:lnTo>
                  <a:lnTo>
                    <a:pt x="23" y="203"/>
                  </a:lnTo>
                  <a:lnTo>
                    <a:pt x="10" y="182"/>
                  </a:lnTo>
                  <a:lnTo>
                    <a:pt x="2" y="157"/>
                  </a:lnTo>
                  <a:lnTo>
                    <a:pt x="0" y="131"/>
                  </a:lnTo>
                  <a:lnTo>
                    <a:pt x="2" y="104"/>
                  </a:lnTo>
                  <a:lnTo>
                    <a:pt x="10" y="79"/>
                  </a:lnTo>
                  <a:lnTo>
                    <a:pt x="23" y="57"/>
                  </a:lnTo>
                  <a:lnTo>
                    <a:pt x="39" y="38"/>
                  </a:lnTo>
                  <a:lnTo>
                    <a:pt x="58" y="21"/>
                  </a:lnTo>
                  <a:lnTo>
                    <a:pt x="79" y="10"/>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0" name="Freeform 99"/>
            <p:cNvSpPr>
              <a:spLocks noChangeArrowheads="1"/>
            </p:cNvSpPr>
            <p:nvPr/>
          </p:nvSpPr>
          <p:spPr bwMode="auto">
            <a:xfrm>
              <a:off x="3398" y="713"/>
              <a:ext cx="28" cy="28"/>
            </a:xfrm>
            <a:custGeom>
              <a:avLst/>
              <a:gdLst>
                <a:gd name="T0" fmla="*/ 0 w 262"/>
                <a:gd name="T1" fmla="*/ 0 h 262"/>
                <a:gd name="T2" fmla="*/ 0 w 262"/>
                <a:gd name="T3" fmla="*/ 0 h 262"/>
                <a:gd name="T4" fmla="*/ 0 w 262"/>
                <a:gd name="T5" fmla="*/ 0 h 262"/>
                <a:gd name="T6" fmla="*/ 0 w 262"/>
                <a:gd name="T7" fmla="*/ 0 h 262"/>
                <a:gd name="T8" fmla="*/ 0 w 262"/>
                <a:gd name="T9" fmla="*/ 0 h 262"/>
                <a:gd name="T10" fmla="*/ 0 w 262"/>
                <a:gd name="T11" fmla="*/ 0 h 262"/>
                <a:gd name="T12" fmla="*/ 0 w 262"/>
                <a:gd name="T13" fmla="*/ 0 h 262"/>
                <a:gd name="T14" fmla="*/ 0 w 262"/>
                <a:gd name="T15" fmla="*/ 0 h 262"/>
                <a:gd name="T16" fmla="*/ 0 w 262"/>
                <a:gd name="T17" fmla="*/ 0 h 262"/>
                <a:gd name="T18" fmla="*/ 0 w 262"/>
                <a:gd name="T19" fmla="*/ 0 h 262"/>
                <a:gd name="T20" fmla="*/ 0 w 262"/>
                <a:gd name="T21" fmla="*/ 0 h 262"/>
                <a:gd name="T22" fmla="*/ 0 w 262"/>
                <a:gd name="T23" fmla="*/ 0 h 262"/>
                <a:gd name="T24" fmla="*/ 0 w 262"/>
                <a:gd name="T25" fmla="*/ 0 h 262"/>
                <a:gd name="T26" fmla="*/ 0 w 262"/>
                <a:gd name="T27" fmla="*/ 0 h 262"/>
                <a:gd name="T28" fmla="*/ 0 w 262"/>
                <a:gd name="T29" fmla="*/ 0 h 262"/>
                <a:gd name="T30" fmla="*/ 0 w 262"/>
                <a:gd name="T31" fmla="*/ 0 h 262"/>
                <a:gd name="T32" fmla="*/ 0 w 262"/>
                <a:gd name="T33" fmla="*/ 0 h 262"/>
                <a:gd name="T34" fmla="*/ 0 w 262"/>
                <a:gd name="T35" fmla="*/ 0 h 262"/>
                <a:gd name="T36" fmla="*/ 0 w 262"/>
                <a:gd name="T37" fmla="*/ 0 h 262"/>
                <a:gd name="T38" fmla="*/ 0 w 262"/>
                <a:gd name="T39" fmla="*/ 0 h 262"/>
                <a:gd name="T40" fmla="*/ 0 w 262"/>
                <a:gd name="T41" fmla="*/ 0 h 262"/>
                <a:gd name="T42" fmla="*/ 0 w 262"/>
                <a:gd name="T43" fmla="*/ 0 h 262"/>
                <a:gd name="T44" fmla="*/ 0 w 262"/>
                <a:gd name="T45" fmla="*/ 0 h 262"/>
                <a:gd name="T46" fmla="*/ 0 w 262"/>
                <a:gd name="T47" fmla="*/ 0 h 262"/>
                <a:gd name="T48" fmla="*/ 0 w 262"/>
                <a:gd name="T49" fmla="*/ 0 h 262"/>
                <a:gd name="T50" fmla="*/ 0 w 262"/>
                <a:gd name="T51" fmla="*/ 0 h 262"/>
                <a:gd name="T52" fmla="*/ 0 w 262"/>
                <a:gd name="T53" fmla="*/ 0 h 262"/>
                <a:gd name="T54" fmla="*/ 0 w 262"/>
                <a:gd name="T55" fmla="*/ 0 h 262"/>
                <a:gd name="T56" fmla="*/ 0 w 262"/>
                <a:gd name="T57" fmla="*/ 0 h 262"/>
                <a:gd name="T58" fmla="*/ 0 w 262"/>
                <a:gd name="T59" fmla="*/ 0 h 262"/>
                <a:gd name="T60" fmla="*/ 0 w 262"/>
                <a:gd name="T61" fmla="*/ 0 h 262"/>
                <a:gd name="T62" fmla="*/ 0 w 262"/>
                <a:gd name="T63" fmla="*/ 0 h 262"/>
                <a:gd name="T64" fmla="*/ 0 w 262"/>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2"/>
                <a:gd name="T101" fmla="*/ 262 w 262"/>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2">
                  <a:moveTo>
                    <a:pt x="131" y="0"/>
                  </a:moveTo>
                  <a:lnTo>
                    <a:pt x="158" y="3"/>
                  </a:lnTo>
                  <a:lnTo>
                    <a:pt x="183" y="10"/>
                  </a:lnTo>
                  <a:lnTo>
                    <a:pt x="204" y="22"/>
                  </a:lnTo>
                  <a:lnTo>
                    <a:pt x="223" y="38"/>
                  </a:lnTo>
                  <a:lnTo>
                    <a:pt x="239" y="58"/>
                  </a:lnTo>
                  <a:lnTo>
                    <a:pt x="251" y="79"/>
                  </a:lnTo>
                  <a:lnTo>
                    <a:pt x="259" y="104"/>
                  </a:lnTo>
                  <a:lnTo>
                    <a:pt x="262" y="131"/>
                  </a:lnTo>
                  <a:lnTo>
                    <a:pt x="259" y="158"/>
                  </a:lnTo>
                  <a:lnTo>
                    <a:pt x="251" y="182"/>
                  </a:lnTo>
                  <a:lnTo>
                    <a:pt x="239" y="204"/>
                  </a:lnTo>
                  <a:lnTo>
                    <a:pt x="223" y="223"/>
                  </a:lnTo>
                  <a:lnTo>
                    <a:pt x="204" y="239"/>
                  </a:lnTo>
                  <a:lnTo>
                    <a:pt x="183" y="251"/>
                  </a:lnTo>
                  <a:lnTo>
                    <a:pt x="158" y="259"/>
                  </a:lnTo>
                  <a:lnTo>
                    <a:pt x="131" y="262"/>
                  </a:lnTo>
                  <a:lnTo>
                    <a:pt x="105" y="259"/>
                  </a:lnTo>
                  <a:lnTo>
                    <a:pt x="81" y="251"/>
                  </a:lnTo>
                  <a:lnTo>
                    <a:pt x="58" y="239"/>
                  </a:lnTo>
                  <a:lnTo>
                    <a:pt x="39" y="223"/>
                  </a:lnTo>
                  <a:lnTo>
                    <a:pt x="23" y="204"/>
                  </a:lnTo>
                  <a:lnTo>
                    <a:pt x="11" y="182"/>
                  </a:lnTo>
                  <a:lnTo>
                    <a:pt x="2" y="158"/>
                  </a:lnTo>
                  <a:lnTo>
                    <a:pt x="0" y="131"/>
                  </a:lnTo>
                  <a:lnTo>
                    <a:pt x="2" y="104"/>
                  </a:lnTo>
                  <a:lnTo>
                    <a:pt x="11" y="79"/>
                  </a:lnTo>
                  <a:lnTo>
                    <a:pt x="23" y="58"/>
                  </a:lnTo>
                  <a:lnTo>
                    <a:pt x="39" y="38"/>
                  </a:lnTo>
                  <a:lnTo>
                    <a:pt x="58" y="22"/>
                  </a:lnTo>
                  <a:lnTo>
                    <a:pt x="81" y="10"/>
                  </a:lnTo>
                  <a:lnTo>
                    <a:pt x="105"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1" name="Freeform 100"/>
            <p:cNvSpPr>
              <a:spLocks noChangeArrowheads="1"/>
            </p:cNvSpPr>
            <p:nvPr/>
          </p:nvSpPr>
          <p:spPr bwMode="auto">
            <a:xfrm>
              <a:off x="3670" y="71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6" y="3"/>
                  </a:lnTo>
                  <a:lnTo>
                    <a:pt x="181" y="10"/>
                  </a:lnTo>
                  <a:lnTo>
                    <a:pt x="204" y="22"/>
                  </a:lnTo>
                  <a:lnTo>
                    <a:pt x="223" y="38"/>
                  </a:lnTo>
                  <a:lnTo>
                    <a:pt x="240" y="58"/>
                  </a:lnTo>
                  <a:lnTo>
                    <a:pt x="252" y="80"/>
                  </a:lnTo>
                  <a:lnTo>
                    <a:pt x="259" y="105"/>
                  </a:lnTo>
                  <a:lnTo>
                    <a:pt x="263" y="131"/>
                  </a:lnTo>
                  <a:lnTo>
                    <a:pt x="259" y="158"/>
                  </a:lnTo>
                  <a:lnTo>
                    <a:pt x="252" y="182"/>
                  </a:lnTo>
                  <a:lnTo>
                    <a:pt x="240" y="204"/>
                  </a:lnTo>
                  <a:lnTo>
                    <a:pt x="223" y="223"/>
                  </a:lnTo>
                  <a:lnTo>
                    <a:pt x="204" y="239"/>
                  </a:lnTo>
                  <a:lnTo>
                    <a:pt x="181" y="251"/>
                  </a:lnTo>
                  <a:lnTo>
                    <a:pt x="156" y="259"/>
                  </a:lnTo>
                  <a:lnTo>
                    <a:pt x="131" y="262"/>
                  </a:lnTo>
                  <a:lnTo>
                    <a:pt x="104" y="259"/>
                  </a:lnTo>
                  <a:lnTo>
                    <a:pt x="79" y="251"/>
                  </a:lnTo>
                  <a:lnTo>
                    <a:pt x="57" y="239"/>
                  </a:lnTo>
                  <a:lnTo>
                    <a:pt x="37" y="223"/>
                  </a:lnTo>
                  <a:lnTo>
                    <a:pt x="21" y="204"/>
                  </a:lnTo>
                  <a:lnTo>
                    <a:pt x="9" y="182"/>
                  </a:lnTo>
                  <a:lnTo>
                    <a:pt x="2" y="158"/>
                  </a:lnTo>
                  <a:lnTo>
                    <a:pt x="0" y="131"/>
                  </a:lnTo>
                  <a:lnTo>
                    <a:pt x="2" y="105"/>
                  </a:lnTo>
                  <a:lnTo>
                    <a:pt x="9" y="80"/>
                  </a:lnTo>
                  <a:lnTo>
                    <a:pt x="21" y="58"/>
                  </a:lnTo>
                  <a:lnTo>
                    <a:pt x="37" y="38"/>
                  </a:lnTo>
                  <a:lnTo>
                    <a:pt x="57" y="22"/>
                  </a:lnTo>
                  <a:lnTo>
                    <a:pt x="79"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2" name="Freeform 101"/>
            <p:cNvSpPr>
              <a:spLocks noChangeArrowheads="1"/>
            </p:cNvSpPr>
            <p:nvPr/>
          </p:nvSpPr>
          <p:spPr bwMode="auto">
            <a:xfrm>
              <a:off x="3615" y="713"/>
              <a:ext cx="29"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3" y="10"/>
                  </a:lnTo>
                  <a:lnTo>
                    <a:pt x="205" y="22"/>
                  </a:lnTo>
                  <a:lnTo>
                    <a:pt x="224" y="38"/>
                  </a:lnTo>
                  <a:lnTo>
                    <a:pt x="241" y="58"/>
                  </a:lnTo>
                  <a:lnTo>
                    <a:pt x="252" y="80"/>
                  </a:lnTo>
                  <a:lnTo>
                    <a:pt x="260" y="105"/>
                  </a:lnTo>
                  <a:lnTo>
                    <a:pt x="263" y="131"/>
                  </a:lnTo>
                  <a:lnTo>
                    <a:pt x="260" y="158"/>
                  </a:lnTo>
                  <a:lnTo>
                    <a:pt x="252" y="182"/>
                  </a:lnTo>
                  <a:lnTo>
                    <a:pt x="241" y="204"/>
                  </a:lnTo>
                  <a:lnTo>
                    <a:pt x="224" y="223"/>
                  </a:lnTo>
                  <a:lnTo>
                    <a:pt x="205" y="239"/>
                  </a:lnTo>
                  <a:lnTo>
                    <a:pt x="183" y="251"/>
                  </a:lnTo>
                  <a:lnTo>
                    <a:pt x="158" y="259"/>
                  </a:lnTo>
                  <a:lnTo>
                    <a:pt x="131" y="262"/>
                  </a:lnTo>
                  <a:lnTo>
                    <a:pt x="104" y="259"/>
                  </a:lnTo>
                  <a:lnTo>
                    <a:pt x="80" y="251"/>
                  </a:lnTo>
                  <a:lnTo>
                    <a:pt x="58" y="239"/>
                  </a:lnTo>
                  <a:lnTo>
                    <a:pt x="39" y="223"/>
                  </a:lnTo>
                  <a:lnTo>
                    <a:pt x="23" y="204"/>
                  </a:lnTo>
                  <a:lnTo>
                    <a:pt x="11" y="182"/>
                  </a:lnTo>
                  <a:lnTo>
                    <a:pt x="3" y="158"/>
                  </a:lnTo>
                  <a:lnTo>
                    <a:pt x="0" y="131"/>
                  </a:lnTo>
                  <a:lnTo>
                    <a:pt x="3" y="105"/>
                  </a:lnTo>
                  <a:lnTo>
                    <a:pt x="11" y="80"/>
                  </a:lnTo>
                  <a:lnTo>
                    <a:pt x="23" y="58"/>
                  </a:lnTo>
                  <a:lnTo>
                    <a:pt x="39" y="38"/>
                  </a:lnTo>
                  <a:lnTo>
                    <a:pt x="58" y="22"/>
                  </a:lnTo>
                  <a:lnTo>
                    <a:pt x="80"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3" name="Freeform 102"/>
            <p:cNvSpPr>
              <a:spLocks noChangeArrowheads="1"/>
            </p:cNvSpPr>
            <p:nvPr/>
          </p:nvSpPr>
          <p:spPr bwMode="auto">
            <a:xfrm>
              <a:off x="3507" y="71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3" y="10"/>
                  </a:lnTo>
                  <a:lnTo>
                    <a:pt x="205" y="22"/>
                  </a:lnTo>
                  <a:lnTo>
                    <a:pt x="224" y="38"/>
                  </a:lnTo>
                  <a:lnTo>
                    <a:pt x="240" y="58"/>
                  </a:lnTo>
                  <a:lnTo>
                    <a:pt x="252" y="80"/>
                  </a:lnTo>
                  <a:lnTo>
                    <a:pt x="260" y="105"/>
                  </a:lnTo>
                  <a:lnTo>
                    <a:pt x="263" y="131"/>
                  </a:lnTo>
                  <a:lnTo>
                    <a:pt x="260" y="158"/>
                  </a:lnTo>
                  <a:lnTo>
                    <a:pt x="252" y="182"/>
                  </a:lnTo>
                  <a:lnTo>
                    <a:pt x="240" y="204"/>
                  </a:lnTo>
                  <a:lnTo>
                    <a:pt x="224" y="223"/>
                  </a:lnTo>
                  <a:lnTo>
                    <a:pt x="205" y="239"/>
                  </a:lnTo>
                  <a:lnTo>
                    <a:pt x="183" y="251"/>
                  </a:lnTo>
                  <a:lnTo>
                    <a:pt x="158" y="259"/>
                  </a:lnTo>
                  <a:lnTo>
                    <a:pt x="131" y="262"/>
                  </a:lnTo>
                  <a:lnTo>
                    <a:pt x="105" y="259"/>
                  </a:lnTo>
                  <a:lnTo>
                    <a:pt x="81" y="251"/>
                  </a:lnTo>
                  <a:lnTo>
                    <a:pt x="58" y="239"/>
                  </a:lnTo>
                  <a:lnTo>
                    <a:pt x="39" y="223"/>
                  </a:lnTo>
                  <a:lnTo>
                    <a:pt x="23" y="204"/>
                  </a:lnTo>
                  <a:lnTo>
                    <a:pt x="11" y="182"/>
                  </a:lnTo>
                  <a:lnTo>
                    <a:pt x="2" y="158"/>
                  </a:lnTo>
                  <a:lnTo>
                    <a:pt x="0" y="131"/>
                  </a:lnTo>
                  <a:lnTo>
                    <a:pt x="2" y="105"/>
                  </a:lnTo>
                  <a:lnTo>
                    <a:pt x="11" y="80"/>
                  </a:lnTo>
                  <a:lnTo>
                    <a:pt x="23" y="58"/>
                  </a:lnTo>
                  <a:lnTo>
                    <a:pt x="39" y="38"/>
                  </a:lnTo>
                  <a:lnTo>
                    <a:pt x="58" y="22"/>
                  </a:lnTo>
                  <a:lnTo>
                    <a:pt x="81" y="10"/>
                  </a:lnTo>
                  <a:lnTo>
                    <a:pt x="105"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4" name="Freeform 103"/>
            <p:cNvSpPr>
              <a:spLocks noChangeArrowheads="1"/>
            </p:cNvSpPr>
            <p:nvPr/>
          </p:nvSpPr>
          <p:spPr bwMode="auto">
            <a:xfrm>
              <a:off x="3452" y="71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3" y="0"/>
                  </a:moveTo>
                  <a:lnTo>
                    <a:pt x="159" y="3"/>
                  </a:lnTo>
                  <a:lnTo>
                    <a:pt x="184" y="10"/>
                  </a:lnTo>
                  <a:lnTo>
                    <a:pt x="207" y="22"/>
                  </a:lnTo>
                  <a:lnTo>
                    <a:pt x="226" y="38"/>
                  </a:lnTo>
                  <a:lnTo>
                    <a:pt x="241" y="58"/>
                  </a:lnTo>
                  <a:lnTo>
                    <a:pt x="253" y="80"/>
                  </a:lnTo>
                  <a:lnTo>
                    <a:pt x="260" y="105"/>
                  </a:lnTo>
                  <a:lnTo>
                    <a:pt x="263" y="131"/>
                  </a:lnTo>
                  <a:lnTo>
                    <a:pt x="260" y="158"/>
                  </a:lnTo>
                  <a:lnTo>
                    <a:pt x="253" y="182"/>
                  </a:lnTo>
                  <a:lnTo>
                    <a:pt x="241" y="204"/>
                  </a:lnTo>
                  <a:lnTo>
                    <a:pt x="226" y="223"/>
                  </a:lnTo>
                  <a:lnTo>
                    <a:pt x="207" y="239"/>
                  </a:lnTo>
                  <a:lnTo>
                    <a:pt x="184" y="251"/>
                  </a:lnTo>
                  <a:lnTo>
                    <a:pt x="159" y="259"/>
                  </a:lnTo>
                  <a:lnTo>
                    <a:pt x="133" y="262"/>
                  </a:lnTo>
                  <a:lnTo>
                    <a:pt x="106" y="259"/>
                  </a:lnTo>
                  <a:lnTo>
                    <a:pt x="81" y="251"/>
                  </a:lnTo>
                  <a:lnTo>
                    <a:pt x="58" y="239"/>
                  </a:lnTo>
                  <a:lnTo>
                    <a:pt x="39" y="223"/>
                  </a:lnTo>
                  <a:lnTo>
                    <a:pt x="23" y="204"/>
                  </a:lnTo>
                  <a:lnTo>
                    <a:pt x="10" y="182"/>
                  </a:lnTo>
                  <a:lnTo>
                    <a:pt x="3" y="158"/>
                  </a:lnTo>
                  <a:lnTo>
                    <a:pt x="0" y="131"/>
                  </a:lnTo>
                  <a:lnTo>
                    <a:pt x="3" y="105"/>
                  </a:lnTo>
                  <a:lnTo>
                    <a:pt x="10" y="80"/>
                  </a:lnTo>
                  <a:lnTo>
                    <a:pt x="23" y="58"/>
                  </a:lnTo>
                  <a:lnTo>
                    <a:pt x="39" y="38"/>
                  </a:lnTo>
                  <a:lnTo>
                    <a:pt x="58" y="22"/>
                  </a:lnTo>
                  <a:lnTo>
                    <a:pt x="81" y="10"/>
                  </a:lnTo>
                  <a:lnTo>
                    <a:pt x="106" y="3"/>
                  </a:lnTo>
                  <a:lnTo>
                    <a:pt x="133" y="0"/>
                  </a:lnTo>
                  <a:close/>
                </a:path>
              </a:pathLst>
            </a:custGeom>
            <a:grpFill/>
            <a:ln w="9525">
              <a:noFill/>
              <a:round/>
              <a:headEnd/>
              <a:tailEnd/>
            </a:ln>
          </p:spPr>
          <p:txBody>
            <a:bodyPr wrap="none" anchor="ctr"/>
            <a:lstStyle/>
            <a:p>
              <a:endParaRPr lang="en-GB" sz="2200">
                <a:solidFill>
                  <a:srgbClr val="000000"/>
                </a:solidFill>
              </a:endParaRPr>
            </a:p>
          </p:txBody>
        </p:sp>
        <p:sp>
          <p:nvSpPr>
            <p:cNvPr id="105" name="Freeform 104"/>
            <p:cNvSpPr>
              <a:spLocks noChangeArrowheads="1"/>
            </p:cNvSpPr>
            <p:nvPr/>
          </p:nvSpPr>
          <p:spPr bwMode="auto">
            <a:xfrm>
              <a:off x="3724" y="769"/>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2" y="0"/>
                  </a:moveTo>
                  <a:lnTo>
                    <a:pt x="158" y="3"/>
                  </a:lnTo>
                  <a:lnTo>
                    <a:pt x="183" y="11"/>
                  </a:lnTo>
                  <a:lnTo>
                    <a:pt x="205" y="22"/>
                  </a:lnTo>
                  <a:lnTo>
                    <a:pt x="225" y="38"/>
                  </a:lnTo>
                  <a:lnTo>
                    <a:pt x="241" y="58"/>
                  </a:lnTo>
                  <a:lnTo>
                    <a:pt x="252" y="79"/>
                  </a:lnTo>
                  <a:lnTo>
                    <a:pt x="260" y="104"/>
                  </a:lnTo>
                  <a:lnTo>
                    <a:pt x="263" y="131"/>
                  </a:lnTo>
                  <a:lnTo>
                    <a:pt x="260" y="157"/>
                  </a:lnTo>
                  <a:lnTo>
                    <a:pt x="252" y="181"/>
                  </a:lnTo>
                  <a:lnTo>
                    <a:pt x="241" y="204"/>
                  </a:lnTo>
                  <a:lnTo>
                    <a:pt x="225" y="223"/>
                  </a:lnTo>
                  <a:lnTo>
                    <a:pt x="205" y="239"/>
                  </a:lnTo>
                  <a:lnTo>
                    <a:pt x="183" y="251"/>
                  </a:lnTo>
                  <a:lnTo>
                    <a:pt x="158" y="259"/>
                  </a:lnTo>
                  <a:lnTo>
                    <a:pt x="132" y="262"/>
                  </a:lnTo>
                  <a:lnTo>
                    <a:pt x="105" y="259"/>
                  </a:lnTo>
                  <a:lnTo>
                    <a:pt x="81" y="251"/>
                  </a:lnTo>
                  <a:lnTo>
                    <a:pt x="58" y="239"/>
                  </a:lnTo>
                  <a:lnTo>
                    <a:pt x="39" y="223"/>
                  </a:lnTo>
                  <a:lnTo>
                    <a:pt x="23" y="204"/>
                  </a:lnTo>
                  <a:lnTo>
                    <a:pt x="10" y="181"/>
                  </a:lnTo>
                  <a:lnTo>
                    <a:pt x="2" y="157"/>
                  </a:lnTo>
                  <a:lnTo>
                    <a:pt x="0" y="131"/>
                  </a:lnTo>
                  <a:lnTo>
                    <a:pt x="2" y="104"/>
                  </a:lnTo>
                  <a:lnTo>
                    <a:pt x="10" y="79"/>
                  </a:lnTo>
                  <a:lnTo>
                    <a:pt x="23" y="58"/>
                  </a:lnTo>
                  <a:lnTo>
                    <a:pt x="39" y="38"/>
                  </a:lnTo>
                  <a:lnTo>
                    <a:pt x="58" y="22"/>
                  </a:lnTo>
                  <a:lnTo>
                    <a:pt x="81" y="11"/>
                  </a:lnTo>
                  <a:lnTo>
                    <a:pt x="105" y="3"/>
                  </a:lnTo>
                  <a:lnTo>
                    <a:pt x="132" y="0"/>
                  </a:lnTo>
                  <a:close/>
                </a:path>
              </a:pathLst>
            </a:custGeom>
            <a:grpFill/>
            <a:ln w="9525">
              <a:noFill/>
              <a:round/>
              <a:headEnd/>
              <a:tailEnd/>
            </a:ln>
          </p:spPr>
          <p:txBody>
            <a:bodyPr wrap="none" anchor="ctr"/>
            <a:lstStyle/>
            <a:p>
              <a:endParaRPr lang="en-GB" sz="2200">
                <a:solidFill>
                  <a:srgbClr val="000000"/>
                </a:solidFill>
              </a:endParaRPr>
            </a:p>
          </p:txBody>
        </p:sp>
        <p:sp>
          <p:nvSpPr>
            <p:cNvPr id="106" name="Freeform 105"/>
            <p:cNvSpPr>
              <a:spLocks noChangeArrowheads="1"/>
            </p:cNvSpPr>
            <p:nvPr/>
          </p:nvSpPr>
          <p:spPr bwMode="auto">
            <a:xfrm>
              <a:off x="3724" y="824"/>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2"/>
                  </a:lnTo>
                  <a:lnTo>
                    <a:pt x="182" y="10"/>
                  </a:lnTo>
                  <a:lnTo>
                    <a:pt x="204" y="21"/>
                  </a:lnTo>
                  <a:lnTo>
                    <a:pt x="225" y="38"/>
                  </a:lnTo>
                  <a:lnTo>
                    <a:pt x="241" y="57"/>
                  </a:lnTo>
                  <a:lnTo>
                    <a:pt x="252" y="79"/>
                  </a:lnTo>
                  <a:lnTo>
                    <a:pt x="260" y="104"/>
                  </a:lnTo>
                  <a:lnTo>
                    <a:pt x="263" y="131"/>
                  </a:lnTo>
                  <a:lnTo>
                    <a:pt x="260" y="157"/>
                  </a:lnTo>
                  <a:lnTo>
                    <a:pt x="252" y="182"/>
                  </a:lnTo>
                  <a:lnTo>
                    <a:pt x="241" y="204"/>
                  </a:lnTo>
                  <a:lnTo>
                    <a:pt x="225" y="223"/>
                  </a:lnTo>
                  <a:lnTo>
                    <a:pt x="204" y="240"/>
                  </a:lnTo>
                  <a:lnTo>
                    <a:pt x="182" y="252"/>
                  </a:lnTo>
                  <a:lnTo>
                    <a:pt x="158" y="260"/>
                  </a:lnTo>
                  <a:lnTo>
                    <a:pt x="131" y="262"/>
                  </a:lnTo>
                  <a:lnTo>
                    <a:pt x="104" y="260"/>
                  </a:lnTo>
                  <a:lnTo>
                    <a:pt x="80" y="252"/>
                  </a:lnTo>
                  <a:lnTo>
                    <a:pt x="58" y="240"/>
                  </a:lnTo>
                  <a:lnTo>
                    <a:pt x="39" y="223"/>
                  </a:lnTo>
                  <a:lnTo>
                    <a:pt x="23" y="204"/>
                  </a:lnTo>
                  <a:lnTo>
                    <a:pt x="10" y="182"/>
                  </a:lnTo>
                  <a:lnTo>
                    <a:pt x="2" y="157"/>
                  </a:lnTo>
                  <a:lnTo>
                    <a:pt x="0" y="131"/>
                  </a:lnTo>
                  <a:lnTo>
                    <a:pt x="2" y="104"/>
                  </a:lnTo>
                  <a:lnTo>
                    <a:pt x="10" y="79"/>
                  </a:lnTo>
                  <a:lnTo>
                    <a:pt x="23" y="57"/>
                  </a:lnTo>
                  <a:lnTo>
                    <a:pt x="39" y="38"/>
                  </a:lnTo>
                  <a:lnTo>
                    <a:pt x="58" y="21"/>
                  </a:lnTo>
                  <a:lnTo>
                    <a:pt x="80" y="10"/>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7" name="Freeform 106"/>
            <p:cNvSpPr>
              <a:spLocks noChangeArrowheads="1"/>
            </p:cNvSpPr>
            <p:nvPr/>
          </p:nvSpPr>
          <p:spPr bwMode="auto">
            <a:xfrm>
              <a:off x="3724" y="879"/>
              <a:ext cx="28" cy="28"/>
            </a:xfrm>
            <a:custGeom>
              <a:avLst/>
              <a:gdLst>
                <a:gd name="T0" fmla="*/ 0 w 263"/>
                <a:gd name="T1" fmla="*/ 0 h 263"/>
                <a:gd name="T2" fmla="*/ 0 w 263"/>
                <a:gd name="T3" fmla="*/ 0 h 263"/>
                <a:gd name="T4" fmla="*/ 0 w 263"/>
                <a:gd name="T5" fmla="*/ 0 h 263"/>
                <a:gd name="T6" fmla="*/ 0 w 263"/>
                <a:gd name="T7" fmla="*/ 0 h 263"/>
                <a:gd name="T8" fmla="*/ 0 w 263"/>
                <a:gd name="T9" fmla="*/ 0 h 263"/>
                <a:gd name="T10" fmla="*/ 0 w 263"/>
                <a:gd name="T11" fmla="*/ 0 h 263"/>
                <a:gd name="T12" fmla="*/ 0 w 263"/>
                <a:gd name="T13" fmla="*/ 0 h 263"/>
                <a:gd name="T14" fmla="*/ 0 w 263"/>
                <a:gd name="T15" fmla="*/ 0 h 263"/>
                <a:gd name="T16" fmla="*/ 0 w 263"/>
                <a:gd name="T17" fmla="*/ 0 h 263"/>
                <a:gd name="T18" fmla="*/ 0 w 263"/>
                <a:gd name="T19" fmla="*/ 0 h 263"/>
                <a:gd name="T20" fmla="*/ 0 w 263"/>
                <a:gd name="T21" fmla="*/ 0 h 263"/>
                <a:gd name="T22" fmla="*/ 0 w 263"/>
                <a:gd name="T23" fmla="*/ 0 h 263"/>
                <a:gd name="T24" fmla="*/ 0 w 263"/>
                <a:gd name="T25" fmla="*/ 0 h 263"/>
                <a:gd name="T26" fmla="*/ 0 w 263"/>
                <a:gd name="T27" fmla="*/ 0 h 263"/>
                <a:gd name="T28" fmla="*/ 0 w 263"/>
                <a:gd name="T29" fmla="*/ 0 h 263"/>
                <a:gd name="T30" fmla="*/ 0 w 263"/>
                <a:gd name="T31" fmla="*/ 0 h 263"/>
                <a:gd name="T32" fmla="*/ 0 w 263"/>
                <a:gd name="T33" fmla="*/ 0 h 263"/>
                <a:gd name="T34" fmla="*/ 0 w 263"/>
                <a:gd name="T35" fmla="*/ 0 h 263"/>
                <a:gd name="T36" fmla="*/ 0 w 263"/>
                <a:gd name="T37" fmla="*/ 0 h 263"/>
                <a:gd name="T38" fmla="*/ 0 w 263"/>
                <a:gd name="T39" fmla="*/ 0 h 263"/>
                <a:gd name="T40" fmla="*/ 0 w 263"/>
                <a:gd name="T41" fmla="*/ 0 h 263"/>
                <a:gd name="T42" fmla="*/ 0 w 263"/>
                <a:gd name="T43" fmla="*/ 0 h 263"/>
                <a:gd name="T44" fmla="*/ 0 w 263"/>
                <a:gd name="T45" fmla="*/ 0 h 263"/>
                <a:gd name="T46" fmla="*/ 0 w 263"/>
                <a:gd name="T47" fmla="*/ 0 h 263"/>
                <a:gd name="T48" fmla="*/ 0 w 263"/>
                <a:gd name="T49" fmla="*/ 0 h 263"/>
                <a:gd name="T50" fmla="*/ 0 w 263"/>
                <a:gd name="T51" fmla="*/ 0 h 263"/>
                <a:gd name="T52" fmla="*/ 0 w 263"/>
                <a:gd name="T53" fmla="*/ 0 h 263"/>
                <a:gd name="T54" fmla="*/ 0 w 263"/>
                <a:gd name="T55" fmla="*/ 0 h 263"/>
                <a:gd name="T56" fmla="*/ 0 w 263"/>
                <a:gd name="T57" fmla="*/ 0 h 263"/>
                <a:gd name="T58" fmla="*/ 0 w 263"/>
                <a:gd name="T59" fmla="*/ 0 h 263"/>
                <a:gd name="T60" fmla="*/ 0 w 263"/>
                <a:gd name="T61" fmla="*/ 0 h 263"/>
                <a:gd name="T62" fmla="*/ 0 w 263"/>
                <a:gd name="T63" fmla="*/ 0 h 263"/>
                <a:gd name="T64" fmla="*/ 0 w 263"/>
                <a:gd name="T65" fmla="*/ 0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3"/>
                <a:gd name="T101" fmla="*/ 263 w 263"/>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3">
                  <a:moveTo>
                    <a:pt x="131" y="0"/>
                  </a:moveTo>
                  <a:lnTo>
                    <a:pt x="158" y="3"/>
                  </a:lnTo>
                  <a:lnTo>
                    <a:pt x="182" y="11"/>
                  </a:lnTo>
                  <a:lnTo>
                    <a:pt x="204" y="23"/>
                  </a:lnTo>
                  <a:lnTo>
                    <a:pt x="225" y="39"/>
                  </a:lnTo>
                  <a:lnTo>
                    <a:pt x="241" y="58"/>
                  </a:lnTo>
                  <a:lnTo>
                    <a:pt x="252" y="81"/>
                  </a:lnTo>
                  <a:lnTo>
                    <a:pt x="260" y="104"/>
                  </a:lnTo>
                  <a:lnTo>
                    <a:pt x="263" y="131"/>
                  </a:lnTo>
                  <a:lnTo>
                    <a:pt x="260" y="157"/>
                  </a:lnTo>
                  <a:lnTo>
                    <a:pt x="252" y="182"/>
                  </a:lnTo>
                  <a:lnTo>
                    <a:pt x="241" y="204"/>
                  </a:lnTo>
                  <a:lnTo>
                    <a:pt x="225" y="225"/>
                  </a:lnTo>
                  <a:lnTo>
                    <a:pt x="204" y="241"/>
                  </a:lnTo>
                  <a:lnTo>
                    <a:pt x="182" y="253"/>
                  </a:lnTo>
                  <a:lnTo>
                    <a:pt x="158" y="260"/>
                  </a:lnTo>
                  <a:lnTo>
                    <a:pt x="131" y="263"/>
                  </a:lnTo>
                  <a:lnTo>
                    <a:pt x="104" y="260"/>
                  </a:lnTo>
                  <a:lnTo>
                    <a:pt x="80" y="253"/>
                  </a:lnTo>
                  <a:lnTo>
                    <a:pt x="58" y="241"/>
                  </a:lnTo>
                  <a:lnTo>
                    <a:pt x="39" y="225"/>
                  </a:lnTo>
                  <a:lnTo>
                    <a:pt x="23" y="204"/>
                  </a:lnTo>
                  <a:lnTo>
                    <a:pt x="10" y="182"/>
                  </a:lnTo>
                  <a:lnTo>
                    <a:pt x="2" y="157"/>
                  </a:lnTo>
                  <a:lnTo>
                    <a:pt x="0" y="131"/>
                  </a:lnTo>
                  <a:lnTo>
                    <a:pt x="2" y="104"/>
                  </a:lnTo>
                  <a:lnTo>
                    <a:pt x="10" y="81"/>
                  </a:lnTo>
                  <a:lnTo>
                    <a:pt x="23" y="58"/>
                  </a:lnTo>
                  <a:lnTo>
                    <a:pt x="39" y="39"/>
                  </a:lnTo>
                  <a:lnTo>
                    <a:pt x="58" y="23"/>
                  </a:lnTo>
                  <a:lnTo>
                    <a:pt x="80" y="11"/>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8" name="Freeform 107"/>
            <p:cNvSpPr>
              <a:spLocks noChangeArrowheads="1"/>
            </p:cNvSpPr>
            <p:nvPr/>
          </p:nvSpPr>
          <p:spPr bwMode="auto">
            <a:xfrm>
              <a:off x="3724" y="93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2" y="11"/>
                  </a:lnTo>
                  <a:lnTo>
                    <a:pt x="204" y="23"/>
                  </a:lnTo>
                  <a:lnTo>
                    <a:pt x="225" y="39"/>
                  </a:lnTo>
                  <a:lnTo>
                    <a:pt x="241" y="58"/>
                  </a:lnTo>
                  <a:lnTo>
                    <a:pt x="252" y="81"/>
                  </a:lnTo>
                  <a:lnTo>
                    <a:pt x="260" y="106"/>
                  </a:lnTo>
                  <a:lnTo>
                    <a:pt x="263" y="132"/>
                  </a:lnTo>
                  <a:lnTo>
                    <a:pt x="260" y="158"/>
                  </a:lnTo>
                  <a:lnTo>
                    <a:pt x="252" y="183"/>
                  </a:lnTo>
                  <a:lnTo>
                    <a:pt x="241" y="205"/>
                  </a:lnTo>
                  <a:lnTo>
                    <a:pt x="225" y="225"/>
                  </a:lnTo>
                  <a:lnTo>
                    <a:pt x="204" y="241"/>
                  </a:lnTo>
                  <a:lnTo>
                    <a:pt x="182" y="253"/>
                  </a:lnTo>
                  <a:lnTo>
                    <a:pt x="158" y="260"/>
                  </a:lnTo>
                  <a:lnTo>
                    <a:pt x="131" y="262"/>
                  </a:lnTo>
                  <a:lnTo>
                    <a:pt x="104" y="260"/>
                  </a:lnTo>
                  <a:lnTo>
                    <a:pt x="80" y="253"/>
                  </a:lnTo>
                  <a:lnTo>
                    <a:pt x="58" y="241"/>
                  </a:lnTo>
                  <a:lnTo>
                    <a:pt x="39" y="225"/>
                  </a:lnTo>
                  <a:lnTo>
                    <a:pt x="23" y="205"/>
                  </a:lnTo>
                  <a:lnTo>
                    <a:pt x="10" y="183"/>
                  </a:lnTo>
                  <a:lnTo>
                    <a:pt x="2" y="158"/>
                  </a:lnTo>
                  <a:lnTo>
                    <a:pt x="0" y="132"/>
                  </a:lnTo>
                  <a:lnTo>
                    <a:pt x="2" y="106"/>
                  </a:lnTo>
                  <a:lnTo>
                    <a:pt x="10" y="81"/>
                  </a:lnTo>
                  <a:lnTo>
                    <a:pt x="23" y="58"/>
                  </a:lnTo>
                  <a:lnTo>
                    <a:pt x="39" y="39"/>
                  </a:lnTo>
                  <a:lnTo>
                    <a:pt x="58" y="23"/>
                  </a:lnTo>
                  <a:lnTo>
                    <a:pt x="80" y="11"/>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09" name="Freeform 108"/>
            <p:cNvSpPr>
              <a:spLocks noChangeArrowheads="1"/>
            </p:cNvSpPr>
            <p:nvPr/>
          </p:nvSpPr>
          <p:spPr bwMode="auto">
            <a:xfrm>
              <a:off x="3724" y="988"/>
              <a:ext cx="28" cy="28"/>
            </a:xfrm>
            <a:custGeom>
              <a:avLst/>
              <a:gdLst>
                <a:gd name="T0" fmla="*/ 0 w 263"/>
                <a:gd name="T1" fmla="*/ 0 h 264"/>
                <a:gd name="T2" fmla="*/ 0 w 263"/>
                <a:gd name="T3" fmla="*/ 0 h 264"/>
                <a:gd name="T4" fmla="*/ 0 w 263"/>
                <a:gd name="T5" fmla="*/ 0 h 264"/>
                <a:gd name="T6" fmla="*/ 0 w 263"/>
                <a:gd name="T7" fmla="*/ 0 h 264"/>
                <a:gd name="T8" fmla="*/ 0 w 263"/>
                <a:gd name="T9" fmla="*/ 0 h 264"/>
                <a:gd name="T10" fmla="*/ 0 w 263"/>
                <a:gd name="T11" fmla="*/ 0 h 264"/>
                <a:gd name="T12" fmla="*/ 0 w 263"/>
                <a:gd name="T13" fmla="*/ 0 h 264"/>
                <a:gd name="T14" fmla="*/ 0 w 263"/>
                <a:gd name="T15" fmla="*/ 0 h 264"/>
                <a:gd name="T16" fmla="*/ 0 w 263"/>
                <a:gd name="T17" fmla="*/ 0 h 264"/>
                <a:gd name="T18" fmla="*/ 0 w 263"/>
                <a:gd name="T19" fmla="*/ 0 h 264"/>
                <a:gd name="T20" fmla="*/ 0 w 263"/>
                <a:gd name="T21" fmla="*/ 0 h 264"/>
                <a:gd name="T22" fmla="*/ 0 w 263"/>
                <a:gd name="T23" fmla="*/ 0 h 264"/>
                <a:gd name="T24" fmla="*/ 0 w 263"/>
                <a:gd name="T25" fmla="*/ 0 h 264"/>
                <a:gd name="T26" fmla="*/ 0 w 263"/>
                <a:gd name="T27" fmla="*/ 0 h 264"/>
                <a:gd name="T28" fmla="*/ 0 w 263"/>
                <a:gd name="T29" fmla="*/ 0 h 264"/>
                <a:gd name="T30" fmla="*/ 0 w 263"/>
                <a:gd name="T31" fmla="*/ 0 h 264"/>
                <a:gd name="T32" fmla="*/ 0 w 263"/>
                <a:gd name="T33" fmla="*/ 0 h 264"/>
                <a:gd name="T34" fmla="*/ 0 w 263"/>
                <a:gd name="T35" fmla="*/ 0 h 264"/>
                <a:gd name="T36" fmla="*/ 0 w 263"/>
                <a:gd name="T37" fmla="*/ 0 h 264"/>
                <a:gd name="T38" fmla="*/ 0 w 263"/>
                <a:gd name="T39" fmla="*/ 0 h 264"/>
                <a:gd name="T40" fmla="*/ 0 w 263"/>
                <a:gd name="T41" fmla="*/ 0 h 264"/>
                <a:gd name="T42" fmla="*/ 0 w 263"/>
                <a:gd name="T43" fmla="*/ 0 h 264"/>
                <a:gd name="T44" fmla="*/ 0 w 263"/>
                <a:gd name="T45" fmla="*/ 0 h 264"/>
                <a:gd name="T46" fmla="*/ 0 w 263"/>
                <a:gd name="T47" fmla="*/ 0 h 264"/>
                <a:gd name="T48" fmla="*/ 0 w 263"/>
                <a:gd name="T49" fmla="*/ 0 h 264"/>
                <a:gd name="T50" fmla="*/ 0 w 263"/>
                <a:gd name="T51" fmla="*/ 0 h 264"/>
                <a:gd name="T52" fmla="*/ 0 w 263"/>
                <a:gd name="T53" fmla="*/ 0 h 264"/>
                <a:gd name="T54" fmla="*/ 0 w 263"/>
                <a:gd name="T55" fmla="*/ 0 h 264"/>
                <a:gd name="T56" fmla="*/ 0 w 263"/>
                <a:gd name="T57" fmla="*/ 0 h 264"/>
                <a:gd name="T58" fmla="*/ 0 w 263"/>
                <a:gd name="T59" fmla="*/ 0 h 264"/>
                <a:gd name="T60" fmla="*/ 0 w 263"/>
                <a:gd name="T61" fmla="*/ 0 h 264"/>
                <a:gd name="T62" fmla="*/ 0 w 263"/>
                <a:gd name="T63" fmla="*/ 0 h 264"/>
                <a:gd name="T64" fmla="*/ 0 w 263"/>
                <a:gd name="T65" fmla="*/ 0 h 26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4"/>
                <a:gd name="T101" fmla="*/ 263 w 263"/>
                <a:gd name="T102" fmla="*/ 264 h 26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4">
                  <a:moveTo>
                    <a:pt x="131" y="0"/>
                  </a:moveTo>
                  <a:lnTo>
                    <a:pt x="158" y="3"/>
                  </a:lnTo>
                  <a:lnTo>
                    <a:pt x="182" y="10"/>
                  </a:lnTo>
                  <a:lnTo>
                    <a:pt x="204" y="23"/>
                  </a:lnTo>
                  <a:lnTo>
                    <a:pt x="225" y="39"/>
                  </a:lnTo>
                  <a:lnTo>
                    <a:pt x="241" y="58"/>
                  </a:lnTo>
                  <a:lnTo>
                    <a:pt x="252" y="81"/>
                  </a:lnTo>
                  <a:lnTo>
                    <a:pt x="260" y="105"/>
                  </a:lnTo>
                  <a:lnTo>
                    <a:pt x="263" y="132"/>
                  </a:lnTo>
                  <a:lnTo>
                    <a:pt x="260" y="157"/>
                  </a:lnTo>
                  <a:lnTo>
                    <a:pt x="252" y="182"/>
                  </a:lnTo>
                  <a:lnTo>
                    <a:pt x="241" y="205"/>
                  </a:lnTo>
                  <a:lnTo>
                    <a:pt x="225" y="224"/>
                  </a:lnTo>
                  <a:lnTo>
                    <a:pt x="204" y="240"/>
                  </a:lnTo>
                  <a:lnTo>
                    <a:pt x="182" y="253"/>
                  </a:lnTo>
                  <a:lnTo>
                    <a:pt x="158" y="260"/>
                  </a:lnTo>
                  <a:lnTo>
                    <a:pt x="131" y="264"/>
                  </a:lnTo>
                  <a:lnTo>
                    <a:pt x="104" y="260"/>
                  </a:lnTo>
                  <a:lnTo>
                    <a:pt x="80" y="253"/>
                  </a:lnTo>
                  <a:lnTo>
                    <a:pt x="58" y="240"/>
                  </a:lnTo>
                  <a:lnTo>
                    <a:pt x="39" y="224"/>
                  </a:lnTo>
                  <a:lnTo>
                    <a:pt x="23" y="205"/>
                  </a:lnTo>
                  <a:lnTo>
                    <a:pt x="10" y="182"/>
                  </a:lnTo>
                  <a:lnTo>
                    <a:pt x="2" y="157"/>
                  </a:lnTo>
                  <a:lnTo>
                    <a:pt x="0" y="132"/>
                  </a:lnTo>
                  <a:lnTo>
                    <a:pt x="2" y="105"/>
                  </a:lnTo>
                  <a:lnTo>
                    <a:pt x="10" y="81"/>
                  </a:lnTo>
                  <a:lnTo>
                    <a:pt x="23" y="58"/>
                  </a:lnTo>
                  <a:lnTo>
                    <a:pt x="39" y="39"/>
                  </a:lnTo>
                  <a:lnTo>
                    <a:pt x="58" y="23"/>
                  </a:lnTo>
                  <a:lnTo>
                    <a:pt x="80"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grpSp>
      <p:grpSp>
        <p:nvGrpSpPr>
          <p:cNvPr id="110" name="Group 118"/>
          <p:cNvGrpSpPr>
            <a:grpSpLocks/>
          </p:cNvGrpSpPr>
          <p:nvPr/>
        </p:nvGrpSpPr>
        <p:grpSpPr bwMode="auto">
          <a:xfrm>
            <a:off x="7841892" y="2387180"/>
            <a:ext cx="351924" cy="273718"/>
            <a:chOff x="178" y="2499"/>
            <a:chExt cx="383" cy="327"/>
          </a:xfrm>
          <a:solidFill>
            <a:schemeClr val="accent2"/>
          </a:solidFill>
        </p:grpSpPr>
        <p:sp>
          <p:nvSpPr>
            <p:cNvPr id="111" name="Freeform 119"/>
            <p:cNvSpPr>
              <a:spLocks noChangeArrowheads="1"/>
            </p:cNvSpPr>
            <p:nvPr/>
          </p:nvSpPr>
          <p:spPr bwMode="auto">
            <a:xfrm>
              <a:off x="309" y="2580"/>
              <a:ext cx="121" cy="246"/>
            </a:xfrm>
            <a:custGeom>
              <a:avLst/>
              <a:gdLst>
                <a:gd name="T0" fmla="*/ 0 w 1102"/>
                <a:gd name="T1" fmla="*/ 0 h 2227"/>
                <a:gd name="T2" fmla="*/ 0 w 1102"/>
                <a:gd name="T3" fmla="*/ 0 h 2227"/>
                <a:gd name="T4" fmla="*/ 0 w 1102"/>
                <a:gd name="T5" fmla="*/ 0 h 2227"/>
                <a:gd name="T6" fmla="*/ 0 w 1102"/>
                <a:gd name="T7" fmla="*/ 0 h 2227"/>
                <a:gd name="T8" fmla="*/ 0 w 1102"/>
                <a:gd name="T9" fmla="*/ 0 h 2227"/>
                <a:gd name="T10" fmla="*/ 0 w 1102"/>
                <a:gd name="T11" fmla="*/ 0 h 2227"/>
                <a:gd name="T12" fmla="*/ 0 w 1102"/>
                <a:gd name="T13" fmla="*/ 0 h 2227"/>
                <a:gd name="T14" fmla="*/ 0 w 1102"/>
                <a:gd name="T15" fmla="*/ 0 h 2227"/>
                <a:gd name="T16" fmla="*/ 0 w 1102"/>
                <a:gd name="T17" fmla="*/ 0 h 2227"/>
                <a:gd name="T18" fmla="*/ 0 w 1102"/>
                <a:gd name="T19" fmla="*/ 0 h 2227"/>
                <a:gd name="T20" fmla="*/ 0 w 1102"/>
                <a:gd name="T21" fmla="*/ 0 h 2227"/>
                <a:gd name="T22" fmla="*/ 0 w 1102"/>
                <a:gd name="T23" fmla="*/ 0 h 2227"/>
                <a:gd name="T24" fmla="*/ 0 w 1102"/>
                <a:gd name="T25" fmla="*/ 0 h 2227"/>
                <a:gd name="T26" fmla="*/ 0 w 1102"/>
                <a:gd name="T27" fmla="*/ 0 h 2227"/>
                <a:gd name="T28" fmla="*/ 0 w 1102"/>
                <a:gd name="T29" fmla="*/ 0 h 2227"/>
                <a:gd name="T30" fmla="*/ 0 w 1102"/>
                <a:gd name="T31" fmla="*/ 0 h 2227"/>
                <a:gd name="T32" fmla="*/ 0 w 1102"/>
                <a:gd name="T33" fmla="*/ 0 h 2227"/>
                <a:gd name="T34" fmla="*/ 0 w 1102"/>
                <a:gd name="T35" fmla="*/ 0 h 2227"/>
                <a:gd name="T36" fmla="*/ 0 w 1102"/>
                <a:gd name="T37" fmla="*/ 0 h 2227"/>
                <a:gd name="T38" fmla="*/ 0 w 1102"/>
                <a:gd name="T39" fmla="*/ 0 h 2227"/>
                <a:gd name="T40" fmla="*/ 0 w 1102"/>
                <a:gd name="T41" fmla="*/ 0 h 2227"/>
                <a:gd name="T42" fmla="*/ 0 w 1102"/>
                <a:gd name="T43" fmla="*/ 0 h 2227"/>
                <a:gd name="T44" fmla="*/ 0 w 1102"/>
                <a:gd name="T45" fmla="*/ 0 h 2227"/>
                <a:gd name="T46" fmla="*/ 0 w 1102"/>
                <a:gd name="T47" fmla="*/ 0 h 2227"/>
                <a:gd name="T48" fmla="*/ 0 w 1102"/>
                <a:gd name="T49" fmla="*/ 0 h 2227"/>
                <a:gd name="T50" fmla="*/ 0 w 1102"/>
                <a:gd name="T51" fmla="*/ 0 h 2227"/>
                <a:gd name="T52" fmla="*/ 0 w 1102"/>
                <a:gd name="T53" fmla="*/ 0 h 2227"/>
                <a:gd name="T54" fmla="*/ 0 w 1102"/>
                <a:gd name="T55" fmla="*/ 0 h 2227"/>
                <a:gd name="T56" fmla="*/ 0 w 1102"/>
                <a:gd name="T57" fmla="*/ 0 h 2227"/>
                <a:gd name="T58" fmla="*/ 0 w 1102"/>
                <a:gd name="T59" fmla="*/ 0 h 2227"/>
                <a:gd name="T60" fmla="*/ 0 w 1102"/>
                <a:gd name="T61" fmla="*/ 0 h 2227"/>
                <a:gd name="T62" fmla="*/ 0 w 1102"/>
                <a:gd name="T63" fmla="*/ 0 h 2227"/>
                <a:gd name="T64" fmla="*/ 0 w 1102"/>
                <a:gd name="T65" fmla="*/ 0 h 2227"/>
                <a:gd name="T66" fmla="*/ 0 w 1102"/>
                <a:gd name="T67" fmla="*/ 0 h 2227"/>
                <a:gd name="T68" fmla="*/ 0 w 1102"/>
                <a:gd name="T69" fmla="*/ 0 h 2227"/>
                <a:gd name="T70" fmla="*/ 0 w 1102"/>
                <a:gd name="T71" fmla="*/ 0 h 2227"/>
                <a:gd name="T72" fmla="*/ 0 w 1102"/>
                <a:gd name="T73" fmla="*/ 0 h 2227"/>
                <a:gd name="T74" fmla="*/ 0 w 1102"/>
                <a:gd name="T75" fmla="*/ 0 h 2227"/>
                <a:gd name="T76" fmla="*/ 0 w 1102"/>
                <a:gd name="T77" fmla="*/ 0 h 2227"/>
                <a:gd name="T78" fmla="*/ 0 w 1102"/>
                <a:gd name="T79" fmla="*/ 0 h 2227"/>
                <a:gd name="T80" fmla="*/ 0 w 1102"/>
                <a:gd name="T81" fmla="*/ 0 h 2227"/>
                <a:gd name="T82" fmla="*/ 0 w 1102"/>
                <a:gd name="T83" fmla="*/ 0 h 2227"/>
                <a:gd name="T84" fmla="*/ 0 w 1102"/>
                <a:gd name="T85" fmla="*/ 0 h 2227"/>
                <a:gd name="T86" fmla="*/ 0 w 1102"/>
                <a:gd name="T87" fmla="*/ 0 h 2227"/>
                <a:gd name="T88" fmla="*/ 0 w 1102"/>
                <a:gd name="T89" fmla="*/ 0 h 2227"/>
                <a:gd name="T90" fmla="*/ 0 w 1102"/>
                <a:gd name="T91" fmla="*/ 0 h 2227"/>
                <a:gd name="T92" fmla="*/ 0 w 1102"/>
                <a:gd name="T93" fmla="*/ 0 h 2227"/>
                <a:gd name="T94" fmla="*/ 0 w 1102"/>
                <a:gd name="T95" fmla="*/ 0 h 2227"/>
                <a:gd name="T96" fmla="*/ 0 w 1102"/>
                <a:gd name="T97" fmla="*/ 0 h 2227"/>
                <a:gd name="T98" fmla="*/ 0 w 1102"/>
                <a:gd name="T99" fmla="*/ 0 h 2227"/>
                <a:gd name="T100" fmla="*/ 0 w 1102"/>
                <a:gd name="T101" fmla="*/ 0 h 2227"/>
                <a:gd name="T102" fmla="*/ 0 w 1102"/>
                <a:gd name="T103" fmla="*/ 0 h 2227"/>
                <a:gd name="T104" fmla="*/ 0 w 1102"/>
                <a:gd name="T105" fmla="*/ 0 h 2227"/>
                <a:gd name="T106" fmla="*/ 0 w 1102"/>
                <a:gd name="T107" fmla="*/ 0 h 2227"/>
                <a:gd name="T108" fmla="*/ 0 w 1102"/>
                <a:gd name="T109" fmla="*/ 0 h 2227"/>
                <a:gd name="T110" fmla="*/ 0 w 1102"/>
                <a:gd name="T111" fmla="*/ 0 h 2227"/>
                <a:gd name="T112" fmla="*/ 0 w 1102"/>
                <a:gd name="T113" fmla="*/ 0 h 2227"/>
                <a:gd name="T114" fmla="*/ 0 w 1102"/>
                <a:gd name="T115" fmla="*/ 0 h 2227"/>
                <a:gd name="T116" fmla="*/ 0 w 1102"/>
                <a:gd name="T117" fmla="*/ 0 h 2227"/>
                <a:gd name="T118" fmla="*/ 0 w 1102"/>
                <a:gd name="T119" fmla="*/ 0 h 2227"/>
                <a:gd name="T120" fmla="*/ 0 w 1102"/>
                <a:gd name="T121" fmla="*/ 0 h 2227"/>
                <a:gd name="T122" fmla="*/ 0 w 1102"/>
                <a:gd name="T123" fmla="*/ 0 h 2227"/>
                <a:gd name="T124" fmla="*/ 0 w 1102"/>
                <a:gd name="T125" fmla="*/ 0 h 22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02"/>
                <a:gd name="T190" fmla="*/ 0 h 2227"/>
                <a:gd name="T191" fmla="*/ 1102 w 1102"/>
                <a:gd name="T192" fmla="*/ 2227 h 22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02" h="2227">
                  <a:moveTo>
                    <a:pt x="202" y="0"/>
                  </a:moveTo>
                  <a:lnTo>
                    <a:pt x="900" y="0"/>
                  </a:lnTo>
                  <a:lnTo>
                    <a:pt x="935" y="3"/>
                  </a:lnTo>
                  <a:lnTo>
                    <a:pt x="970" y="13"/>
                  </a:lnTo>
                  <a:lnTo>
                    <a:pt x="1001" y="28"/>
                  </a:lnTo>
                  <a:lnTo>
                    <a:pt x="1030" y="48"/>
                  </a:lnTo>
                  <a:lnTo>
                    <a:pt x="1054" y="72"/>
                  </a:lnTo>
                  <a:lnTo>
                    <a:pt x="1074" y="101"/>
                  </a:lnTo>
                  <a:lnTo>
                    <a:pt x="1089" y="132"/>
                  </a:lnTo>
                  <a:lnTo>
                    <a:pt x="1099" y="167"/>
                  </a:lnTo>
                  <a:lnTo>
                    <a:pt x="1102" y="202"/>
                  </a:lnTo>
                  <a:lnTo>
                    <a:pt x="1102" y="1151"/>
                  </a:lnTo>
                  <a:lnTo>
                    <a:pt x="1099" y="1188"/>
                  </a:lnTo>
                  <a:lnTo>
                    <a:pt x="1089" y="1221"/>
                  </a:lnTo>
                  <a:lnTo>
                    <a:pt x="1074" y="1253"/>
                  </a:lnTo>
                  <a:lnTo>
                    <a:pt x="1054" y="1281"/>
                  </a:lnTo>
                  <a:lnTo>
                    <a:pt x="1030" y="1306"/>
                  </a:lnTo>
                  <a:lnTo>
                    <a:pt x="1001" y="1326"/>
                  </a:lnTo>
                  <a:lnTo>
                    <a:pt x="970" y="1341"/>
                  </a:lnTo>
                  <a:lnTo>
                    <a:pt x="935" y="1350"/>
                  </a:lnTo>
                  <a:lnTo>
                    <a:pt x="900" y="1353"/>
                  </a:lnTo>
                  <a:lnTo>
                    <a:pt x="899" y="1353"/>
                  </a:lnTo>
                  <a:lnTo>
                    <a:pt x="899" y="2025"/>
                  </a:lnTo>
                  <a:lnTo>
                    <a:pt x="896" y="2062"/>
                  </a:lnTo>
                  <a:lnTo>
                    <a:pt x="886" y="2096"/>
                  </a:lnTo>
                  <a:lnTo>
                    <a:pt x="871" y="2127"/>
                  </a:lnTo>
                  <a:lnTo>
                    <a:pt x="852" y="2156"/>
                  </a:lnTo>
                  <a:lnTo>
                    <a:pt x="829" y="2180"/>
                  </a:lnTo>
                  <a:lnTo>
                    <a:pt x="801" y="2200"/>
                  </a:lnTo>
                  <a:lnTo>
                    <a:pt x="770" y="2214"/>
                  </a:lnTo>
                  <a:lnTo>
                    <a:pt x="737" y="2224"/>
                  </a:lnTo>
                  <a:lnTo>
                    <a:pt x="702" y="2227"/>
                  </a:lnTo>
                  <a:lnTo>
                    <a:pt x="400" y="2227"/>
                  </a:lnTo>
                  <a:lnTo>
                    <a:pt x="365" y="2224"/>
                  </a:lnTo>
                  <a:lnTo>
                    <a:pt x="332" y="2214"/>
                  </a:lnTo>
                  <a:lnTo>
                    <a:pt x="301" y="2200"/>
                  </a:lnTo>
                  <a:lnTo>
                    <a:pt x="273" y="2180"/>
                  </a:lnTo>
                  <a:lnTo>
                    <a:pt x="250" y="2156"/>
                  </a:lnTo>
                  <a:lnTo>
                    <a:pt x="231" y="2127"/>
                  </a:lnTo>
                  <a:lnTo>
                    <a:pt x="216" y="2096"/>
                  </a:lnTo>
                  <a:lnTo>
                    <a:pt x="206" y="2062"/>
                  </a:lnTo>
                  <a:lnTo>
                    <a:pt x="203" y="2025"/>
                  </a:lnTo>
                  <a:lnTo>
                    <a:pt x="203" y="1353"/>
                  </a:lnTo>
                  <a:lnTo>
                    <a:pt x="202" y="1353"/>
                  </a:lnTo>
                  <a:lnTo>
                    <a:pt x="167" y="1350"/>
                  </a:lnTo>
                  <a:lnTo>
                    <a:pt x="132" y="1341"/>
                  </a:lnTo>
                  <a:lnTo>
                    <a:pt x="101" y="1326"/>
                  </a:lnTo>
                  <a:lnTo>
                    <a:pt x="72" y="1306"/>
                  </a:lnTo>
                  <a:lnTo>
                    <a:pt x="48" y="1281"/>
                  </a:lnTo>
                  <a:lnTo>
                    <a:pt x="28" y="1253"/>
                  </a:lnTo>
                  <a:lnTo>
                    <a:pt x="13" y="1221"/>
                  </a:lnTo>
                  <a:lnTo>
                    <a:pt x="3" y="1188"/>
                  </a:lnTo>
                  <a:lnTo>
                    <a:pt x="0" y="1151"/>
                  </a:lnTo>
                  <a:lnTo>
                    <a:pt x="0" y="202"/>
                  </a:lnTo>
                  <a:lnTo>
                    <a:pt x="3" y="167"/>
                  </a:lnTo>
                  <a:lnTo>
                    <a:pt x="13" y="132"/>
                  </a:lnTo>
                  <a:lnTo>
                    <a:pt x="28" y="101"/>
                  </a:lnTo>
                  <a:lnTo>
                    <a:pt x="48" y="72"/>
                  </a:lnTo>
                  <a:lnTo>
                    <a:pt x="72" y="48"/>
                  </a:lnTo>
                  <a:lnTo>
                    <a:pt x="101" y="28"/>
                  </a:lnTo>
                  <a:lnTo>
                    <a:pt x="132" y="13"/>
                  </a:lnTo>
                  <a:lnTo>
                    <a:pt x="167" y="3"/>
                  </a:lnTo>
                  <a:lnTo>
                    <a:pt x="202" y="0"/>
                  </a:lnTo>
                  <a:close/>
                </a:path>
              </a:pathLst>
            </a:custGeom>
            <a:grpFill/>
            <a:ln w="9525">
              <a:noFill/>
              <a:round/>
              <a:headEnd/>
              <a:tailEnd/>
            </a:ln>
          </p:spPr>
          <p:txBody>
            <a:bodyPr wrap="none" anchor="ctr"/>
            <a:lstStyle/>
            <a:p>
              <a:endParaRPr lang="en-GB" sz="2200">
                <a:solidFill>
                  <a:srgbClr val="000000"/>
                </a:solidFill>
              </a:endParaRPr>
            </a:p>
          </p:txBody>
        </p:sp>
        <p:sp>
          <p:nvSpPr>
            <p:cNvPr id="112" name="Freeform 120"/>
            <p:cNvSpPr>
              <a:spLocks noChangeArrowheads="1"/>
            </p:cNvSpPr>
            <p:nvPr/>
          </p:nvSpPr>
          <p:spPr bwMode="auto">
            <a:xfrm>
              <a:off x="333" y="2499"/>
              <a:ext cx="73" cy="72"/>
            </a:xfrm>
            <a:custGeom>
              <a:avLst/>
              <a:gdLst>
                <a:gd name="T0" fmla="*/ 0 w 660"/>
                <a:gd name="T1" fmla="*/ 0 h 660"/>
                <a:gd name="T2" fmla="*/ 0 w 660"/>
                <a:gd name="T3" fmla="*/ 0 h 660"/>
                <a:gd name="T4" fmla="*/ 0 w 660"/>
                <a:gd name="T5" fmla="*/ 0 h 660"/>
                <a:gd name="T6" fmla="*/ 0 w 660"/>
                <a:gd name="T7" fmla="*/ 0 h 660"/>
                <a:gd name="T8" fmla="*/ 0 w 660"/>
                <a:gd name="T9" fmla="*/ 0 h 660"/>
                <a:gd name="T10" fmla="*/ 0 w 660"/>
                <a:gd name="T11" fmla="*/ 0 h 660"/>
                <a:gd name="T12" fmla="*/ 0 w 660"/>
                <a:gd name="T13" fmla="*/ 0 h 660"/>
                <a:gd name="T14" fmla="*/ 0 w 660"/>
                <a:gd name="T15" fmla="*/ 0 h 660"/>
                <a:gd name="T16" fmla="*/ 0 w 660"/>
                <a:gd name="T17" fmla="*/ 0 h 660"/>
                <a:gd name="T18" fmla="*/ 0 w 660"/>
                <a:gd name="T19" fmla="*/ 0 h 660"/>
                <a:gd name="T20" fmla="*/ 0 w 660"/>
                <a:gd name="T21" fmla="*/ 0 h 660"/>
                <a:gd name="T22" fmla="*/ 0 w 660"/>
                <a:gd name="T23" fmla="*/ 0 h 660"/>
                <a:gd name="T24" fmla="*/ 0 w 660"/>
                <a:gd name="T25" fmla="*/ 0 h 660"/>
                <a:gd name="T26" fmla="*/ 0 w 660"/>
                <a:gd name="T27" fmla="*/ 0 h 660"/>
                <a:gd name="T28" fmla="*/ 0 w 660"/>
                <a:gd name="T29" fmla="*/ 0 h 660"/>
                <a:gd name="T30" fmla="*/ 0 w 660"/>
                <a:gd name="T31" fmla="*/ 0 h 660"/>
                <a:gd name="T32" fmla="*/ 0 w 660"/>
                <a:gd name="T33" fmla="*/ 0 h 660"/>
                <a:gd name="T34" fmla="*/ 0 w 660"/>
                <a:gd name="T35" fmla="*/ 0 h 660"/>
                <a:gd name="T36" fmla="*/ 0 w 660"/>
                <a:gd name="T37" fmla="*/ 0 h 660"/>
                <a:gd name="T38" fmla="*/ 0 w 660"/>
                <a:gd name="T39" fmla="*/ 0 h 660"/>
                <a:gd name="T40" fmla="*/ 0 w 660"/>
                <a:gd name="T41" fmla="*/ 0 h 660"/>
                <a:gd name="T42" fmla="*/ 0 w 660"/>
                <a:gd name="T43" fmla="*/ 0 h 660"/>
                <a:gd name="T44" fmla="*/ 0 w 660"/>
                <a:gd name="T45" fmla="*/ 0 h 660"/>
                <a:gd name="T46" fmla="*/ 0 w 660"/>
                <a:gd name="T47" fmla="*/ 0 h 660"/>
                <a:gd name="T48" fmla="*/ 0 w 660"/>
                <a:gd name="T49" fmla="*/ 0 h 660"/>
                <a:gd name="T50" fmla="*/ 0 w 660"/>
                <a:gd name="T51" fmla="*/ 0 h 660"/>
                <a:gd name="T52" fmla="*/ 0 w 660"/>
                <a:gd name="T53" fmla="*/ 0 h 660"/>
                <a:gd name="T54" fmla="*/ 0 w 660"/>
                <a:gd name="T55" fmla="*/ 0 h 660"/>
                <a:gd name="T56" fmla="*/ 0 w 660"/>
                <a:gd name="T57" fmla="*/ 0 h 660"/>
                <a:gd name="T58" fmla="*/ 0 w 660"/>
                <a:gd name="T59" fmla="*/ 0 h 660"/>
                <a:gd name="T60" fmla="*/ 0 w 660"/>
                <a:gd name="T61" fmla="*/ 0 h 660"/>
                <a:gd name="T62" fmla="*/ 0 w 660"/>
                <a:gd name="T63" fmla="*/ 0 h 660"/>
                <a:gd name="T64" fmla="*/ 0 w 660"/>
                <a:gd name="T65" fmla="*/ 0 h 660"/>
                <a:gd name="T66" fmla="*/ 0 w 660"/>
                <a:gd name="T67" fmla="*/ 0 h 660"/>
                <a:gd name="T68" fmla="*/ 0 w 660"/>
                <a:gd name="T69" fmla="*/ 0 h 660"/>
                <a:gd name="T70" fmla="*/ 0 w 660"/>
                <a:gd name="T71" fmla="*/ 0 h 660"/>
                <a:gd name="T72" fmla="*/ 0 w 660"/>
                <a:gd name="T73" fmla="*/ 0 h 660"/>
                <a:gd name="T74" fmla="*/ 0 w 660"/>
                <a:gd name="T75" fmla="*/ 0 h 660"/>
                <a:gd name="T76" fmla="*/ 0 w 660"/>
                <a:gd name="T77" fmla="*/ 0 h 660"/>
                <a:gd name="T78" fmla="*/ 0 w 660"/>
                <a:gd name="T79" fmla="*/ 0 h 660"/>
                <a:gd name="T80" fmla="*/ 0 w 660"/>
                <a:gd name="T81" fmla="*/ 0 h 660"/>
                <a:gd name="T82" fmla="*/ 0 w 660"/>
                <a:gd name="T83" fmla="*/ 0 h 660"/>
                <a:gd name="T84" fmla="*/ 0 w 660"/>
                <a:gd name="T85" fmla="*/ 0 h 660"/>
                <a:gd name="T86" fmla="*/ 0 w 660"/>
                <a:gd name="T87" fmla="*/ 0 h 660"/>
                <a:gd name="T88" fmla="*/ 0 w 660"/>
                <a:gd name="T89" fmla="*/ 0 h 660"/>
                <a:gd name="T90" fmla="*/ 0 w 660"/>
                <a:gd name="T91" fmla="*/ 0 h 660"/>
                <a:gd name="T92" fmla="*/ 0 w 660"/>
                <a:gd name="T93" fmla="*/ 0 h 660"/>
                <a:gd name="T94" fmla="*/ 0 w 660"/>
                <a:gd name="T95" fmla="*/ 0 h 660"/>
                <a:gd name="T96" fmla="*/ 0 w 660"/>
                <a:gd name="T97" fmla="*/ 0 h 6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0"/>
                <a:gd name="T148" fmla="*/ 0 h 660"/>
                <a:gd name="T149" fmla="*/ 660 w 660"/>
                <a:gd name="T150" fmla="*/ 660 h 6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0" h="660">
                  <a:moveTo>
                    <a:pt x="330" y="0"/>
                  </a:moveTo>
                  <a:lnTo>
                    <a:pt x="375" y="3"/>
                  </a:lnTo>
                  <a:lnTo>
                    <a:pt x="418" y="12"/>
                  </a:lnTo>
                  <a:lnTo>
                    <a:pt x="459" y="25"/>
                  </a:lnTo>
                  <a:lnTo>
                    <a:pt x="497" y="45"/>
                  </a:lnTo>
                  <a:lnTo>
                    <a:pt x="532" y="68"/>
                  </a:lnTo>
                  <a:lnTo>
                    <a:pt x="564" y="97"/>
                  </a:lnTo>
                  <a:lnTo>
                    <a:pt x="592" y="128"/>
                  </a:lnTo>
                  <a:lnTo>
                    <a:pt x="615" y="164"/>
                  </a:lnTo>
                  <a:lnTo>
                    <a:pt x="634" y="201"/>
                  </a:lnTo>
                  <a:lnTo>
                    <a:pt x="648" y="242"/>
                  </a:lnTo>
                  <a:lnTo>
                    <a:pt x="657" y="285"/>
                  </a:lnTo>
                  <a:lnTo>
                    <a:pt x="660" y="330"/>
                  </a:lnTo>
                  <a:lnTo>
                    <a:pt x="657" y="375"/>
                  </a:lnTo>
                  <a:lnTo>
                    <a:pt x="648" y="418"/>
                  </a:lnTo>
                  <a:lnTo>
                    <a:pt x="634" y="459"/>
                  </a:lnTo>
                  <a:lnTo>
                    <a:pt x="615" y="497"/>
                  </a:lnTo>
                  <a:lnTo>
                    <a:pt x="592" y="532"/>
                  </a:lnTo>
                  <a:lnTo>
                    <a:pt x="564" y="564"/>
                  </a:lnTo>
                  <a:lnTo>
                    <a:pt x="532" y="591"/>
                  </a:lnTo>
                  <a:lnTo>
                    <a:pt x="497" y="615"/>
                  </a:lnTo>
                  <a:lnTo>
                    <a:pt x="459" y="634"/>
                  </a:lnTo>
                  <a:lnTo>
                    <a:pt x="418" y="649"/>
                  </a:lnTo>
                  <a:lnTo>
                    <a:pt x="375" y="657"/>
                  </a:lnTo>
                  <a:lnTo>
                    <a:pt x="330" y="660"/>
                  </a:lnTo>
                  <a:lnTo>
                    <a:pt x="285" y="657"/>
                  </a:lnTo>
                  <a:lnTo>
                    <a:pt x="242" y="649"/>
                  </a:lnTo>
                  <a:lnTo>
                    <a:pt x="201" y="634"/>
                  </a:lnTo>
                  <a:lnTo>
                    <a:pt x="163" y="615"/>
                  </a:lnTo>
                  <a:lnTo>
                    <a:pt x="128" y="591"/>
                  </a:lnTo>
                  <a:lnTo>
                    <a:pt x="96" y="564"/>
                  </a:lnTo>
                  <a:lnTo>
                    <a:pt x="68" y="532"/>
                  </a:lnTo>
                  <a:lnTo>
                    <a:pt x="45" y="497"/>
                  </a:lnTo>
                  <a:lnTo>
                    <a:pt x="26" y="459"/>
                  </a:lnTo>
                  <a:lnTo>
                    <a:pt x="12" y="418"/>
                  </a:lnTo>
                  <a:lnTo>
                    <a:pt x="3" y="375"/>
                  </a:lnTo>
                  <a:lnTo>
                    <a:pt x="0" y="330"/>
                  </a:lnTo>
                  <a:lnTo>
                    <a:pt x="3" y="285"/>
                  </a:lnTo>
                  <a:lnTo>
                    <a:pt x="12" y="242"/>
                  </a:lnTo>
                  <a:lnTo>
                    <a:pt x="26" y="201"/>
                  </a:lnTo>
                  <a:lnTo>
                    <a:pt x="45" y="164"/>
                  </a:lnTo>
                  <a:lnTo>
                    <a:pt x="68" y="128"/>
                  </a:lnTo>
                  <a:lnTo>
                    <a:pt x="96" y="97"/>
                  </a:lnTo>
                  <a:lnTo>
                    <a:pt x="128" y="68"/>
                  </a:lnTo>
                  <a:lnTo>
                    <a:pt x="163" y="45"/>
                  </a:lnTo>
                  <a:lnTo>
                    <a:pt x="201" y="25"/>
                  </a:lnTo>
                  <a:lnTo>
                    <a:pt x="242" y="12"/>
                  </a:lnTo>
                  <a:lnTo>
                    <a:pt x="285" y="3"/>
                  </a:lnTo>
                  <a:lnTo>
                    <a:pt x="330" y="0"/>
                  </a:lnTo>
                  <a:close/>
                </a:path>
              </a:pathLst>
            </a:custGeom>
            <a:grpFill/>
            <a:ln w="9525">
              <a:noFill/>
              <a:round/>
              <a:headEnd/>
              <a:tailEnd/>
            </a:ln>
          </p:spPr>
          <p:txBody>
            <a:bodyPr wrap="none" anchor="ctr"/>
            <a:lstStyle/>
            <a:p>
              <a:endParaRPr lang="en-GB" sz="2200">
                <a:solidFill>
                  <a:srgbClr val="000000"/>
                </a:solidFill>
              </a:endParaRPr>
            </a:p>
          </p:txBody>
        </p:sp>
        <p:sp>
          <p:nvSpPr>
            <p:cNvPr id="113" name="Freeform 121"/>
            <p:cNvSpPr>
              <a:spLocks noChangeArrowheads="1"/>
            </p:cNvSpPr>
            <p:nvPr/>
          </p:nvSpPr>
          <p:spPr bwMode="auto">
            <a:xfrm>
              <a:off x="457" y="2589"/>
              <a:ext cx="104" cy="211"/>
            </a:xfrm>
            <a:custGeom>
              <a:avLst/>
              <a:gdLst>
                <a:gd name="T0" fmla="*/ 0 w 944"/>
                <a:gd name="T1" fmla="*/ 0 h 1908"/>
                <a:gd name="T2" fmla="*/ 0 w 944"/>
                <a:gd name="T3" fmla="*/ 0 h 1908"/>
                <a:gd name="T4" fmla="*/ 0 w 944"/>
                <a:gd name="T5" fmla="*/ 0 h 1908"/>
                <a:gd name="T6" fmla="*/ 0 w 944"/>
                <a:gd name="T7" fmla="*/ 0 h 1908"/>
                <a:gd name="T8" fmla="*/ 0 w 944"/>
                <a:gd name="T9" fmla="*/ 0 h 1908"/>
                <a:gd name="T10" fmla="*/ 0 w 944"/>
                <a:gd name="T11" fmla="*/ 0 h 1908"/>
                <a:gd name="T12" fmla="*/ 0 w 944"/>
                <a:gd name="T13" fmla="*/ 0 h 1908"/>
                <a:gd name="T14" fmla="*/ 0 w 944"/>
                <a:gd name="T15" fmla="*/ 0 h 1908"/>
                <a:gd name="T16" fmla="*/ 0 w 944"/>
                <a:gd name="T17" fmla="*/ 0 h 1908"/>
                <a:gd name="T18" fmla="*/ 0 w 944"/>
                <a:gd name="T19" fmla="*/ 0 h 1908"/>
                <a:gd name="T20" fmla="*/ 0 w 944"/>
                <a:gd name="T21" fmla="*/ 0 h 1908"/>
                <a:gd name="T22" fmla="*/ 0 w 944"/>
                <a:gd name="T23" fmla="*/ 0 h 1908"/>
                <a:gd name="T24" fmla="*/ 0 w 944"/>
                <a:gd name="T25" fmla="*/ 0 h 1908"/>
                <a:gd name="T26" fmla="*/ 0 w 944"/>
                <a:gd name="T27" fmla="*/ 0 h 1908"/>
                <a:gd name="T28" fmla="*/ 0 w 944"/>
                <a:gd name="T29" fmla="*/ 0 h 1908"/>
                <a:gd name="T30" fmla="*/ 0 w 944"/>
                <a:gd name="T31" fmla="*/ 0 h 1908"/>
                <a:gd name="T32" fmla="*/ 0 w 944"/>
                <a:gd name="T33" fmla="*/ 0 h 1908"/>
                <a:gd name="T34" fmla="*/ 0 w 944"/>
                <a:gd name="T35" fmla="*/ 0 h 1908"/>
                <a:gd name="T36" fmla="*/ 0 w 944"/>
                <a:gd name="T37" fmla="*/ 0 h 1908"/>
                <a:gd name="T38" fmla="*/ 0 w 944"/>
                <a:gd name="T39" fmla="*/ 0 h 1908"/>
                <a:gd name="T40" fmla="*/ 0 w 944"/>
                <a:gd name="T41" fmla="*/ 0 h 1908"/>
                <a:gd name="T42" fmla="*/ 0 w 944"/>
                <a:gd name="T43" fmla="*/ 0 h 1908"/>
                <a:gd name="T44" fmla="*/ 0 w 944"/>
                <a:gd name="T45" fmla="*/ 0 h 1908"/>
                <a:gd name="T46" fmla="*/ 0 w 944"/>
                <a:gd name="T47" fmla="*/ 0 h 1908"/>
                <a:gd name="T48" fmla="*/ 0 w 944"/>
                <a:gd name="T49" fmla="*/ 0 h 1908"/>
                <a:gd name="T50" fmla="*/ 0 w 944"/>
                <a:gd name="T51" fmla="*/ 0 h 1908"/>
                <a:gd name="T52" fmla="*/ 0 w 944"/>
                <a:gd name="T53" fmla="*/ 0 h 1908"/>
                <a:gd name="T54" fmla="*/ 0 w 944"/>
                <a:gd name="T55" fmla="*/ 0 h 1908"/>
                <a:gd name="T56" fmla="*/ 0 w 944"/>
                <a:gd name="T57" fmla="*/ 0 h 1908"/>
                <a:gd name="T58" fmla="*/ 0 w 944"/>
                <a:gd name="T59" fmla="*/ 0 h 1908"/>
                <a:gd name="T60" fmla="*/ 0 w 944"/>
                <a:gd name="T61" fmla="*/ 0 h 1908"/>
                <a:gd name="T62" fmla="*/ 0 w 944"/>
                <a:gd name="T63" fmla="*/ 0 h 1908"/>
                <a:gd name="T64" fmla="*/ 0 w 944"/>
                <a:gd name="T65" fmla="*/ 0 h 1908"/>
                <a:gd name="T66" fmla="*/ 0 w 944"/>
                <a:gd name="T67" fmla="*/ 0 h 1908"/>
                <a:gd name="T68" fmla="*/ 0 w 944"/>
                <a:gd name="T69" fmla="*/ 0 h 1908"/>
                <a:gd name="T70" fmla="*/ 0 w 944"/>
                <a:gd name="T71" fmla="*/ 0 h 1908"/>
                <a:gd name="T72" fmla="*/ 0 w 944"/>
                <a:gd name="T73" fmla="*/ 0 h 1908"/>
                <a:gd name="T74" fmla="*/ 0 w 944"/>
                <a:gd name="T75" fmla="*/ 0 h 1908"/>
                <a:gd name="T76" fmla="*/ 0 w 944"/>
                <a:gd name="T77" fmla="*/ 0 h 1908"/>
                <a:gd name="T78" fmla="*/ 0 w 944"/>
                <a:gd name="T79" fmla="*/ 0 h 1908"/>
                <a:gd name="T80" fmla="*/ 0 w 944"/>
                <a:gd name="T81" fmla="*/ 0 h 1908"/>
                <a:gd name="T82" fmla="*/ 0 w 944"/>
                <a:gd name="T83" fmla="*/ 0 h 1908"/>
                <a:gd name="T84" fmla="*/ 0 w 944"/>
                <a:gd name="T85" fmla="*/ 0 h 1908"/>
                <a:gd name="T86" fmla="*/ 0 w 944"/>
                <a:gd name="T87" fmla="*/ 0 h 1908"/>
                <a:gd name="T88" fmla="*/ 0 w 944"/>
                <a:gd name="T89" fmla="*/ 0 h 1908"/>
                <a:gd name="T90" fmla="*/ 0 w 944"/>
                <a:gd name="T91" fmla="*/ 0 h 1908"/>
                <a:gd name="T92" fmla="*/ 0 w 944"/>
                <a:gd name="T93" fmla="*/ 0 h 1908"/>
                <a:gd name="T94" fmla="*/ 0 w 944"/>
                <a:gd name="T95" fmla="*/ 0 h 1908"/>
                <a:gd name="T96" fmla="*/ 0 w 944"/>
                <a:gd name="T97" fmla="*/ 0 h 1908"/>
                <a:gd name="T98" fmla="*/ 0 w 944"/>
                <a:gd name="T99" fmla="*/ 0 h 1908"/>
                <a:gd name="T100" fmla="*/ 0 w 944"/>
                <a:gd name="T101" fmla="*/ 0 h 1908"/>
                <a:gd name="T102" fmla="*/ 0 w 944"/>
                <a:gd name="T103" fmla="*/ 0 h 1908"/>
                <a:gd name="T104" fmla="*/ 0 w 944"/>
                <a:gd name="T105" fmla="*/ 0 h 1908"/>
                <a:gd name="T106" fmla="*/ 0 w 944"/>
                <a:gd name="T107" fmla="*/ 0 h 1908"/>
                <a:gd name="T108" fmla="*/ 0 w 944"/>
                <a:gd name="T109" fmla="*/ 0 h 1908"/>
                <a:gd name="T110" fmla="*/ 0 w 944"/>
                <a:gd name="T111" fmla="*/ 0 h 1908"/>
                <a:gd name="T112" fmla="*/ 0 w 944"/>
                <a:gd name="T113" fmla="*/ 0 h 1908"/>
                <a:gd name="T114" fmla="*/ 0 w 944"/>
                <a:gd name="T115" fmla="*/ 0 h 1908"/>
                <a:gd name="T116" fmla="*/ 0 w 944"/>
                <a:gd name="T117" fmla="*/ 0 h 1908"/>
                <a:gd name="T118" fmla="*/ 0 w 944"/>
                <a:gd name="T119" fmla="*/ 0 h 1908"/>
                <a:gd name="T120" fmla="*/ 0 w 944"/>
                <a:gd name="T121" fmla="*/ 0 h 1908"/>
                <a:gd name="T122" fmla="*/ 0 w 944"/>
                <a:gd name="T123" fmla="*/ 0 h 1908"/>
                <a:gd name="T124" fmla="*/ 0 w 944"/>
                <a:gd name="T125" fmla="*/ 0 h 19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4"/>
                <a:gd name="T190" fmla="*/ 0 h 1908"/>
                <a:gd name="T191" fmla="*/ 944 w 944"/>
                <a:gd name="T192" fmla="*/ 1908 h 19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4" h="1908">
                  <a:moveTo>
                    <a:pt x="173" y="0"/>
                  </a:moveTo>
                  <a:lnTo>
                    <a:pt x="771" y="0"/>
                  </a:lnTo>
                  <a:lnTo>
                    <a:pt x="802" y="2"/>
                  </a:lnTo>
                  <a:lnTo>
                    <a:pt x="831" y="10"/>
                  </a:lnTo>
                  <a:lnTo>
                    <a:pt x="858" y="23"/>
                  </a:lnTo>
                  <a:lnTo>
                    <a:pt x="882" y="40"/>
                  </a:lnTo>
                  <a:lnTo>
                    <a:pt x="903" y="60"/>
                  </a:lnTo>
                  <a:lnTo>
                    <a:pt x="920" y="86"/>
                  </a:lnTo>
                  <a:lnTo>
                    <a:pt x="934" y="112"/>
                  </a:lnTo>
                  <a:lnTo>
                    <a:pt x="941" y="141"/>
                  </a:lnTo>
                  <a:lnTo>
                    <a:pt x="944" y="173"/>
                  </a:lnTo>
                  <a:lnTo>
                    <a:pt x="944" y="985"/>
                  </a:lnTo>
                  <a:lnTo>
                    <a:pt x="941" y="1017"/>
                  </a:lnTo>
                  <a:lnTo>
                    <a:pt x="934" y="1046"/>
                  </a:lnTo>
                  <a:lnTo>
                    <a:pt x="920" y="1073"/>
                  </a:lnTo>
                  <a:lnTo>
                    <a:pt x="903" y="1097"/>
                  </a:lnTo>
                  <a:lnTo>
                    <a:pt x="882" y="1118"/>
                  </a:lnTo>
                  <a:lnTo>
                    <a:pt x="858" y="1135"/>
                  </a:lnTo>
                  <a:lnTo>
                    <a:pt x="831" y="1148"/>
                  </a:lnTo>
                  <a:lnTo>
                    <a:pt x="802" y="1156"/>
                  </a:lnTo>
                  <a:lnTo>
                    <a:pt x="771" y="1159"/>
                  </a:lnTo>
                  <a:lnTo>
                    <a:pt x="770" y="1159"/>
                  </a:lnTo>
                  <a:lnTo>
                    <a:pt x="770" y="1734"/>
                  </a:lnTo>
                  <a:lnTo>
                    <a:pt x="767" y="1766"/>
                  </a:lnTo>
                  <a:lnTo>
                    <a:pt x="759" y="1795"/>
                  </a:lnTo>
                  <a:lnTo>
                    <a:pt x="747" y="1822"/>
                  </a:lnTo>
                  <a:lnTo>
                    <a:pt x="730" y="1846"/>
                  </a:lnTo>
                  <a:lnTo>
                    <a:pt x="709" y="1867"/>
                  </a:lnTo>
                  <a:lnTo>
                    <a:pt x="686" y="1884"/>
                  </a:lnTo>
                  <a:lnTo>
                    <a:pt x="660" y="1897"/>
                  </a:lnTo>
                  <a:lnTo>
                    <a:pt x="632" y="1905"/>
                  </a:lnTo>
                  <a:lnTo>
                    <a:pt x="602" y="1908"/>
                  </a:lnTo>
                  <a:lnTo>
                    <a:pt x="343" y="1908"/>
                  </a:lnTo>
                  <a:lnTo>
                    <a:pt x="312" y="1905"/>
                  </a:lnTo>
                  <a:lnTo>
                    <a:pt x="284" y="1897"/>
                  </a:lnTo>
                  <a:lnTo>
                    <a:pt x="258" y="1884"/>
                  </a:lnTo>
                  <a:lnTo>
                    <a:pt x="234" y="1867"/>
                  </a:lnTo>
                  <a:lnTo>
                    <a:pt x="214" y="1846"/>
                  </a:lnTo>
                  <a:lnTo>
                    <a:pt x="197" y="1822"/>
                  </a:lnTo>
                  <a:lnTo>
                    <a:pt x="185" y="1795"/>
                  </a:lnTo>
                  <a:lnTo>
                    <a:pt x="177" y="1766"/>
                  </a:lnTo>
                  <a:lnTo>
                    <a:pt x="174" y="1734"/>
                  </a:lnTo>
                  <a:lnTo>
                    <a:pt x="174" y="1159"/>
                  </a:lnTo>
                  <a:lnTo>
                    <a:pt x="173" y="1159"/>
                  </a:lnTo>
                  <a:lnTo>
                    <a:pt x="143" y="1156"/>
                  </a:lnTo>
                  <a:lnTo>
                    <a:pt x="114" y="1148"/>
                  </a:lnTo>
                  <a:lnTo>
                    <a:pt x="86" y="1135"/>
                  </a:lnTo>
                  <a:lnTo>
                    <a:pt x="62" y="1118"/>
                  </a:lnTo>
                  <a:lnTo>
                    <a:pt x="41" y="1097"/>
                  </a:lnTo>
                  <a:lnTo>
                    <a:pt x="24" y="1073"/>
                  </a:lnTo>
                  <a:lnTo>
                    <a:pt x="11" y="1046"/>
                  </a:lnTo>
                  <a:lnTo>
                    <a:pt x="4" y="1017"/>
                  </a:lnTo>
                  <a:lnTo>
                    <a:pt x="0" y="985"/>
                  </a:lnTo>
                  <a:lnTo>
                    <a:pt x="0" y="173"/>
                  </a:lnTo>
                  <a:lnTo>
                    <a:pt x="4" y="141"/>
                  </a:lnTo>
                  <a:lnTo>
                    <a:pt x="11" y="112"/>
                  </a:lnTo>
                  <a:lnTo>
                    <a:pt x="24" y="86"/>
                  </a:lnTo>
                  <a:lnTo>
                    <a:pt x="41" y="60"/>
                  </a:lnTo>
                  <a:lnTo>
                    <a:pt x="62" y="40"/>
                  </a:lnTo>
                  <a:lnTo>
                    <a:pt x="86" y="23"/>
                  </a:lnTo>
                  <a:lnTo>
                    <a:pt x="114" y="10"/>
                  </a:lnTo>
                  <a:lnTo>
                    <a:pt x="143" y="2"/>
                  </a:lnTo>
                  <a:lnTo>
                    <a:pt x="173" y="0"/>
                  </a:lnTo>
                  <a:close/>
                </a:path>
              </a:pathLst>
            </a:custGeom>
            <a:grpFill/>
            <a:ln w="9525">
              <a:noFill/>
              <a:round/>
              <a:headEnd/>
              <a:tailEnd/>
            </a:ln>
          </p:spPr>
          <p:txBody>
            <a:bodyPr wrap="none" anchor="ctr"/>
            <a:lstStyle/>
            <a:p>
              <a:endParaRPr lang="en-GB" sz="2200">
                <a:solidFill>
                  <a:srgbClr val="000000"/>
                </a:solidFill>
              </a:endParaRPr>
            </a:p>
          </p:txBody>
        </p:sp>
        <p:sp>
          <p:nvSpPr>
            <p:cNvPr id="114" name="Freeform 122"/>
            <p:cNvSpPr>
              <a:spLocks noChangeArrowheads="1"/>
            </p:cNvSpPr>
            <p:nvPr/>
          </p:nvSpPr>
          <p:spPr bwMode="auto">
            <a:xfrm>
              <a:off x="478" y="2519"/>
              <a:ext cx="62" cy="62"/>
            </a:xfrm>
            <a:custGeom>
              <a:avLst/>
              <a:gdLst>
                <a:gd name="T0" fmla="*/ 0 w 566"/>
                <a:gd name="T1" fmla="*/ 0 h 565"/>
                <a:gd name="T2" fmla="*/ 0 w 566"/>
                <a:gd name="T3" fmla="*/ 0 h 565"/>
                <a:gd name="T4" fmla="*/ 0 w 566"/>
                <a:gd name="T5" fmla="*/ 0 h 565"/>
                <a:gd name="T6" fmla="*/ 0 w 566"/>
                <a:gd name="T7" fmla="*/ 0 h 565"/>
                <a:gd name="T8" fmla="*/ 0 w 566"/>
                <a:gd name="T9" fmla="*/ 0 h 565"/>
                <a:gd name="T10" fmla="*/ 0 w 566"/>
                <a:gd name="T11" fmla="*/ 0 h 565"/>
                <a:gd name="T12" fmla="*/ 0 w 566"/>
                <a:gd name="T13" fmla="*/ 0 h 565"/>
                <a:gd name="T14" fmla="*/ 0 w 566"/>
                <a:gd name="T15" fmla="*/ 0 h 565"/>
                <a:gd name="T16" fmla="*/ 0 w 566"/>
                <a:gd name="T17" fmla="*/ 0 h 565"/>
                <a:gd name="T18" fmla="*/ 0 w 566"/>
                <a:gd name="T19" fmla="*/ 0 h 565"/>
                <a:gd name="T20" fmla="*/ 0 w 566"/>
                <a:gd name="T21" fmla="*/ 0 h 565"/>
                <a:gd name="T22" fmla="*/ 0 w 566"/>
                <a:gd name="T23" fmla="*/ 0 h 565"/>
                <a:gd name="T24" fmla="*/ 0 w 566"/>
                <a:gd name="T25" fmla="*/ 0 h 565"/>
                <a:gd name="T26" fmla="*/ 0 w 566"/>
                <a:gd name="T27" fmla="*/ 0 h 565"/>
                <a:gd name="T28" fmla="*/ 0 w 566"/>
                <a:gd name="T29" fmla="*/ 0 h 565"/>
                <a:gd name="T30" fmla="*/ 0 w 566"/>
                <a:gd name="T31" fmla="*/ 0 h 565"/>
                <a:gd name="T32" fmla="*/ 0 w 566"/>
                <a:gd name="T33" fmla="*/ 0 h 565"/>
                <a:gd name="T34" fmla="*/ 0 w 566"/>
                <a:gd name="T35" fmla="*/ 0 h 565"/>
                <a:gd name="T36" fmla="*/ 0 w 566"/>
                <a:gd name="T37" fmla="*/ 0 h 565"/>
                <a:gd name="T38" fmla="*/ 0 w 566"/>
                <a:gd name="T39" fmla="*/ 0 h 565"/>
                <a:gd name="T40" fmla="*/ 0 w 566"/>
                <a:gd name="T41" fmla="*/ 0 h 565"/>
                <a:gd name="T42" fmla="*/ 0 w 566"/>
                <a:gd name="T43" fmla="*/ 0 h 565"/>
                <a:gd name="T44" fmla="*/ 0 w 566"/>
                <a:gd name="T45" fmla="*/ 0 h 565"/>
                <a:gd name="T46" fmla="*/ 0 w 566"/>
                <a:gd name="T47" fmla="*/ 0 h 565"/>
                <a:gd name="T48" fmla="*/ 0 w 566"/>
                <a:gd name="T49" fmla="*/ 0 h 565"/>
                <a:gd name="T50" fmla="*/ 0 w 566"/>
                <a:gd name="T51" fmla="*/ 0 h 565"/>
                <a:gd name="T52" fmla="*/ 0 w 566"/>
                <a:gd name="T53" fmla="*/ 0 h 565"/>
                <a:gd name="T54" fmla="*/ 0 w 566"/>
                <a:gd name="T55" fmla="*/ 0 h 565"/>
                <a:gd name="T56" fmla="*/ 0 w 566"/>
                <a:gd name="T57" fmla="*/ 0 h 565"/>
                <a:gd name="T58" fmla="*/ 0 w 566"/>
                <a:gd name="T59" fmla="*/ 0 h 565"/>
                <a:gd name="T60" fmla="*/ 0 w 566"/>
                <a:gd name="T61" fmla="*/ 0 h 565"/>
                <a:gd name="T62" fmla="*/ 0 w 566"/>
                <a:gd name="T63" fmla="*/ 0 h 565"/>
                <a:gd name="T64" fmla="*/ 0 w 566"/>
                <a:gd name="T65" fmla="*/ 0 h 565"/>
                <a:gd name="T66" fmla="*/ 0 w 566"/>
                <a:gd name="T67" fmla="*/ 0 h 565"/>
                <a:gd name="T68" fmla="*/ 0 w 566"/>
                <a:gd name="T69" fmla="*/ 0 h 565"/>
                <a:gd name="T70" fmla="*/ 0 w 566"/>
                <a:gd name="T71" fmla="*/ 0 h 565"/>
                <a:gd name="T72" fmla="*/ 0 w 566"/>
                <a:gd name="T73" fmla="*/ 0 h 565"/>
                <a:gd name="T74" fmla="*/ 0 w 566"/>
                <a:gd name="T75" fmla="*/ 0 h 565"/>
                <a:gd name="T76" fmla="*/ 0 w 566"/>
                <a:gd name="T77" fmla="*/ 0 h 565"/>
                <a:gd name="T78" fmla="*/ 0 w 566"/>
                <a:gd name="T79" fmla="*/ 0 h 565"/>
                <a:gd name="T80" fmla="*/ 0 w 566"/>
                <a:gd name="T81" fmla="*/ 0 h 565"/>
                <a:gd name="T82" fmla="*/ 0 w 566"/>
                <a:gd name="T83" fmla="*/ 0 h 565"/>
                <a:gd name="T84" fmla="*/ 0 w 566"/>
                <a:gd name="T85" fmla="*/ 0 h 565"/>
                <a:gd name="T86" fmla="*/ 0 w 566"/>
                <a:gd name="T87" fmla="*/ 0 h 565"/>
                <a:gd name="T88" fmla="*/ 0 w 566"/>
                <a:gd name="T89" fmla="*/ 0 h 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6"/>
                <a:gd name="T136" fmla="*/ 0 h 565"/>
                <a:gd name="T137" fmla="*/ 566 w 566"/>
                <a:gd name="T138" fmla="*/ 565 h 5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6" h="565">
                  <a:moveTo>
                    <a:pt x="283" y="0"/>
                  </a:moveTo>
                  <a:lnTo>
                    <a:pt x="325" y="3"/>
                  </a:lnTo>
                  <a:lnTo>
                    <a:pt x="364" y="12"/>
                  </a:lnTo>
                  <a:lnTo>
                    <a:pt x="402" y="26"/>
                  </a:lnTo>
                  <a:lnTo>
                    <a:pt x="438" y="46"/>
                  </a:lnTo>
                  <a:lnTo>
                    <a:pt x="469" y="69"/>
                  </a:lnTo>
                  <a:lnTo>
                    <a:pt x="496" y="97"/>
                  </a:lnTo>
                  <a:lnTo>
                    <a:pt x="520" y="128"/>
                  </a:lnTo>
                  <a:lnTo>
                    <a:pt x="539" y="163"/>
                  </a:lnTo>
                  <a:lnTo>
                    <a:pt x="554" y="201"/>
                  </a:lnTo>
                  <a:lnTo>
                    <a:pt x="563" y="240"/>
                  </a:lnTo>
                  <a:lnTo>
                    <a:pt x="566" y="282"/>
                  </a:lnTo>
                  <a:lnTo>
                    <a:pt x="563" y="324"/>
                  </a:lnTo>
                  <a:lnTo>
                    <a:pt x="554" y="364"/>
                  </a:lnTo>
                  <a:lnTo>
                    <a:pt x="539" y="402"/>
                  </a:lnTo>
                  <a:lnTo>
                    <a:pt x="520" y="436"/>
                  </a:lnTo>
                  <a:lnTo>
                    <a:pt x="496" y="468"/>
                  </a:lnTo>
                  <a:lnTo>
                    <a:pt x="469" y="496"/>
                  </a:lnTo>
                  <a:lnTo>
                    <a:pt x="438" y="520"/>
                  </a:lnTo>
                  <a:lnTo>
                    <a:pt x="402" y="539"/>
                  </a:lnTo>
                  <a:lnTo>
                    <a:pt x="364" y="554"/>
                  </a:lnTo>
                  <a:lnTo>
                    <a:pt x="325" y="562"/>
                  </a:lnTo>
                  <a:lnTo>
                    <a:pt x="283" y="565"/>
                  </a:lnTo>
                  <a:lnTo>
                    <a:pt x="242" y="562"/>
                  </a:lnTo>
                  <a:lnTo>
                    <a:pt x="201" y="554"/>
                  </a:lnTo>
                  <a:lnTo>
                    <a:pt x="164" y="539"/>
                  </a:lnTo>
                  <a:lnTo>
                    <a:pt x="129" y="520"/>
                  </a:lnTo>
                  <a:lnTo>
                    <a:pt x="97" y="496"/>
                  </a:lnTo>
                  <a:lnTo>
                    <a:pt x="70" y="468"/>
                  </a:lnTo>
                  <a:lnTo>
                    <a:pt x="46" y="436"/>
                  </a:lnTo>
                  <a:lnTo>
                    <a:pt x="26" y="402"/>
                  </a:lnTo>
                  <a:lnTo>
                    <a:pt x="12" y="364"/>
                  </a:lnTo>
                  <a:lnTo>
                    <a:pt x="3" y="324"/>
                  </a:lnTo>
                  <a:lnTo>
                    <a:pt x="0" y="282"/>
                  </a:lnTo>
                  <a:lnTo>
                    <a:pt x="3" y="240"/>
                  </a:lnTo>
                  <a:lnTo>
                    <a:pt x="12" y="201"/>
                  </a:lnTo>
                  <a:lnTo>
                    <a:pt x="26" y="163"/>
                  </a:lnTo>
                  <a:lnTo>
                    <a:pt x="46" y="128"/>
                  </a:lnTo>
                  <a:lnTo>
                    <a:pt x="70" y="97"/>
                  </a:lnTo>
                  <a:lnTo>
                    <a:pt x="97" y="69"/>
                  </a:lnTo>
                  <a:lnTo>
                    <a:pt x="129" y="46"/>
                  </a:lnTo>
                  <a:lnTo>
                    <a:pt x="164" y="26"/>
                  </a:lnTo>
                  <a:lnTo>
                    <a:pt x="201" y="12"/>
                  </a:lnTo>
                  <a:lnTo>
                    <a:pt x="242" y="3"/>
                  </a:lnTo>
                  <a:lnTo>
                    <a:pt x="283" y="0"/>
                  </a:lnTo>
                  <a:close/>
                </a:path>
              </a:pathLst>
            </a:custGeom>
            <a:grpFill/>
            <a:ln w="9525">
              <a:noFill/>
              <a:round/>
              <a:headEnd/>
              <a:tailEnd/>
            </a:ln>
          </p:spPr>
          <p:txBody>
            <a:bodyPr wrap="none" anchor="ctr"/>
            <a:lstStyle/>
            <a:p>
              <a:endParaRPr lang="en-GB" sz="2200">
                <a:solidFill>
                  <a:srgbClr val="000000"/>
                </a:solidFill>
              </a:endParaRPr>
            </a:p>
          </p:txBody>
        </p:sp>
        <p:sp>
          <p:nvSpPr>
            <p:cNvPr id="115" name="Freeform 123"/>
            <p:cNvSpPr>
              <a:spLocks noChangeArrowheads="1"/>
            </p:cNvSpPr>
            <p:nvPr/>
          </p:nvSpPr>
          <p:spPr bwMode="auto">
            <a:xfrm>
              <a:off x="178" y="2589"/>
              <a:ext cx="104" cy="210"/>
            </a:xfrm>
            <a:custGeom>
              <a:avLst/>
              <a:gdLst>
                <a:gd name="T0" fmla="*/ 0 w 944"/>
                <a:gd name="T1" fmla="*/ 0 h 1907"/>
                <a:gd name="T2" fmla="*/ 0 w 944"/>
                <a:gd name="T3" fmla="*/ 0 h 1907"/>
                <a:gd name="T4" fmla="*/ 0 w 944"/>
                <a:gd name="T5" fmla="*/ 0 h 1907"/>
                <a:gd name="T6" fmla="*/ 0 w 944"/>
                <a:gd name="T7" fmla="*/ 0 h 1907"/>
                <a:gd name="T8" fmla="*/ 0 w 944"/>
                <a:gd name="T9" fmla="*/ 0 h 1907"/>
                <a:gd name="T10" fmla="*/ 0 w 944"/>
                <a:gd name="T11" fmla="*/ 0 h 1907"/>
                <a:gd name="T12" fmla="*/ 0 w 944"/>
                <a:gd name="T13" fmla="*/ 0 h 1907"/>
                <a:gd name="T14" fmla="*/ 0 w 944"/>
                <a:gd name="T15" fmla="*/ 0 h 1907"/>
                <a:gd name="T16" fmla="*/ 0 w 944"/>
                <a:gd name="T17" fmla="*/ 0 h 1907"/>
                <a:gd name="T18" fmla="*/ 0 w 944"/>
                <a:gd name="T19" fmla="*/ 0 h 1907"/>
                <a:gd name="T20" fmla="*/ 0 w 944"/>
                <a:gd name="T21" fmla="*/ 0 h 1907"/>
                <a:gd name="T22" fmla="*/ 0 w 944"/>
                <a:gd name="T23" fmla="*/ 0 h 1907"/>
                <a:gd name="T24" fmla="*/ 0 w 944"/>
                <a:gd name="T25" fmla="*/ 0 h 1907"/>
                <a:gd name="T26" fmla="*/ 0 w 944"/>
                <a:gd name="T27" fmla="*/ 0 h 1907"/>
                <a:gd name="T28" fmla="*/ 0 w 944"/>
                <a:gd name="T29" fmla="*/ 0 h 1907"/>
                <a:gd name="T30" fmla="*/ 0 w 944"/>
                <a:gd name="T31" fmla="*/ 0 h 1907"/>
                <a:gd name="T32" fmla="*/ 0 w 944"/>
                <a:gd name="T33" fmla="*/ 0 h 1907"/>
                <a:gd name="T34" fmla="*/ 0 w 944"/>
                <a:gd name="T35" fmla="*/ 0 h 1907"/>
                <a:gd name="T36" fmla="*/ 0 w 944"/>
                <a:gd name="T37" fmla="*/ 0 h 1907"/>
                <a:gd name="T38" fmla="*/ 0 w 944"/>
                <a:gd name="T39" fmla="*/ 0 h 1907"/>
                <a:gd name="T40" fmla="*/ 0 w 944"/>
                <a:gd name="T41" fmla="*/ 0 h 1907"/>
                <a:gd name="T42" fmla="*/ 0 w 944"/>
                <a:gd name="T43" fmla="*/ 0 h 1907"/>
                <a:gd name="T44" fmla="*/ 0 w 944"/>
                <a:gd name="T45" fmla="*/ 0 h 1907"/>
                <a:gd name="T46" fmla="*/ 0 w 944"/>
                <a:gd name="T47" fmla="*/ 0 h 1907"/>
                <a:gd name="T48" fmla="*/ 0 w 944"/>
                <a:gd name="T49" fmla="*/ 0 h 1907"/>
                <a:gd name="T50" fmla="*/ 0 w 944"/>
                <a:gd name="T51" fmla="*/ 0 h 1907"/>
                <a:gd name="T52" fmla="*/ 0 w 944"/>
                <a:gd name="T53" fmla="*/ 0 h 1907"/>
                <a:gd name="T54" fmla="*/ 0 w 944"/>
                <a:gd name="T55" fmla="*/ 0 h 1907"/>
                <a:gd name="T56" fmla="*/ 0 w 944"/>
                <a:gd name="T57" fmla="*/ 0 h 1907"/>
                <a:gd name="T58" fmla="*/ 0 w 944"/>
                <a:gd name="T59" fmla="*/ 0 h 1907"/>
                <a:gd name="T60" fmla="*/ 0 w 944"/>
                <a:gd name="T61" fmla="*/ 0 h 1907"/>
                <a:gd name="T62" fmla="*/ 0 w 944"/>
                <a:gd name="T63" fmla="*/ 0 h 1907"/>
                <a:gd name="T64" fmla="*/ 0 w 944"/>
                <a:gd name="T65" fmla="*/ 0 h 1907"/>
                <a:gd name="T66" fmla="*/ 0 w 944"/>
                <a:gd name="T67" fmla="*/ 0 h 1907"/>
                <a:gd name="T68" fmla="*/ 0 w 944"/>
                <a:gd name="T69" fmla="*/ 0 h 1907"/>
                <a:gd name="T70" fmla="*/ 0 w 944"/>
                <a:gd name="T71" fmla="*/ 0 h 1907"/>
                <a:gd name="T72" fmla="*/ 0 w 944"/>
                <a:gd name="T73" fmla="*/ 0 h 1907"/>
                <a:gd name="T74" fmla="*/ 0 w 944"/>
                <a:gd name="T75" fmla="*/ 0 h 1907"/>
                <a:gd name="T76" fmla="*/ 0 w 944"/>
                <a:gd name="T77" fmla="*/ 0 h 1907"/>
                <a:gd name="T78" fmla="*/ 0 w 944"/>
                <a:gd name="T79" fmla="*/ 0 h 1907"/>
                <a:gd name="T80" fmla="*/ 0 w 944"/>
                <a:gd name="T81" fmla="*/ 0 h 1907"/>
                <a:gd name="T82" fmla="*/ 0 w 944"/>
                <a:gd name="T83" fmla="*/ 0 h 1907"/>
                <a:gd name="T84" fmla="*/ 0 w 944"/>
                <a:gd name="T85" fmla="*/ 0 h 1907"/>
                <a:gd name="T86" fmla="*/ 0 w 944"/>
                <a:gd name="T87" fmla="*/ 0 h 1907"/>
                <a:gd name="T88" fmla="*/ 0 w 944"/>
                <a:gd name="T89" fmla="*/ 0 h 1907"/>
                <a:gd name="T90" fmla="*/ 0 w 944"/>
                <a:gd name="T91" fmla="*/ 0 h 1907"/>
                <a:gd name="T92" fmla="*/ 0 w 944"/>
                <a:gd name="T93" fmla="*/ 0 h 1907"/>
                <a:gd name="T94" fmla="*/ 0 w 944"/>
                <a:gd name="T95" fmla="*/ 0 h 1907"/>
                <a:gd name="T96" fmla="*/ 0 w 944"/>
                <a:gd name="T97" fmla="*/ 0 h 1907"/>
                <a:gd name="T98" fmla="*/ 0 w 944"/>
                <a:gd name="T99" fmla="*/ 0 h 1907"/>
                <a:gd name="T100" fmla="*/ 0 w 944"/>
                <a:gd name="T101" fmla="*/ 0 h 1907"/>
                <a:gd name="T102" fmla="*/ 0 w 944"/>
                <a:gd name="T103" fmla="*/ 0 h 1907"/>
                <a:gd name="T104" fmla="*/ 0 w 944"/>
                <a:gd name="T105" fmla="*/ 0 h 1907"/>
                <a:gd name="T106" fmla="*/ 0 w 944"/>
                <a:gd name="T107" fmla="*/ 0 h 1907"/>
                <a:gd name="T108" fmla="*/ 0 w 944"/>
                <a:gd name="T109" fmla="*/ 0 h 1907"/>
                <a:gd name="T110" fmla="*/ 0 w 944"/>
                <a:gd name="T111" fmla="*/ 0 h 1907"/>
                <a:gd name="T112" fmla="*/ 0 w 944"/>
                <a:gd name="T113" fmla="*/ 0 h 1907"/>
                <a:gd name="T114" fmla="*/ 0 w 944"/>
                <a:gd name="T115" fmla="*/ 0 h 1907"/>
                <a:gd name="T116" fmla="*/ 0 w 944"/>
                <a:gd name="T117" fmla="*/ 0 h 1907"/>
                <a:gd name="T118" fmla="*/ 0 w 944"/>
                <a:gd name="T119" fmla="*/ 0 h 1907"/>
                <a:gd name="T120" fmla="*/ 0 w 944"/>
                <a:gd name="T121" fmla="*/ 0 h 1907"/>
                <a:gd name="T122" fmla="*/ 0 w 944"/>
                <a:gd name="T123" fmla="*/ 0 h 1907"/>
                <a:gd name="T124" fmla="*/ 0 w 944"/>
                <a:gd name="T125" fmla="*/ 0 h 19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4"/>
                <a:gd name="T190" fmla="*/ 0 h 1907"/>
                <a:gd name="T191" fmla="*/ 944 w 944"/>
                <a:gd name="T192" fmla="*/ 1907 h 19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4" h="1907">
                  <a:moveTo>
                    <a:pt x="173" y="0"/>
                  </a:moveTo>
                  <a:lnTo>
                    <a:pt x="771" y="0"/>
                  </a:lnTo>
                  <a:lnTo>
                    <a:pt x="801" y="2"/>
                  </a:lnTo>
                  <a:lnTo>
                    <a:pt x="830" y="10"/>
                  </a:lnTo>
                  <a:lnTo>
                    <a:pt x="858" y="23"/>
                  </a:lnTo>
                  <a:lnTo>
                    <a:pt x="882" y="40"/>
                  </a:lnTo>
                  <a:lnTo>
                    <a:pt x="903" y="60"/>
                  </a:lnTo>
                  <a:lnTo>
                    <a:pt x="920" y="86"/>
                  </a:lnTo>
                  <a:lnTo>
                    <a:pt x="933" y="112"/>
                  </a:lnTo>
                  <a:lnTo>
                    <a:pt x="940" y="141"/>
                  </a:lnTo>
                  <a:lnTo>
                    <a:pt x="944" y="173"/>
                  </a:lnTo>
                  <a:lnTo>
                    <a:pt x="944" y="985"/>
                  </a:lnTo>
                  <a:lnTo>
                    <a:pt x="940" y="1017"/>
                  </a:lnTo>
                  <a:lnTo>
                    <a:pt x="933" y="1046"/>
                  </a:lnTo>
                  <a:lnTo>
                    <a:pt x="920" y="1073"/>
                  </a:lnTo>
                  <a:lnTo>
                    <a:pt x="903" y="1097"/>
                  </a:lnTo>
                  <a:lnTo>
                    <a:pt x="882" y="1118"/>
                  </a:lnTo>
                  <a:lnTo>
                    <a:pt x="858" y="1135"/>
                  </a:lnTo>
                  <a:lnTo>
                    <a:pt x="830" y="1148"/>
                  </a:lnTo>
                  <a:lnTo>
                    <a:pt x="801" y="1156"/>
                  </a:lnTo>
                  <a:lnTo>
                    <a:pt x="771" y="1159"/>
                  </a:lnTo>
                  <a:lnTo>
                    <a:pt x="770" y="1159"/>
                  </a:lnTo>
                  <a:lnTo>
                    <a:pt x="770" y="1734"/>
                  </a:lnTo>
                  <a:lnTo>
                    <a:pt x="767" y="1766"/>
                  </a:lnTo>
                  <a:lnTo>
                    <a:pt x="759" y="1795"/>
                  </a:lnTo>
                  <a:lnTo>
                    <a:pt x="747" y="1822"/>
                  </a:lnTo>
                  <a:lnTo>
                    <a:pt x="730" y="1846"/>
                  </a:lnTo>
                  <a:lnTo>
                    <a:pt x="710" y="1867"/>
                  </a:lnTo>
                  <a:lnTo>
                    <a:pt x="686" y="1884"/>
                  </a:lnTo>
                  <a:lnTo>
                    <a:pt x="660" y="1897"/>
                  </a:lnTo>
                  <a:lnTo>
                    <a:pt x="632" y="1905"/>
                  </a:lnTo>
                  <a:lnTo>
                    <a:pt x="601" y="1907"/>
                  </a:lnTo>
                  <a:lnTo>
                    <a:pt x="342" y="1907"/>
                  </a:lnTo>
                  <a:lnTo>
                    <a:pt x="312" y="1905"/>
                  </a:lnTo>
                  <a:lnTo>
                    <a:pt x="284" y="1897"/>
                  </a:lnTo>
                  <a:lnTo>
                    <a:pt x="258" y="1884"/>
                  </a:lnTo>
                  <a:lnTo>
                    <a:pt x="235" y="1867"/>
                  </a:lnTo>
                  <a:lnTo>
                    <a:pt x="214" y="1846"/>
                  </a:lnTo>
                  <a:lnTo>
                    <a:pt x="197" y="1822"/>
                  </a:lnTo>
                  <a:lnTo>
                    <a:pt x="185" y="1795"/>
                  </a:lnTo>
                  <a:lnTo>
                    <a:pt x="177" y="1766"/>
                  </a:lnTo>
                  <a:lnTo>
                    <a:pt x="174" y="1734"/>
                  </a:lnTo>
                  <a:lnTo>
                    <a:pt x="174" y="1159"/>
                  </a:lnTo>
                  <a:lnTo>
                    <a:pt x="173" y="1159"/>
                  </a:lnTo>
                  <a:lnTo>
                    <a:pt x="142" y="1156"/>
                  </a:lnTo>
                  <a:lnTo>
                    <a:pt x="113" y="1148"/>
                  </a:lnTo>
                  <a:lnTo>
                    <a:pt x="86" y="1135"/>
                  </a:lnTo>
                  <a:lnTo>
                    <a:pt x="62" y="1118"/>
                  </a:lnTo>
                  <a:lnTo>
                    <a:pt x="41" y="1097"/>
                  </a:lnTo>
                  <a:lnTo>
                    <a:pt x="24" y="1073"/>
                  </a:lnTo>
                  <a:lnTo>
                    <a:pt x="10" y="1046"/>
                  </a:lnTo>
                  <a:lnTo>
                    <a:pt x="3" y="1017"/>
                  </a:lnTo>
                  <a:lnTo>
                    <a:pt x="0" y="985"/>
                  </a:lnTo>
                  <a:lnTo>
                    <a:pt x="0" y="173"/>
                  </a:lnTo>
                  <a:lnTo>
                    <a:pt x="3" y="141"/>
                  </a:lnTo>
                  <a:lnTo>
                    <a:pt x="10" y="112"/>
                  </a:lnTo>
                  <a:lnTo>
                    <a:pt x="24" y="86"/>
                  </a:lnTo>
                  <a:lnTo>
                    <a:pt x="41" y="60"/>
                  </a:lnTo>
                  <a:lnTo>
                    <a:pt x="62" y="40"/>
                  </a:lnTo>
                  <a:lnTo>
                    <a:pt x="86" y="23"/>
                  </a:lnTo>
                  <a:lnTo>
                    <a:pt x="113" y="10"/>
                  </a:lnTo>
                  <a:lnTo>
                    <a:pt x="142" y="2"/>
                  </a:lnTo>
                  <a:lnTo>
                    <a:pt x="173" y="0"/>
                  </a:lnTo>
                  <a:close/>
                </a:path>
              </a:pathLst>
            </a:custGeom>
            <a:grpFill/>
            <a:ln w="9525">
              <a:noFill/>
              <a:round/>
              <a:headEnd/>
              <a:tailEnd/>
            </a:ln>
          </p:spPr>
          <p:txBody>
            <a:bodyPr wrap="none" anchor="ctr"/>
            <a:lstStyle/>
            <a:p>
              <a:endParaRPr lang="en-GB" sz="2200">
                <a:solidFill>
                  <a:srgbClr val="000000"/>
                </a:solidFill>
              </a:endParaRPr>
            </a:p>
          </p:txBody>
        </p:sp>
        <p:sp>
          <p:nvSpPr>
            <p:cNvPr id="116" name="Freeform 124"/>
            <p:cNvSpPr>
              <a:spLocks noChangeArrowheads="1"/>
            </p:cNvSpPr>
            <p:nvPr/>
          </p:nvSpPr>
          <p:spPr bwMode="auto">
            <a:xfrm>
              <a:off x="199" y="2519"/>
              <a:ext cx="62" cy="62"/>
            </a:xfrm>
            <a:custGeom>
              <a:avLst/>
              <a:gdLst>
                <a:gd name="T0" fmla="*/ 0 w 566"/>
                <a:gd name="T1" fmla="*/ 0 h 565"/>
                <a:gd name="T2" fmla="*/ 0 w 566"/>
                <a:gd name="T3" fmla="*/ 0 h 565"/>
                <a:gd name="T4" fmla="*/ 0 w 566"/>
                <a:gd name="T5" fmla="*/ 0 h 565"/>
                <a:gd name="T6" fmla="*/ 0 w 566"/>
                <a:gd name="T7" fmla="*/ 0 h 565"/>
                <a:gd name="T8" fmla="*/ 0 w 566"/>
                <a:gd name="T9" fmla="*/ 0 h 565"/>
                <a:gd name="T10" fmla="*/ 0 w 566"/>
                <a:gd name="T11" fmla="*/ 0 h 565"/>
                <a:gd name="T12" fmla="*/ 0 w 566"/>
                <a:gd name="T13" fmla="*/ 0 h 565"/>
                <a:gd name="T14" fmla="*/ 0 w 566"/>
                <a:gd name="T15" fmla="*/ 0 h 565"/>
                <a:gd name="T16" fmla="*/ 0 w 566"/>
                <a:gd name="T17" fmla="*/ 0 h 565"/>
                <a:gd name="T18" fmla="*/ 0 w 566"/>
                <a:gd name="T19" fmla="*/ 0 h 565"/>
                <a:gd name="T20" fmla="*/ 0 w 566"/>
                <a:gd name="T21" fmla="*/ 0 h 565"/>
                <a:gd name="T22" fmla="*/ 0 w 566"/>
                <a:gd name="T23" fmla="*/ 0 h 565"/>
                <a:gd name="T24" fmla="*/ 0 w 566"/>
                <a:gd name="T25" fmla="*/ 0 h 565"/>
                <a:gd name="T26" fmla="*/ 0 w 566"/>
                <a:gd name="T27" fmla="*/ 0 h 565"/>
                <a:gd name="T28" fmla="*/ 0 w 566"/>
                <a:gd name="T29" fmla="*/ 0 h 565"/>
                <a:gd name="T30" fmla="*/ 0 w 566"/>
                <a:gd name="T31" fmla="*/ 0 h 565"/>
                <a:gd name="T32" fmla="*/ 0 w 566"/>
                <a:gd name="T33" fmla="*/ 0 h 565"/>
                <a:gd name="T34" fmla="*/ 0 w 566"/>
                <a:gd name="T35" fmla="*/ 0 h 565"/>
                <a:gd name="T36" fmla="*/ 0 w 566"/>
                <a:gd name="T37" fmla="*/ 0 h 565"/>
                <a:gd name="T38" fmla="*/ 0 w 566"/>
                <a:gd name="T39" fmla="*/ 0 h 565"/>
                <a:gd name="T40" fmla="*/ 0 w 566"/>
                <a:gd name="T41" fmla="*/ 0 h 565"/>
                <a:gd name="T42" fmla="*/ 0 w 566"/>
                <a:gd name="T43" fmla="*/ 0 h 565"/>
                <a:gd name="T44" fmla="*/ 0 w 566"/>
                <a:gd name="T45" fmla="*/ 0 h 565"/>
                <a:gd name="T46" fmla="*/ 0 w 566"/>
                <a:gd name="T47" fmla="*/ 0 h 565"/>
                <a:gd name="T48" fmla="*/ 0 w 566"/>
                <a:gd name="T49" fmla="*/ 0 h 565"/>
                <a:gd name="T50" fmla="*/ 0 w 566"/>
                <a:gd name="T51" fmla="*/ 0 h 565"/>
                <a:gd name="T52" fmla="*/ 0 w 566"/>
                <a:gd name="T53" fmla="*/ 0 h 565"/>
                <a:gd name="T54" fmla="*/ 0 w 566"/>
                <a:gd name="T55" fmla="*/ 0 h 565"/>
                <a:gd name="T56" fmla="*/ 0 w 566"/>
                <a:gd name="T57" fmla="*/ 0 h 565"/>
                <a:gd name="T58" fmla="*/ 0 w 566"/>
                <a:gd name="T59" fmla="*/ 0 h 565"/>
                <a:gd name="T60" fmla="*/ 0 w 566"/>
                <a:gd name="T61" fmla="*/ 0 h 565"/>
                <a:gd name="T62" fmla="*/ 0 w 566"/>
                <a:gd name="T63" fmla="*/ 0 h 565"/>
                <a:gd name="T64" fmla="*/ 0 w 566"/>
                <a:gd name="T65" fmla="*/ 0 h 565"/>
                <a:gd name="T66" fmla="*/ 0 w 566"/>
                <a:gd name="T67" fmla="*/ 0 h 565"/>
                <a:gd name="T68" fmla="*/ 0 w 566"/>
                <a:gd name="T69" fmla="*/ 0 h 565"/>
                <a:gd name="T70" fmla="*/ 0 w 566"/>
                <a:gd name="T71" fmla="*/ 0 h 565"/>
                <a:gd name="T72" fmla="*/ 0 w 566"/>
                <a:gd name="T73" fmla="*/ 0 h 565"/>
                <a:gd name="T74" fmla="*/ 0 w 566"/>
                <a:gd name="T75" fmla="*/ 0 h 565"/>
                <a:gd name="T76" fmla="*/ 0 w 566"/>
                <a:gd name="T77" fmla="*/ 0 h 565"/>
                <a:gd name="T78" fmla="*/ 0 w 566"/>
                <a:gd name="T79" fmla="*/ 0 h 565"/>
                <a:gd name="T80" fmla="*/ 0 w 566"/>
                <a:gd name="T81" fmla="*/ 0 h 565"/>
                <a:gd name="T82" fmla="*/ 0 w 566"/>
                <a:gd name="T83" fmla="*/ 0 h 565"/>
                <a:gd name="T84" fmla="*/ 0 w 566"/>
                <a:gd name="T85" fmla="*/ 0 h 565"/>
                <a:gd name="T86" fmla="*/ 0 w 566"/>
                <a:gd name="T87" fmla="*/ 0 h 565"/>
                <a:gd name="T88" fmla="*/ 0 w 566"/>
                <a:gd name="T89" fmla="*/ 0 h 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6"/>
                <a:gd name="T136" fmla="*/ 0 h 565"/>
                <a:gd name="T137" fmla="*/ 566 w 566"/>
                <a:gd name="T138" fmla="*/ 565 h 5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6" h="565">
                  <a:moveTo>
                    <a:pt x="283" y="0"/>
                  </a:moveTo>
                  <a:lnTo>
                    <a:pt x="324" y="3"/>
                  </a:lnTo>
                  <a:lnTo>
                    <a:pt x="365" y="12"/>
                  </a:lnTo>
                  <a:lnTo>
                    <a:pt x="402" y="26"/>
                  </a:lnTo>
                  <a:lnTo>
                    <a:pt x="437" y="46"/>
                  </a:lnTo>
                  <a:lnTo>
                    <a:pt x="469" y="69"/>
                  </a:lnTo>
                  <a:lnTo>
                    <a:pt x="496" y="97"/>
                  </a:lnTo>
                  <a:lnTo>
                    <a:pt x="520" y="128"/>
                  </a:lnTo>
                  <a:lnTo>
                    <a:pt x="540" y="163"/>
                  </a:lnTo>
                  <a:lnTo>
                    <a:pt x="554" y="201"/>
                  </a:lnTo>
                  <a:lnTo>
                    <a:pt x="563" y="240"/>
                  </a:lnTo>
                  <a:lnTo>
                    <a:pt x="566" y="282"/>
                  </a:lnTo>
                  <a:lnTo>
                    <a:pt x="563" y="324"/>
                  </a:lnTo>
                  <a:lnTo>
                    <a:pt x="554" y="364"/>
                  </a:lnTo>
                  <a:lnTo>
                    <a:pt x="540" y="402"/>
                  </a:lnTo>
                  <a:lnTo>
                    <a:pt x="520" y="436"/>
                  </a:lnTo>
                  <a:lnTo>
                    <a:pt x="496" y="468"/>
                  </a:lnTo>
                  <a:lnTo>
                    <a:pt x="469" y="496"/>
                  </a:lnTo>
                  <a:lnTo>
                    <a:pt x="437" y="520"/>
                  </a:lnTo>
                  <a:lnTo>
                    <a:pt x="402" y="539"/>
                  </a:lnTo>
                  <a:lnTo>
                    <a:pt x="365" y="554"/>
                  </a:lnTo>
                  <a:lnTo>
                    <a:pt x="324" y="562"/>
                  </a:lnTo>
                  <a:lnTo>
                    <a:pt x="283" y="565"/>
                  </a:lnTo>
                  <a:lnTo>
                    <a:pt x="241" y="562"/>
                  </a:lnTo>
                  <a:lnTo>
                    <a:pt x="202" y="554"/>
                  </a:lnTo>
                  <a:lnTo>
                    <a:pt x="164" y="539"/>
                  </a:lnTo>
                  <a:lnTo>
                    <a:pt x="129" y="520"/>
                  </a:lnTo>
                  <a:lnTo>
                    <a:pt x="97" y="496"/>
                  </a:lnTo>
                  <a:lnTo>
                    <a:pt x="70" y="468"/>
                  </a:lnTo>
                  <a:lnTo>
                    <a:pt x="46" y="436"/>
                  </a:lnTo>
                  <a:lnTo>
                    <a:pt x="27" y="402"/>
                  </a:lnTo>
                  <a:lnTo>
                    <a:pt x="12" y="364"/>
                  </a:lnTo>
                  <a:lnTo>
                    <a:pt x="3" y="324"/>
                  </a:lnTo>
                  <a:lnTo>
                    <a:pt x="0" y="282"/>
                  </a:lnTo>
                  <a:lnTo>
                    <a:pt x="3" y="240"/>
                  </a:lnTo>
                  <a:lnTo>
                    <a:pt x="12" y="201"/>
                  </a:lnTo>
                  <a:lnTo>
                    <a:pt x="27" y="163"/>
                  </a:lnTo>
                  <a:lnTo>
                    <a:pt x="46" y="128"/>
                  </a:lnTo>
                  <a:lnTo>
                    <a:pt x="70" y="97"/>
                  </a:lnTo>
                  <a:lnTo>
                    <a:pt x="97" y="69"/>
                  </a:lnTo>
                  <a:lnTo>
                    <a:pt x="129" y="46"/>
                  </a:lnTo>
                  <a:lnTo>
                    <a:pt x="164" y="26"/>
                  </a:lnTo>
                  <a:lnTo>
                    <a:pt x="202" y="12"/>
                  </a:lnTo>
                  <a:lnTo>
                    <a:pt x="241" y="3"/>
                  </a:lnTo>
                  <a:lnTo>
                    <a:pt x="283" y="0"/>
                  </a:lnTo>
                  <a:close/>
                </a:path>
              </a:pathLst>
            </a:custGeom>
            <a:grpFill/>
            <a:ln w="9525">
              <a:noFill/>
              <a:round/>
              <a:headEnd/>
              <a:tailEnd/>
            </a:ln>
          </p:spPr>
          <p:txBody>
            <a:bodyPr wrap="none" anchor="ctr"/>
            <a:lstStyle/>
            <a:p>
              <a:endParaRPr lang="en-GB" sz="2200">
                <a:solidFill>
                  <a:srgbClr val="000000"/>
                </a:solidFill>
              </a:endParaRPr>
            </a:p>
          </p:txBody>
        </p:sp>
      </p:grpSp>
      <p:grpSp>
        <p:nvGrpSpPr>
          <p:cNvPr id="117" name="Group 45"/>
          <p:cNvGrpSpPr>
            <a:grpSpLocks/>
          </p:cNvGrpSpPr>
          <p:nvPr/>
        </p:nvGrpSpPr>
        <p:grpSpPr bwMode="auto">
          <a:xfrm>
            <a:off x="2161180" y="2331200"/>
            <a:ext cx="484659" cy="385678"/>
            <a:chOff x="3398" y="701"/>
            <a:chExt cx="354" cy="383"/>
          </a:xfrm>
          <a:solidFill>
            <a:schemeClr val="accent2"/>
          </a:solidFill>
        </p:grpSpPr>
        <p:sp>
          <p:nvSpPr>
            <p:cNvPr id="118" name="Freeform 46"/>
            <p:cNvSpPr>
              <a:spLocks noChangeArrowheads="1"/>
            </p:cNvSpPr>
            <p:nvPr/>
          </p:nvSpPr>
          <p:spPr bwMode="auto">
            <a:xfrm>
              <a:off x="3555" y="701"/>
              <a:ext cx="49" cy="54"/>
            </a:xfrm>
            <a:custGeom>
              <a:avLst/>
              <a:gdLst>
                <a:gd name="T0" fmla="*/ 0 w 455"/>
                <a:gd name="T1" fmla="*/ 0 h 493"/>
                <a:gd name="T2" fmla="*/ 0 w 455"/>
                <a:gd name="T3" fmla="*/ 0 h 493"/>
                <a:gd name="T4" fmla="*/ 0 w 455"/>
                <a:gd name="T5" fmla="*/ 0 h 493"/>
                <a:gd name="T6" fmla="*/ 0 w 455"/>
                <a:gd name="T7" fmla="*/ 0 h 493"/>
                <a:gd name="T8" fmla="*/ 0 w 455"/>
                <a:gd name="T9" fmla="*/ 0 h 493"/>
                <a:gd name="T10" fmla="*/ 0 w 455"/>
                <a:gd name="T11" fmla="*/ 0 h 493"/>
                <a:gd name="T12" fmla="*/ 0 w 455"/>
                <a:gd name="T13" fmla="*/ 0 h 493"/>
                <a:gd name="T14" fmla="*/ 0 60000 65536"/>
                <a:gd name="T15" fmla="*/ 0 60000 65536"/>
                <a:gd name="T16" fmla="*/ 0 60000 65536"/>
                <a:gd name="T17" fmla="*/ 0 60000 65536"/>
                <a:gd name="T18" fmla="*/ 0 60000 65536"/>
                <a:gd name="T19" fmla="*/ 0 60000 65536"/>
                <a:gd name="T20" fmla="*/ 0 60000 65536"/>
                <a:gd name="T21" fmla="*/ 0 w 455"/>
                <a:gd name="T22" fmla="*/ 0 h 493"/>
                <a:gd name="T23" fmla="*/ 455 w 455"/>
                <a:gd name="T24" fmla="*/ 493 h 4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5" h="493">
                  <a:moveTo>
                    <a:pt x="246" y="0"/>
                  </a:moveTo>
                  <a:lnTo>
                    <a:pt x="455" y="0"/>
                  </a:lnTo>
                  <a:lnTo>
                    <a:pt x="208" y="245"/>
                  </a:lnTo>
                  <a:lnTo>
                    <a:pt x="455" y="493"/>
                  </a:lnTo>
                  <a:lnTo>
                    <a:pt x="246" y="493"/>
                  </a:lnTo>
                  <a:lnTo>
                    <a:pt x="0" y="245"/>
                  </a:lnTo>
                  <a:lnTo>
                    <a:pt x="246" y="0"/>
                  </a:lnTo>
                  <a:close/>
                </a:path>
              </a:pathLst>
            </a:custGeom>
            <a:grpFill/>
            <a:ln w="9525">
              <a:noFill/>
              <a:round/>
              <a:headEnd/>
              <a:tailEnd/>
            </a:ln>
          </p:spPr>
          <p:txBody>
            <a:bodyPr wrap="none" anchor="ctr"/>
            <a:lstStyle/>
            <a:p>
              <a:endParaRPr lang="en-GB" sz="2200">
                <a:solidFill>
                  <a:srgbClr val="000000"/>
                </a:solidFill>
              </a:endParaRPr>
            </a:p>
          </p:txBody>
        </p:sp>
        <p:sp>
          <p:nvSpPr>
            <p:cNvPr id="119" name="Freeform 47"/>
            <p:cNvSpPr>
              <a:spLocks noChangeArrowheads="1"/>
            </p:cNvSpPr>
            <p:nvPr/>
          </p:nvSpPr>
          <p:spPr bwMode="auto">
            <a:xfrm>
              <a:off x="3546" y="1030"/>
              <a:ext cx="49" cy="54"/>
            </a:xfrm>
            <a:custGeom>
              <a:avLst/>
              <a:gdLst>
                <a:gd name="T0" fmla="*/ 0 w 455"/>
                <a:gd name="T1" fmla="*/ 0 h 493"/>
                <a:gd name="T2" fmla="*/ 0 w 455"/>
                <a:gd name="T3" fmla="*/ 0 h 493"/>
                <a:gd name="T4" fmla="*/ 0 w 455"/>
                <a:gd name="T5" fmla="*/ 0 h 493"/>
                <a:gd name="T6" fmla="*/ 0 w 455"/>
                <a:gd name="T7" fmla="*/ 0 h 493"/>
                <a:gd name="T8" fmla="*/ 0 w 455"/>
                <a:gd name="T9" fmla="*/ 0 h 493"/>
                <a:gd name="T10" fmla="*/ 0 w 455"/>
                <a:gd name="T11" fmla="*/ 0 h 493"/>
                <a:gd name="T12" fmla="*/ 0 w 455"/>
                <a:gd name="T13" fmla="*/ 0 h 493"/>
                <a:gd name="T14" fmla="*/ 0 60000 65536"/>
                <a:gd name="T15" fmla="*/ 0 60000 65536"/>
                <a:gd name="T16" fmla="*/ 0 60000 65536"/>
                <a:gd name="T17" fmla="*/ 0 60000 65536"/>
                <a:gd name="T18" fmla="*/ 0 60000 65536"/>
                <a:gd name="T19" fmla="*/ 0 60000 65536"/>
                <a:gd name="T20" fmla="*/ 0 60000 65536"/>
                <a:gd name="T21" fmla="*/ 0 w 455"/>
                <a:gd name="T22" fmla="*/ 0 h 493"/>
                <a:gd name="T23" fmla="*/ 455 w 455"/>
                <a:gd name="T24" fmla="*/ 493 h 4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5" h="493">
                  <a:moveTo>
                    <a:pt x="0" y="0"/>
                  </a:moveTo>
                  <a:lnTo>
                    <a:pt x="210" y="0"/>
                  </a:lnTo>
                  <a:lnTo>
                    <a:pt x="455" y="246"/>
                  </a:lnTo>
                  <a:lnTo>
                    <a:pt x="210" y="493"/>
                  </a:lnTo>
                  <a:lnTo>
                    <a:pt x="0" y="493"/>
                  </a:lnTo>
                  <a:lnTo>
                    <a:pt x="247" y="246"/>
                  </a:lnTo>
                  <a:lnTo>
                    <a:pt x="0" y="0"/>
                  </a:lnTo>
                  <a:close/>
                </a:path>
              </a:pathLst>
            </a:custGeom>
            <a:grpFill/>
            <a:ln w="9525">
              <a:noFill/>
              <a:round/>
              <a:headEnd/>
              <a:tailEnd/>
            </a:ln>
          </p:spPr>
          <p:txBody>
            <a:bodyPr wrap="none" anchor="ctr"/>
            <a:lstStyle/>
            <a:p>
              <a:endParaRPr lang="en-GB" sz="2200">
                <a:solidFill>
                  <a:srgbClr val="000000"/>
                </a:solidFill>
              </a:endParaRPr>
            </a:p>
          </p:txBody>
        </p:sp>
        <p:sp>
          <p:nvSpPr>
            <p:cNvPr id="120" name="Freeform 48"/>
            <p:cNvSpPr>
              <a:spLocks noChangeArrowheads="1"/>
            </p:cNvSpPr>
            <p:nvPr/>
          </p:nvSpPr>
          <p:spPr bwMode="auto">
            <a:xfrm>
              <a:off x="3469" y="807"/>
              <a:ext cx="212" cy="171"/>
            </a:xfrm>
            <a:custGeom>
              <a:avLst/>
              <a:gdLst>
                <a:gd name="T0" fmla="*/ 0 w 1916"/>
                <a:gd name="T1" fmla="*/ 0 h 1551"/>
                <a:gd name="T2" fmla="*/ 0 w 1916"/>
                <a:gd name="T3" fmla="*/ 0 h 1551"/>
                <a:gd name="T4" fmla="*/ 0 w 1916"/>
                <a:gd name="T5" fmla="*/ 0 h 1551"/>
                <a:gd name="T6" fmla="*/ 0 w 1916"/>
                <a:gd name="T7" fmla="*/ 0 h 1551"/>
                <a:gd name="T8" fmla="*/ 0 w 1916"/>
                <a:gd name="T9" fmla="*/ 0 h 1551"/>
                <a:gd name="T10" fmla="*/ 0 w 1916"/>
                <a:gd name="T11" fmla="*/ 0 h 1551"/>
                <a:gd name="T12" fmla="*/ 0 w 1916"/>
                <a:gd name="T13" fmla="*/ 0 h 1551"/>
                <a:gd name="T14" fmla="*/ 0 w 1916"/>
                <a:gd name="T15" fmla="*/ 0 h 1551"/>
                <a:gd name="T16" fmla="*/ 0 w 1916"/>
                <a:gd name="T17" fmla="*/ 0 h 1551"/>
                <a:gd name="T18" fmla="*/ 0 w 1916"/>
                <a:gd name="T19" fmla="*/ 0 h 1551"/>
                <a:gd name="T20" fmla="*/ 0 w 1916"/>
                <a:gd name="T21" fmla="*/ 0 h 1551"/>
                <a:gd name="T22" fmla="*/ 0 w 1916"/>
                <a:gd name="T23" fmla="*/ 0 h 1551"/>
                <a:gd name="T24" fmla="*/ 0 w 1916"/>
                <a:gd name="T25" fmla="*/ 0 h 1551"/>
                <a:gd name="T26" fmla="*/ 0 w 1916"/>
                <a:gd name="T27" fmla="*/ 0 h 1551"/>
                <a:gd name="T28" fmla="*/ 0 w 1916"/>
                <a:gd name="T29" fmla="*/ 0 h 1551"/>
                <a:gd name="T30" fmla="*/ 0 w 1916"/>
                <a:gd name="T31" fmla="*/ 0 h 1551"/>
                <a:gd name="T32" fmla="*/ 0 w 1916"/>
                <a:gd name="T33" fmla="*/ 0 h 1551"/>
                <a:gd name="T34" fmla="*/ 0 w 1916"/>
                <a:gd name="T35" fmla="*/ 0 h 1551"/>
                <a:gd name="T36" fmla="*/ 0 w 1916"/>
                <a:gd name="T37" fmla="*/ 0 h 1551"/>
                <a:gd name="T38" fmla="*/ 0 w 1916"/>
                <a:gd name="T39" fmla="*/ 0 h 1551"/>
                <a:gd name="T40" fmla="*/ 0 w 1916"/>
                <a:gd name="T41" fmla="*/ 0 h 1551"/>
                <a:gd name="T42" fmla="*/ 0 w 1916"/>
                <a:gd name="T43" fmla="*/ 0 h 1551"/>
                <a:gd name="T44" fmla="*/ 0 w 1916"/>
                <a:gd name="T45" fmla="*/ 0 h 1551"/>
                <a:gd name="T46" fmla="*/ 0 w 1916"/>
                <a:gd name="T47" fmla="*/ 0 h 1551"/>
                <a:gd name="T48" fmla="*/ 0 w 1916"/>
                <a:gd name="T49" fmla="*/ 0 h 1551"/>
                <a:gd name="T50" fmla="*/ 0 w 1916"/>
                <a:gd name="T51" fmla="*/ 0 h 1551"/>
                <a:gd name="T52" fmla="*/ 0 w 1916"/>
                <a:gd name="T53" fmla="*/ 0 h 1551"/>
                <a:gd name="T54" fmla="*/ 0 w 1916"/>
                <a:gd name="T55" fmla="*/ 0 h 1551"/>
                <a:gd name="T56" fmla="*/ 0 w 1916"/>
                <a:gd name="T57" fmla="*/ 0 h 1551"/>
                <a:gd name="T58" fmla="*/ 0 w 1916"/>
                <a:gd name="T59" fmla="*/ 0 h 1551"/>
                <a:gd name="T60" fmla="*/ 0 w 1916"/>
                <a:gd name="T61" fmla="*/ 0 h 1551"/>
                <a:gd name="T62" fmla="*/ 0 w 1916"/>
                <a:gd name="T63" fmla="*/ 0 h 1551"/>
                <a:gd name="T64" fmla="*/ 0 w 1916"/>
                <a:gd name="T65" fmla="*/ 0 h 1551"/>
                <a:gd name="T66" fmla="*/ 0 w 1916"/>
                <a:gd name="T67" fmla="*/ 0 h 1551"/>
                <a:gd name="T68" fmla="*/ 0 w 1916"/>
                <a:gd name="T69" fmla="*/ 0 h 1551"/>
                <a:gd name="T70" fmla="*/ 0 w 1916"/>
                <a:gd name="T71" fmla="*/ 0 h 1551"/>
                <a:gd name="T72" fmla="*/ 0 w 1916"/>
                <a:gd name="T73" fmla="*/ 0 h 1551"/>
                <a:gd name="T74" fmla="*/ 0 w 1916"/>
                <a:gd name="T75" fmla="*/ 0 h 1551"/>
                <a:gd name="T76" fmla="*/ 0 w 1916"/>
                <a:gd name="T77" fmla="*/ 0 h 1551"/>
                <a:gd name="T78" fmla="*/ 0 w 1916"/>
                <a:gd name="T79" fmla="*/ 0 h 1551"/>
                <a:gd name="T80" fmla="*/ 0 w 1916"/>
                <a:gd name="T81" fmla="*/ 0 h 1551"/>
                <a:gd name="T82" fmla="*/ 0 w 1916"/>
                <a:gd name="T83" fmla="*/ 0 h 1551"/>
                <a:gd name="T84" fmla="*/ 0 w 1916"/>
                <a:gd name="T85" fmla="*/ 0 h 1551"/>
                <a:gd name="T86" fmla="*/ 0 w 1916"/>
                <a:gd name="T87" fmla="*/ 0 h 1551"/>
                <a:gd name="T88" fmla="*/ 0 w 1916"/>
                <a:gd name="T89" fmla="*/ 0 h 1551"/>
                <a:gd name="T90" fmla="*/ 0 w 1916"/>
                <a:gd name="T91" fmla="*/ 0 h 1551"/>
                <a:gd name="T92" fmla="*/ 0 w 1916"/>
                <a:gd name="T93" fmla="*/ 0 h 1551"/>
                <a:gd name="T94" fmla="*/ 0 w 1916"/>
                <a:gd name="T95" fmla="*/ 0 h 1551"/>
                <a:gd name="T96" fmla="*/ 0 w 1916"/>
                <a:gd name="T97" fmla="*/ 0 h 1551"/>
                <a:gd name="T98" fmla="*/ 0 w 1916"/>
                <a:gd name="T99" fmla="*/ 0 h 15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16"/>
                <a:gd name="T151" fmla="*/ 0 h 1551"/>
                <a:gd name="T152" fmla="*/ 1916 w 1916"/>
                <a:gd name="T153" fmla="*/ 1551 h 15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16" h="1551">
                  <a:moveTo>
                    <a:pt x="1605" y="682"/>
                  </a:moveTo>
                  <a:lnTo>
                    <a:pt x="1576" y="686"/>
                  </a:lnTo>
                  <a:lnTo>
                    <a:pt x="1550" y="695"/>
                  </a:lnTo>
                  <a:lnTo>
                    <a:pt x="1527" y="710"/>
                  </a:lnTo>
                  <a:lnTo>
                    <a:pt x="1506" y="730"/>
                  </a:lnTo>
                  <a:lnTo>
                    <a:pt x="1492" y="753"/>
                  </a:lnTo>
                  <a:lnTo>
                    <a:pt x="1482" y="780"/>
                  </a:lnTo>
                  <a:lnTo>
                    <a:pt x="1478" y="809"/>
                  </a:lnTo>
                  <a:lnTo>
                    <a:pt x="1481" y="834"/>
                  </a:lnTo>
                  <a:lnTo>
                    <a:pt x="1489" y="859"/>
                  </a:lnTo>
                  <a:lnTo>
                    <a:pt x="1501" y="880"/>
                  </a:lnTo>
                  <a:lnTo>
                    <a:pt x="1516" y="898"/>
                  </a:lnTo>
                  <a:lnTo>
                    <a:pt x="1535" y="913"/>
                  </a:lnTo>
                  <a:lnTo>
                    <a:pt x="1557" y="925"/>
                  </a:lnTo>
                  <a:lnTo>
                    <a:pt x="1580" y="933"/>
                  </a:lnTo>
                  <a:lnTo>
                    <a:pt x="1605" y="936"/>
                  </a:lnTo>
                  <a:lnTo>
                    <a:pt x="1631" y="933"/>
                  </a:lnTo>
                  <a:lnTo>
                    <a:pt x="1654" y="925"/>
                  </a:lnTo>
                  <a:lnTo>
                    <a:pt x="1676" y="913"/>
                  </a:lnTo>
                  <a:lnTo>
                    <a:pt x="1695" y="898"/>
                  </a:lnTo>
                  <a:lnTo>
                    <a:pt x="1710" y="880"/>
                  </a:lnTo>
                  <a:lnTo>
                    <a:pt x="1722" y="859"/>
                  </a:lnTo>
                  <a:lnTo>
                    <a:pt x="1729" y="834"/>
                  </a:lnTo>
                  <a:lnTo>
                    <a:pt x="1732" y="809"/>
                  </a:lnTo>
                  <a:lnTo>
                    <a:pt x="1729" y="783"/>
                  </a:lnTo>
                  <a:lnTo>
                    <a:pt x="1722" y="760"/>
                  </a:lnTo>
                  <a:lnTo>
                    <a:pt x="1710" y="738"/>
                  </a:lnTo>
                  <a:lnTo>
                    <a:pt x="1695" y="720"/>
                  </a:lnTo>
                  <a:lnTo>
                    <a:pt x="1676" y="704"/>
                  </a:lnTo>
                  <a:lnTo>
                    <a:pt x="1654" y="692"/>
                  </a:lnTo>
                  <a:lnTo>
                    <a:pt x="1631" y="685"/>
                  </a:lnTo>
                  <a:lnTo>
                    <a:pt x="1605" y="682"/>
                  </a:lnTo>
                  <a:close/>
                  <a:moveTo>
                    <a:pt x="301" y="682"/>
                  </a:moveTo>
                  <a:lnTo>
                    <a:pt x="272" y="686"/>
                  </a:lnTo>
                  <a:lnTo>
                    <a:pt x="245" y="695"/>
                  </a:lnTo>
                  <a:lnTo>
                    <a:pt x="221" y="710"/>
                  </a:lnTo>
                  <a:lnTo>
                    <a:pt x="202" y="730"/>
                  </a:lnTo>
                  <a:lnTo>
                    <a:pt x="187" y="753"/>
                  </a:lnTo>
                  <a:lnTo>
                    <a:pt x="177" y="780"/>
                  </a:lnTo>
                  <a:lnTo>
                    <a:pt x="174" y="809"/>
                  </a:lnTo>
                  <a:lnTo>
                    <a:pt x="176" y="834"/>
                  </a:lnTo>
                  <a:lnTo>
                    <a:pt x="183" y="859"/>
                  </a:lnTo>
                  <a:lnTo>
                    <a:pt x="195" y="880"/>
                  </a:lnTo>
                  <a:lnTo>
                    <a:pt x="210" y="898"/>
                  </a:lnTo>
                  <a:lnTo>
                    <a:pt x="230" y="913"/>
                  </a:lnTo>
                  <a:lnTo>
                    <a:pt x="251" y="925"/>
                  </a:lnTo>
                  <a:lnTo>
                    <a:pt x="275" y="933"/>
                  </a:lnTo>
                  <a:lnTo>
                    <a:pt x="301" y="936"/>
                  </a:lnTo>
                  <a:lnTo>
                    <a:pt x="328" y="932"/>
                  </a:lnTo>
                  <a:lnTo>
                    <a:pt x="355" y="923"/>
                  </a:lnTo>
                  <a:lnTo>
                    <a:pt x="379" y="908"/>
                  </a:lnTo>
                  <a:lnTo>
                    <a:pt x="398" y="888"/>
                  </a:lnTo>
                  <a:lnTo>
                    <a:pt x="413" y="865"/>
                  </a:lnTo>
                  <a:lnTo>
                    <a:pt x="423" y="838"/>
                  </a:lnTo>
                  <a:lnTo>
                    <a:pt x="426" y="809"/>
                  </a:lnTo>
                  <a:lnTo>
                    <a:pt x="423" y="780"/>
                  </a:lnTo>
                  <a:lnTo>
                    <a:pt x="413" y="753"/>
                  </a:lnTo>
                  <a:lnTo>
                    <a:pt x="398" y="730"/>
                  </a:lnTo>
                  <a:lnTo>
                    <a:pt x="379" y="710"/>
                  </a:lnTo>
                  <a:lnTo>
                    <a:pt x="355" y="695"/>
                  </a:lnTo>
                  <a:lnTo>
                    <a:pt x="328" y="686"/>
                  </a:lnTo>
                  <a:lnTo>
                    <a:pt x="301" y="682"/>
                  </a:lnTo>
                  <a:close/>
                  <a:moveTo>
                    <a:pt x="518" y="123"/>
                  </a:moveTo>
                  <a:lnTo>
                    <a:pt x="504" y="125"/>
                  </a:lnTo>
                  <a:lnTo>
                    <a:pt x="492" y="131"/>
                  </a:lnTo>
                  <a:lnTo>
                    <a:pt x="481" y="142"/>
                  </a:lnTo>
                  <a:lnTo>
                    <a:pt x="474" y="155"/>
                  </a:lnTo>
                  <a:lnTo>
                    <a:pt x="323" y="517"/>
                  </a:lnTo>
                  <a:lnTo>
                    <a:pt x="1592" y="517"/>
                  </a:lnTo>
                  <a:lnTo>
                    <a:pt x="1442" y="155"/>
                  </a:lnTo>
                  <a:lnTo>
                    <a:pt x="1434" y="142"/>
                  </a:lnTo>
                  <a:lnTo>
                    <a:pt x="1423" y="131"/>
                  </a:lnTo>
                  <a:lnTo>
                    <a:pt x="1411" y="125"/>
                  </a:lnTo>
                  <a:lnTo>
                    <a:pt x="1396" y="123"/>
                  </a:lnTo>
                  <a:lnTo>
                    <a:pt x="518" y="123"/>
                  </a:lnTo>
                  <a:close/>
                  <a:moveTo>
                    <a:pt x="504" y="0"/>
                  </a:moveTo>
                  <a:lnTo>
                    <a:pt x="1411" y="0"/>
                  </a:lnTo>
                  <a:lnTo>
                    <a:pt x="1440" y="2"/>
                  </a:lnTo>
                  <a:lnTo>
                    <a:pt x="1467" y="10"/>
                  </a:lnTo>
                  <a:lnTo>
                    <a:pt x="1494" y="22"/>
                  </a:lnTo>
                  <a:lnTo>
                    <a:pt x="1517" y="38"/>
                  </a:lnTo>
                  <a:lnTo>
                    <a:pt x="1537" y="57"/>
                  </a:lnTo>
                  <a:lnTo>
                    <a:pt x="1554" y="80"/>
                  </a:lnTo>
                  <a:lnTo>
                    <a:pt x="1567" y="105"/>
                  </a:lnTo>
                  <a:lnTo>
                    <a:pt x="1744" y="525"/>
                  </a:lnTo>
                  <a:lnTo>
                    <a:pt x="1780" y="538"/>
                  </a:lnTo>
                  <a:lnTo>
                    <a:pt x="1813" y="558"/>
                  </a:lnTo>
                  <a:lnTo>
                    <a:pt x="1842" y="580"/>
                  </a:lnTo>
                  <a:lnTo>
                    <a:pt x="1868" y="608"/>
                  </a:lnTo>
                  <a:lnTo>
                    <a:pt x="1888" y="639"/>
                  </a:lnTo>
                  <a:lnTo>
                    <a:pt x="1903" y="675"/>
                  </a:lnTo>
                  <a:lnTo>
                    <a:pt x="1913" y="712"/>
                  </a:lnTo>
                  <a:lnTo>
                    <a:pt x="1916" y="751"/>
                  </a:lnTo>
                  <a:lnTo>
                    <a:pt x="1916" y="1247"/>
                  </a:lnTo>
                  <a:lnTo>
                    <a:pt x="1763" y="1247"/>
                  </a:lnTo>
                  <a:lnTo>
                    <a:pt x="1763" y="1399"/>
                  </a:lnTo>
                  <a:lnTo>
                    <a:pt x="1759" y="1429"/>
                  </a:lnTo>
                  <a:lnTo>
                    <a:pt x="1751" y="1458"/>
                  </a:lnTo>
                  <a:lnTo>
                    <a:pt x="1737" y="1484"/>
                  </a:lnTo>
                  <a:lnTo>
                    <a:pt x="1719" y="1507"/>
                  </a:lnTo>
                  <a:lnTo>
                    <a:pt x="1696" y="1525"/>
                  </a:lnTo>
                  <a:lnTo>
                    <a:pt x="1670" y="1539"/>
                  </a:lnTo>
                  <a:lnTo>
                    <a:pt x="1642" y="1547"/>
                  </a:lnTo>
                  <a:lnTo>
                    <a:pt x="1611" y="1551"/>
                  </a:lnTo>
                  <a:lnTo>
                    <a:pt x="1581" y="1547"/>
                  </a:lnTo>
                  <a:lnTo>
                    <a:pt x="1552" y="1539"/>
                  </a:lnTo>
                  <a:lnTo>
                    <a:pt x="1528" y="1525"/>
                  </a:lnTo>
                  <a:lnTo>
                    <a:pt x="1505" y="1507"/>
                  </a:lnTo>
                  <a:lnTo>
                    <a:pt x="1487" y="1484"/>
                  </a:lnTo>
                  <a:lnTo>
                    <a:pt x="1473" y="1458"/>
                  </a:lnTo>
                  <a:lnTo>
                    <a:pt x="1464" y="1429"/>
                  </a:lnTo>
                  <a:lnTo>
                    <a:pt x="1461" y="1399"/>
                  </a:lnTo>
                  <a:lnTo>
                    <a:pt x="1461" y="1247"/>
                  </a:lnTo>
                  <a:lnTo>
                    <a:pt x="454" y="1247"/>
                  </a:lnTo>
                  <a:lnTo>
                    <a:pt x="454" y="1399"/>
                  </a:lnTo>
                  <a:lnTo>
                    <a:pt x="451" y="1429"/>
                  </a:lnTo>
                  <a:lnTo>
                    <a:pt x="442" y="1458"/>
                  </a:lnTo>
                  <a:lnTo>
                    <a:pt x="428" y="1484"/>
                  </a:lnTo>
                  <a:lnTo>
                    <a:pt x="410" y="1507"/>
                  </a:lnTo>
                  <a:lnTo>
                    <a:pt x="387" y="1525"/>
                  </a:lnTo>
                  <a:lnTo>
                    <a:pt x="362" y="1539"/>
                  </a:lnTo>
                  <a:lnTo>
                    <a:pt x="334" y="1547"/>
                  </a:lnTo>
                  <a:lnTo>
                    <a:pt x="304" y="1551"/>
                  </a:lnTo>
                  <a:lnTo>
                    <a:pt x="273" y="1547"/>
                  </a:lnTo>
                  <a:lnTo>
                    <a:pt x="245" y="1539"/>
                  </a:lnTo>
                  <a:lnTo>
                    <a:pt x="219" y="1525"/>
                  </a:lnTo>
                  <a:lnTo>
                    <a:pt x="197" y="1507"/>
                  </a:lnTo>
                  <a:lnTo>
                    <a:pt x="179" y="1484"/>
                  </a:lnTo>
                  <a:lnTo>
                    <a:pt x="165" y="1458"/>
                  </a:lnTo>
                  <a:lnTo>
                    <a:pt x="157" y="1429"/>
                  </a:lnTo>
                  <a:lnTo>
                    <a:pt x="153" y="1399"/>
                  </a:lnTo>
                  <a:lnTo>
                    <a:pt x="153" y="1247"/>
                  </a:lnTo>
                  <a:lnTo>
                    <a:pt x="0" y="1247"/>
                  </a:lnTo>
                  <a:lnTo>
                    <a:pt x="0" y="751"/>
                  </a:lnTo>
                  <a:lnTo>
                    <a:pt x="3" y="712"/>
                  </a:lnTo>
                  <a:lnTo>
                    <a:pt x="13" y="675"/>
                  </a:lnTo>
                  <a:lnTo>
                    <a:pt x="28" y="639"/>
                  </a:lnTo>
                  <a:lnTo>
                    <a:pt x="48" y="608"/>
                  </a:lnTo>
                  <a:lnTo>
                    <a:pt x="74" y="580"/>
                  </a:lnTo>
                  <a:lnTo>
                    <a:pt x="103" y="558"/>
                  </a:lnTo>
                  <a:lnTo>
                    <a:pt x="135" y="538"/>
                  </a:lnTo>
                  <a:lnTo>
                    <a:pt x="171" y="525"/>
                  </a:lnTo>
                  <a:lnTo>
                    <a:pt x="348" y="105"/>
                  </a:lnTo>
                  <a:lnTo>
                    <a:pt x="361" y="80"/>
                  </a:lnTo>
                  <a:lnTo>
                    <a:pt x="377" y="57"/>
                  </a:lnTo>
                  <a:lnTo>
                    <a:pt x="397" y="38"/>
                  </a:lnTo>
                  <a:lnTo>
                    <a:pt x="421" y="22"/>
                  </a:lnTo>
                  <a:lnTo>
                    <a:pt x="447" y="10"/>
                  </a:lnTo>
                  <a:lnTo>
                    <a:pt x="474" y="2"/>
                  </a:lnTo>
                  <a:lnTo>
                    <a:pt x="504" y="0"/>
                  </a:lnTo>
                  <a:close/>
                </a:path>
              </a:pathLst>
            </a:custGeom>
            <a:grpFill/>
            <a:ln w="9525">
              <a:noFill/>
              <a:round/>
              <a:headEnd/>
              <a:tailEnd/>
            </a:ln>
          </p:spPr>
          <p:txBody>
            <a:bodyPr wrap="none" anchor="ctr"/>
            <a:lstStyle/>
            <a:p>
              <a:endParaRPr lang="en-GB" sz="2200">
                <a:solidFill>
                  <a:srgbClr val="000000"/>
                </a:solidFill>
              </a:endParaRPr>
            </a:p>
          </p:txBody>
        </p:sp>
        <p:sp>
          <p:nvSpPr>
            <p:cNvPr id="121" name="Freeform 49"/>
            <p:cNvSpPr>
              <a:spLocks noChangeArrowheads="1"/>
            </p:cNvSpPr>
            <p:nvPr/>
          </p:nvSpPr>
          <p:spPr bwMode="auto">
            <a:xfrm>
              <a:off x="3724" y="715"/>
              <a:ext cx="28" cy="28"/>
            </a:xfrm>
            <a:custGeom>
              <a:avLst/>
              <a:gdLst>
                <a:gd name="T0" fmla="*/ 0 w 263"/>
                <a:gd name="T1" fmla="*/ 0 h 261"/>
                <a:gd name="T2" fmla="*/ 0 w 263"/>
                <a:gd name="T3" fmla="*/ 0 h 261"/>
                <a:gd name="T4" fmla="*/ 0 w 263"/>
                <a:gd name="T5" fmla="*/ 0 h 261"/>
                <a:gd name="T6" fmla="*/ 0 w 263"/>
                <a:gd name="T7" fmla="*/ 0 h 261"/>
                <a:gd name="T8" fmla="*/ 0 w 263"/>
                <a:gd name="T9" fmla="*/ 0 h 261"/>
                <a:gd name="T10" fmla="*/ 0 w 263"/>
                <a:gd name="T11" fmla="*/ 0 h 261"/>
                <a:gd name="T12" fmla="*/ 0 w 263"/>
                <a:gd name="T13" fmla="*/ 0 h 261"/>
                <a:gd name="T14" fmla="*/ 0 w 263"/>
                <a:gd name="T15" fmla="*/ 0 h 261"/>
                <a:gd name="T16" fmla="*/ 0 w 263"/>
                <a:gd name="T17" fmla="*/ 0 h 261"/>
                <a:gd name="T18" fmla="*/ 0 w 263"/>
                <a:gd name="T19" fmla="*/ 0 h 261"/>
                <a:gd name="T20" fmla="*/ 0 w 263"/>
                <a:gd name="T21" fmla="*/ 0 h 261"/>
                <a:gd name="T22" fmla="*/ 0 w 263"/>
                <a:gd name="T23" fmla="*/ 0 h 261"/>
                <a:gd name="T24" fmla="*/ 0 w 263"/>
                <a:gd name="T25" fmla="*/ 0 h 261"/>
                <a:gd name="T26" fmla="*/ 0 w 263"/>
                <a:gd name="T27" fmla="*/ 0 h 261"/>
                <a:gd name="T28" fmla="*/ 0 w 263"/>
                <a:gd name="T29" fmla="*/ 0 h 261"/>
                <a:gd name="T30" fmla="*/ 0 w 263"/>
                <a:gd name="T31" fmla="*/ 0 h 261"/>
                <a:gd name="T32" fmla="*/ 0 w 263"/>
                <a:gd name="T33" fmla="*/ 0 h 261"/>
                <a:gd name="T34" fmla="*/ 0 w 263"/>
                <a:gd name="T35" fmla="*/ 0 h 261"/>
                <a:gd name="T36" fmla="*/ 0 w 263"/>
                <a:gd name="T37" fmla="*/ 0 h 261"/>
                <a:gd name="T38" fmla="*/ 0 w 263"/>
                <a:gd name="T39" fmla="*/ 0 h 261"/>
                <a:gd name="T40" fmla="*/ 0 w 263"/>
                <a:gd name="T41" fmla="*/ 0 h 261"/>
                <a:gd name="T42" fmla="*/ 0 w 263"/>
                <a:gd name="T43" fmla="*/ 0 h 261"/>
                <a:gd name="T44" fmla="*/ 0 w 263"/>
                <a:gd name="T45" fmla="*/ 0 h 261"/>
                <a:gd name="T46" fmla="*/ 0 w 263"/>
                <a:gd name="T47" fmla="*/ 0 h 261"/>
                <a:gd name="T48" fmla="*/ 0 w 263"/>
                <a:gd name="T49" fmla="*/ 0 h 261"/>
                <a:gd name="T50" fmla="*/ 0 w 263"/>
                <a:gd name="T51" fmla="*/ 0 h 261"/>
                <a:gd name="T52" fmla="*/ 0 w 263"/>
                <a:gd name="T53" fmla="*/ 0 h 261"/>
                <a:gd name="T54" fmla="*/ 0 w 263"/>
                <a:gd name="T55" fmla="*/ 0 h 261"/>
                <a:gd name="T56" fmla="*/ 0 w 263"/>
                <a:gd name="T57" fmla="*/ 0 h 261"/>
                <a:gd name="T58" fmla="*/ 0 w 263"/>
                <a:gd name="T59" fmla="*/ 0 h 261"/>
                <a:gd name="T60" fmla="*/ 0 w 263"/>
                <a:gd name="T61" fmla="*/ 0 h 261"/>
                <a:gd name="T62" fmla="*/ 0 w 263"/>
                <a:gd name="T63" fmla="*/ 0 h 261"/>
                <a:gd name="T64" fmla="*/ 0 w 263"/>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1"/>
                <a:gd name="T101" fmla="*/ 263 w 263"/>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1">
                  <a:moveTo>
                    <a:pt x="132" y="0"/>
                  </a:moveTo>
                  <a:lnTo>
                    <a:pt x="158" y="2"/>
                  </a:lnTo>
                  <a:lnTo>
                    <a:pt x="183" y="9"/>
                  </a:lnTo>
                  <a:lnTo>
                    <a:pt x="205" y="21"/>
                  </a:lnTo>
                  <a:lnTo>
                    <a:pt x="225" y="37"/>
                  </a:lnTo>
                  <a:lnTo>
                    <a:pt x="241" y="57"/>
                  </a:lnTo>
                  <a:lnTo>
                    <a:pt x="252" y="79"/>
                  </a:lnTo>
                  <a:lnTo>
                    <a:pt x="260" y="103"/>
                  </a:lnTo>
                  <a:lnTo>
                    <a:pt x="263" y="130"/>
                  </a:lnTo>
                  <a:lnTo>
                    <a:pt x="260" y="157"/>
                  </a:lnTo>
                  <a:lnTo>
                    <a:pt x="252" y="181"/>
                  </a:lnTo>
                  <a:lnTo>
                    <a:pt x="241" y="203"/>
                  </a:lnTo>
                  <a:lnTo>
                    <a:pt x="225" y="223"/>
                  </a:lnTo>
                  <a:lnTo>
                    <a:pt x="205" y="238"/>
                  </a:lnTo>
                  <a:lnTo>
                    <a:pt x="183" y="251"/>
                  </a:lnTo>
                  <a:lnTo>
                    <a:pt x="158" y="259"/>
                  </a:lnTo>
                  <a:lnTo>
                    <a:pt x="132" y="261"/>
                  </a:lnTo>
                  <a:lnTo>
                    <a:pt x="105" y="259"/>
                  </a:lnTo>
                  <a:lnTo>
                    <a:pt x="81" y="251"/>
                  </a:lnTo>
                  <a:lnTo>
                    <a:pt x="58" y="238"/>
                  </a:lnTo>
                  <a:lnTo>
                    <a:pt x="39" y="223"/>
                  </a:lnTo>
                  <a:lnTo>
                    <a:pt x="23" y="203"/>
                  </a:lnTo>
                  <a:lnTo>
                    <a:pt x="10" y="181"/>
                  </a:lnTo>
                  <a:lnTo>
                    <a:pt x="2" y="157"/>
                  </a:lnTo>
                  <a:lnTo>
                    <a:pt x="0" y="130"/>
                  </a:lnTo>
                  <a:lnTo>
                    <a:pt x="2" y="103"/>
                  </a:lnTo>
                  <a:lnTo>
                    <a:pt x="10" y="79"/>
                  </a:lnTo>
                  <a:lnTo>
                    <a:pt x="23" y="57"/>
                  </a:lnTo>
                  <a:lnTo>
                    <a:pt x="39" y="37"/>
                  </a:lnTo>
                  <a:lnTo>
                    <a:pt x="58" y="21"/>
                  </a:lnTo>
                  <a:lnTo>
                    <a:pt x="81" y="9"/>
                  </a:lnTo>
                  <a:lnTo>
                    <a:pt x="105" y="2"/>
                  </a:lnTo>
                  <a:lnTo>
                    <a:pt x="132" y="0"/>
                  </a:lnTo>
                  <a:close/>
                </a:path>
              </a:pathLst>
            </a:custGeom>
            <a:grpFill/>
            <a:ln w="9525">
              <a:noFill/>
              <a:round/>
              <a:headEnd/>
              <a:tailEnd/>
            </a:ln>
          </p:spPr>
          <p:txBody>
            <a:bodyPr wrap="none" anchor="ctr"/>
            <a:lstStyle/>
            <a:p>
              <a:endParaRPr lang="en-GB" sz="2200">
                <a:solidFill>
                  <a:srgbClr val="000000"/>
                </a:solidFill>
              </a:endParaRPr>
            </a:p>
          </p:txBody>
        </p:sp>
        <p:sp>
          <p:nvSpPr>
            <p:cNvPr id="122" name="Freeform 50"/>
            <p:cNvSpPr>
              <a:spLocks noChangeArrowheads="1"/>
            </p:cNvSpPr>
            <p:nvPr/>
          </p:nvSpPr>
          <p:spPr bwMode="auto">
            <a:xfrm>
              <a:off x="3398" y="1042"/>
              <a:ext cx="28" cy="28"/>
            </a:xfrm>
            <a:custGeom>
              <a:avLst/>
              <a:gdLst>
                <a:gd name="T0" fmla="*/ 0 w 262"/>
                <a:gd name="T1" fmla="*/ 0 h 261"/>
                <a:gd name="T2" fmla="*/ 0 w 262"/>
                <a:gd name="T3" fmla="*/ 0 h 261"/>
                <a:gd name="T4" fmla="*/ 0 w 262"/>
                <a:gd name="T5" fmla="*/ 0 h 261"/>
                <a:gd name="T6" fmla="*/ 0 w 262"/>
                <a:gd name="T7" fmla="*/ 0 h 261"/>
                <a:gd name="T8" fmla="*/ 0 w 262"/>
                <a:gd name="T9" fmla="*/ 0 h 261"/>
                <a:gd name="T10" fmla="*/ 0 w 262"/>
                <a:gd name="T11" fmla="*/ 0 h 261"/>
                <a:gd name="T12" fmla="*/ 0 w 262"/>
                <a:gd name="T13" fmla="*/ 0 h 261"/>
                <a:gd name="T14" fmla="*/ 0 w 262"/>
                <a:gd name="T15" fmla="*/ 0 h 261"/>
                <a:gd name="T16" fmla="*/ 0 w 262"/>
                <a:gd name="T17" fmla="*/ 0 h 261"/>
                <a:gd name="T18" fmla="*/ 0 w 262"/>
                <a:gd name="T19" fmla="*/ 0 h 261"/>
                <a:gd name="T20" fmla="*/ 0 w 262"/>
                <a:gd name="T21" fmla="*/ 0 h 261"/>
                <a:gd name="T22" fmla="*/ 0 w 262"/>
                <a:gd name="T23" fmla="*/ 0 h 261"/>
                <a:gd name="T24" fmla="*/ 0 w 262"/>
                <a:gd name="T25" fmla="*/ 0 h 261"/>
                <a:gd name="T26" fmla="*/ 0 w 262"/>
                <a:gd name="T27" fmla="*/ 0 h 261"/>
                <a:gd name="T28" fmla="*/ 0 w 262"/>
                <a:gd name="T29" fmla="*/ 0 h 261"/>
                <a:gd name="T30" fmla="*/ 0 w 262"/>
                <a:gd name="T31" fmla="*/ 0 h 261"/>
                <a:gd name="T32" fmla="*/ 0 w 262"/>
                <a:gd name="T33" fmla="*/ 0 h 261"/>
                <a:gd name="T34" fmla="*/ 0 w 262"/>
                <a:gd name="T35" fmla="*/ 0 h 261"/>
                <a:gd name="T36" fmla="*/ 0 w 262"/>
                <a:gd name="T37" fmla="*/ 0 h 261"/>
                <a:gd name="T38" fmla="*/ 0 w 262"/>
                <a:gd name="T39" fmla="*/ 0 h 261"/>
                <a:gd name="T40" fmla="*/ 0 w 262"/>
                <a:gd name="T41" fmla="*/ 0 h 261"/>
                <a:gd name="T42" fmla="*/ 0 w 262"/>
                <a:gd name="T43" fmla="*/ 0 h 261"/>
                <a:gd name="T44" fmla="*/ 0 w 262"/>
                <a:gd name="T45" fmla="*/ 0 h 261"/>
                <a:gd name="T46" fmla="*/ 0 w 262"/>
                <a:gd name="T47" fmla="*/ 0 h 261"/>
                <a:gd name="T48" fmla="*/ 0 w 262"/>
                <a:gd name="T49" fmla="*/ 0 h 261"/>
                <a:gd name="T50" fmla="*/ 0 w 262"/>
                <a:gd name="T51" fmla="*/ 0 h 261"/>
                <a:gd name="T52" fmla="*/ 0 w 262"/>
                <a:gd name="T53" fmla="*/ 0 h 261"/>
                <a:gd name="T54" fmla="*/ 0 w 262"/>
                <a:gd name="T55" fmla="*/ 0 h 261"/>
                <a:gd name="T56" fmla="*/ 0 w 262"/>
                <a:gd name="T57" fmla="*/ 0 h 261"/>
                <a:gd name="T58" fmla="*/ 0 w 262"/>
                <a:gd name="T59" fmla="*/ 0 h 261"/>
                <a:gd name="T60" fmla="*/ 0 w 262"/>
                <a:gd name="T61" fmla="*/ 0 h 261"/>
                <a:gd name="T62" fmla="*/ 0 w 262"/>
                <a:gd name="T63" fmla="*/ 0 h 261"/>
                <a:gd name="T64" fmla="*/ 0 w 262"/>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1"/>
                <a:gd name="T101" fmla="*/ 262 w 262"/>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1">
                  <a:moveTo>
                    <a:pt x="130" y="0"/>
                  </a:moveTo>
                  <a:lnTo>
                    <a:pt x="157" y="2"/>
                  </a:lnTo>
                  <a:lnTo>
                    <a:pt x="181" y="9"/>
                  </a:lnTo>
                  <a:lnTo>
                    <a:pt x="204" y="21"/>
                  </a:lnTo>
                  <a:lnTo>
                    <a:pt x="223" y="37"/>
                  </a:lnTo>
                  <a:lnTo>
                    <a:pt x="239" y="57"/>
                  </a:lnTo>
                  <a:lnTo>
                    <a:pt x="251" y="79"/>
                  </a:lnTo>
                  <a:lnTo>
                    <a:pt x="259" y="104"/>
                  </a:lnTo>
                  <a:lnTo>
                    <a:pt x="262" y="131"/>
                  </a:lnTo>
                  <a:lnTo>
                    <a:pt x="259" y="157"/>
                  </a:lnTo>
                  <a:lnTo>
                    <a:pt x="251" y="181"/>
                  </a:lnTo>
                  <a:lnTo>
                    <a:pt x="239" y="204"/>
                  </a:lnTo>
                  <a:lnTo>
                    <a:pt x="223" y="223"/>
                  </a:lnTo>
                  <a:lnTo>
                    <a:pt x="204" y="239"/>
                  </a:lnTo>
                  <a:lnTo>
                    <a:pt x="181" y="251"/>
                  </a:lnTo>
                  <a:lnTo>
                    <a:pt x="157" y="259"/>
                  </a:lnTo>
                  <a:lnTo>
                    <a:pt x="130" y="261"/>
                  </a:lnTo>
                  <a:lnTo>
                    <a:pt x="104" y="259"/>
                  </a:lnTo>
                  <a:lnTo>
                    <a:pt x="79" y="251"/>
                  </a:lnTo>
                  <a:lnTo>
                    <a:pt x="57" y="239"/>
                  </a:lnTo>
                  <a:lnTo>
                    <a:pt x="38" y="223"/>
                  </a:lnTo>
                  <a:lnTo>
                    <a:pt x="23" y="204"/>
                  </a:lnTo>
                  <a:lnTo>
                    <a:pt x="10" y="181"/>
                  </a:lnTo>
                  <a:lnTo>
                    <a:pt x="2" y="157"/>
                  </a:lnTo>
                  <a:lnTo>
                    <a:pt x="0" y="131"/>
                  </a:lnTo>
                  <a:lnTo>
                    <a:pt x="2" y="104"/>
                  </a:lnTo>
                  <a:lnTo>
                    <a:pt x="10" y="79"/>
                  </a:lnTo>
                  <a:lnTo>
                    <a:pt x="23" y="57"/>
                  </a:lnTo>
                  <a:lnTo>
                    <a:pt x="38" y="37"/>
                  </a:lnTo>
                  <a:lnTo>
                    <a:pt x="57" y="21"/>
                  </a:lnTo>
                  <a:lnTo>
                    <a:pt x="79" y="9"/>
                  </a:lnTo>
                  <a:lnTo>
                    <a:pt x="104" y="2"/>
                  </a:lnTo>
                  <a:lnTo>
                    <a:pt x="130" y="0"/>
                  </a:lnTo>
                  <a:close/>
                </a:path>
              </a:pathLst>
            </a:custGeom>
            <a:grpFill/>
            <a:ln w="9525">
              <a:noFill/>
              <a:round/>
              <a:headEnd/>
              <a:tailEnd/>
            </a:ln>
          </p:spPr>
          <p:txBody>
            <a:bodyPr wrap="none" anchor="ctr"/>
            <a:lstStyle/>
            <a:p>
              <a:endParaRPr lang="en-GB" sz="2200">
                <a:solidFill>
                  <a:srgbClr val="000000"/>
                </a:solidFill>
              </a:endParaRPr>
            </a:p>
          </p:txBody>
        </p:sp>
        <p:sp>
          <p:nvSpPr>
            <p:cNvPr id="123" name="Freeform 51"/>
            <p:cNvSpPr>
              <a:spLocks noChangeArrowheads="1"/>
            </p:cNvSpPr>
            <p:nvPr/>
          </p:nvSpPr>
          <p:spPr bwMode="auto">
            <a:xfrm>
              <a:off x="3452" y="1043"/>
              <a:ext cx="28" cy="28"/>
            </a:xfrm>
            <a:custGeom>
              <a:avLst/>
              <a:gdLst>
                <a:gd name="T0" fmla="*/ 0 w 260"/>
                <a:gd name="T1" fmla="*/ 0 h 261"/>
                <a:gd name="T2" fmla="*/ 0 w 260"/>
                <a:gd name="T3" fmla="*/ 0 h 261"/>
                <a:gd name="T4" fmla="*/ 0 w 260"/>
                <a:gd name="T5" fmla="*/ 0 h 261"/>
                <a:gd name="T6" fmla="*/ 0 w 260"/>
                <a:gd name="T7" fmla="*/ 0 h 261"/>
                <a:gd name="T8" fmla="*/ 0 w 260"/>
                <a:gd name="T9" fmla="*/ 0 h 261"/>
                <a:gd name="T10" fmla="*/ 0 w 260"/>
                <a:gd name="T11" fmla="*/ 0 h 261"/>
                <a:gd name="T12" fmla="*/ 0 w 260"/>
                <a:gd name="T13" fmla="*/ 0 h 261"/>
                <a:gd name="T14" fmla="*/ 0 w 260"/>
                <a:gd name="T15" fmla="*/ 0 h 261"/>
                <a:gd name="T16" fmla="*/ 0 w 260"/>
                <a:gd name="T17" fmla="*/ 0 h 261"/>
                <a:gd name="T18" fmla="*/ 0 w 260"/>
                <a:gd name="T19" fmla="*/ 0 h 261"/>
                <a:gd name="T20" fmla="*/ 0 w 260"/>
                <a:gd name="T21" fmla="*/ 0 h 261"/>
                <a:gd name="T22" fmla="*/ 0 w 260"/>
                <a:gd name="T23" fmla="*/ 0 h 261"/>
                <a:gd name="T24" fmla="*/ 0 w 260"/>
                <a:gd name="T25" fmla="*/ 0 h 261"/>
                <a:gd name="T26" fmla="*/ 0 w 260"/>
                <a:gd name="T27" fmla="*/ 0 h 261"/>
                <a:gd name="T28" fmla="*/ 0 w 260"/>
                <a:gd name="T29" fmla="*/ 0 h 261"/>
                <a:gd name="T30" fmla="*/ 0 w 260"/>
                <a:gd name="T31" fmla="*/ 0 h 261"/>
                <a:gd name="T32" fmla="*/ 0 w 260"/>
                <a:gd name="T33" fmla="*/ 0 h 261"/>
                <a:gd name="T34" fmla="*/ 0 w 260"/>
                <a:gd name="T35" fmla="*/ 0 h 261"/>
                <a:gd name="T36" fmla="*/ 0 w 260"/>
                <a:gd name="T37" fmla="*/ 0 h 261"/>
                <a:gd name="T38" fmla="*/ 0 w 260"/>
                <a:gd name="T39" fmla="*/ 0 h 261"/>
                <a:gd name="T40" fmla="*/ 0 w 260"/>
                <a:gd name="T41" fmla="*/ 0 h 261"/>
                <a:gd name="T42" fmla="*/ 0 w 260"/>
                <a:gd name="T43" fmla="*/ 0 h 261"/>
                <a:gd name="T44" fmla="*/ 0 w 260"/>
                <a:gd name="T45" fmla="*/ 0 h 261"/>
                <a:gd name="T46" fmla="*/ 0 w 260"/>
                <a:gd name="T47" fmla="*/ 0 h 261"/>
                <a:gd name="T48" fmla="*/ 0 w 260"/>
                <a:gd name="T49" fmla="*/ 0 h 261"/>
                <a:gd name="T50" fmla="*/ 0 w 260"/>
                <a:gd name="T51" fmla="*/ 0 h 261"/>
                <a:gd name="T52" fmla="*/ 0 w 260"/>
                <a:gd name="T53" fmla="*/ 0 h 261"/>
                <a:gd name="T54" fmla="*/ 0 w 260"/>
                <a:gd name="T55" fmla="*/ 0 h 261"/>
                <a:gd name="T56" fmla="*/ 0 w 260"/>
                <a:gd name="T57" fmla="*/ 0 h 261"/>
                <a:gd name="T58" fmla="*/ 0 w 260"/>
                <a:gd name="T59" fmla="*/ 0 h 261"/>
                <a:gd name="T60" fmla="*/ 0 w 260"/>
                <a:gd name="T61" fmla="*/ 0 h 261"/>
                <a:gd name="T62" fmla="*/ 0 w 260"/>
                <a:gd name="T63" fmla="*/ 0 h 261"/>
                <a:gd name="T64" fmla="*/ 0 w 260"/>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0"/>
                <a:gd name="T100" fmla="*/ 0 h 261"/>
                <a:gd name="T101" fmla="*/ 260 w 260"/>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0" h="261">
                  <a:moveTo>
                    <a:pt x="131" y="0"/>
                  </a:moveTo>
                  <a:lnTo>
                    <a:pt x="156" y="2"/>
                  </a:lnTo>
                  <a:lnTo>
                    <a:pt x="181" y="9"/>
                  </a:lnTo>
                  <a:lnTo>
                    <a:pt x="204" y="21"/>
                  </a:lnTo>
                  <a:lnTo>
                    <a:pt x="223" y="37"/>
                  </a:lnTo>
                  <a:lnTo>
                    <a:pt x="238" y="57"/>
                  </a:lnTo>
                  <a:lnTo>
                    <a:pt x="251" y="79"/>
                  </a:lnTo>
                  <a:lnTo>
                    <a:pt x="258" y="104"/>
                  </a:lnTo>
                  <a:lnTo>
                    <a:pt x="260" y="130"/>
                  </a:lnTo>
                  <a:lnTo>
                    <a:pt x="258" y="156"/>
                  </a:lnTo>
                  <a:lnTo>
                    <a:pt x="251" y="181"/>
                  </a:lnTo>
                  <a:lnTo>
                    <a:pt x="238" y="204"/>
                  </a:lnTo>
                  <a:lnTo>
                    <a:pt x="223" y="223"/>
                  </a:lnTo>
                  <a:lnTo>
                    <a:pt x="204" y="239"/>
                  </a:lnTo>
                  <a:lnTo>
                    <a:pt x="181" y="251"/>
                  </a:lnTo>
                  <a:lnTo>
                    <a:pt x="156" y="259"/>
                  </a:lnTo>
                  <a:lnTo>
                    <a:pt x="131" y="261"/>
                  </a:lnTo>
                  <a:lnTo>
                    <a:pt x="104" y="259"/>
                  </a:lnTo>
                  <a:lnTo>
                    <a:pt x="79" y="251"/>
                  </a:lnTo>
                  <a:lnTo>
                    <a:pt x="58" y="239"/>
                  </a:lnTo>
                  <a:lnTo>
                    <a:pt x="38" y="223"/>
                  </a:lnTo>
                  <a:lnTo>
                    <a:pt x="22" y="204"/>
                  </a:lnTo>
                  <a:lnTo>
                    <a:pt x="10" y="181"/>
                  </a:lnTo>
                  <a:lnTo>
                    <a:pt x="3" y="156"/>
                  </a:lnTo>
                  <a:lnTo>
                    <a:pt x="0" y="130"/>
                  </a:lnTo>
                  <a:lnTo>
                    <a:pt x="3" y="104"/>
                  </a:lnTo>
                  <a:lnTo>
                    <a:pt x="10" y="79"/>
                  </a:lnTo>
                  <a:lnTo>
                    <a:pt x="22" y="57"/>
                  </a:lnTo>
                  <a:lnTo>
                    <a:pt x="38" y="37"/>
                  </a:lnTo>
                  <a:lnTo>
                    <a:pt x="58" y="21"/>
                  </a:lnTo>
                  <a:lnTo>
                    <a:pt x="79" y="9"/>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24" name="Freeform 52"/>
            <p:cNvSpPr>
              <a:spLocks noChangeArrowheads="1"/>
            </p:cNvSpPr>
            <p:nvPr/>
          </p:nvSpPr>
          <p:spPr bwMode="auto">
            <a:xfrm>
              <a:off x="3507" y="104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2"/>
                  </a:lnTo>
                  <a:lnTo>
                    <a:pt x="183" y="9"/>
                  </a:lnTo>
                  <a:lnTo>
                    <a:pt x="205" y="22"/>
                  </a:lnTo>
                  <a:lnTo>
                    <a:pt x="224" y="37"/>
                  </a:lnTo>
                  <a:lnTo>
                    <a:pt x="240" y="57"/>
                  </a:lnTo>
                  <a:lnTo>
                    <a:pt x="252" y="79"/>
                  </a:lnTo>
                  <a:lnTo>
                    <a:pt x="260" y="104"/>
                  </a:lnTo>
                  <a:lnTo>
                    <a:pt x="263" y="130"/>
                  </a:lnTo>
                  <a:lnTo>
                    <a:pt x="260" y="157"/>
                  </a:lnTo>
                  <a:lnTo>
                    <a:pt x="252" y="181"/>
                  </a:lnTo>
                  <a:lnTo>
                    <a:pt x="240" y="204"/>
                  </a:lnTo>
                  <a:lnTo>
                    <a:pt x="224" y="223"/>
                  </a:lnTo>
                  <a:lnTo>
                    <a:pt x="205" y="239"/>
                  </a:lnTo>
                  <a:lnTo>
                    <a:pt x="183" y="251"/>
                  </a:lnTo>
                  <a:lnTo>
                    <a:pt x="158" y="259"/>
                  </a:lnTo>
                  <a:lnTo>
                    <a:pt x="131" y="262"/>
                  </a:lnTo>
                  <a:lnTo>
                    <a:pt x="105" y="259"/>
                  </a:lnTo>
                  <a:lnTo>
                    <a:pt x="81" y="251"/>
                  </a:lnTo>
                  <a:lnTo>
                    <a:pt x="58" y="239"/>
                  </a:lnTo>
                  <a:lnTo>
                    <a:pt x="39" y="223"/>
                  </a:lnTo>
                  <a:lnTo>
                    <a:pt x="23" y="204"/>
                  </a:lnTo>
                  <a:lnTo>
                    <a:pt x="11" y="181"/>
                  </a:lnTo>
                  <a:lnTo>
                    <a:pt x="2" y="157"/>
                  </a:lnTo>
                  <a:lnTo>
                    <a:pt x="0" y="130"/>
                  </a:lnTo>
                  <a:lnTo>
                    <a:pt x="2" y="104"/>
                  </a:lnTo>
                  <a:lnTo>
                    <a:pt x="11" y="79"/>
                  </a:lnTo>
                  <a:lnTo>
                    <a:pt x="23" y="57"/>
                  </a:lnTo>
                  <a:lnTo>
                    <a:pt x="39" y="37"/>
                  </a:lnTo>
                  <a:lnTo>
                    <a:pt x="58" y="22"/>
                  </a:lnTo>
                  <a:lnTo>
                    <a:pt x="81" y="9"/>
                  </a:lnTo>
                  <a:lnTo>
                    <a:pt x="105"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25" name="Freeform 53"/>
            <p:cNvSpPr>
              <a:spLocks noChangeArrowheads="1"/>
            </p:cNvSpPr>
            <p:nvPr/>
          </p:nvSpPr>
          <p:spPr bwMode="auto">
            <a:xfrm>
              <a:off x="3615" y="1043"/>
              <a:ext cx="29"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2"/>
                  </a:lnTo>
                  <a:lnTo>
                    <a:pt x="183" y="9"/>
                  </a:lnTo>
                  <a:lnTo>
                    <a:pt x="205" y="22"/>
                  </a:lnTo>
                  <a:lnTo>
                    <a:pt x="224" y="37"/>
                  </a:lnTo>
                  <a:lnTo>
                    <a:pt x="241" y="57"/>
                  </a:lnTo>
                  <a:lnTo>
                    <a:pt x="252" y="79"/>
                  </a:lnTo>
                  <a:lnTo>
                    <a:pt x="260" y="104"/>
                  </a:lnTo>
                  <a:lnTo>
                    <a:pt x="263" y="130"/>
                  </a:lnTo>
                  <a:lnTo>
                    <a:pt x="260" y="157"/>
                  </a:lnTo>
                  <a:lnTo>
                    <a:pt x="252" y="181"/>
                  </a:lnTo>
                  <a:lnTo>
                    <a:pt x="241" y="204"/>
                  </a:lnTo>
                  <a:lnTo>
                    <a:pt x="224" y="223"/>
                  </a:lnTo>
                  <a:lnTo>
                    <a:pt x="205" y="239"/>
                  </a:lnTo>
                  <a:lnTo>
                    <a:pt x="183" y="251"/>
                  </a:lnTo>
                  <a:lnTo>
                    <a:pt x="158" y="259"/>
                  </a:lnTo>
                  <a:lnTo>
                    <a:pt x="131" y="262"/>
                  </a:lnTo>
                  <a:lnTo>
                    <a:pt x="105" y="259"/>
                  </a:lnTo>
                  <a:lnTo>
                    <a:pt x="81" y="251"/>
                  </a:lnTo>
                  <a:lnTo>
                    <a:pt x="58" y="239"/>
                  </a:lnTo>
                  <a:lnTo>
                    <a:pt x="39" y="223"/>
                  </a:lnTo>
                  <a:lnTo>
                    <a:pt x="23" y="204"/>
                  </a:lnTo>
                  <a:lnTo>
                    <a:pt x="11" y="181"/>
                  </a:lnTo>
                  <a:lnTo>
                    <a:pt x="3" y="157"/>
                  </a:lnTo>
                  <a:lnTo>
                    <a:pt x="0" y="130"/>
                  </a:lnTo>
                  <a:lnTo>
                    <a:pt x="3" y="104"/>
                  </a:lnTo>
                  <a:lnTo>
                    <a:pt x="11" y="79"/>
                  </a:lnTo>
                  <a:lnTo>
                    <a:pt x="23" y="57"/>
                  </a:lnTo>
                  <a:lnTo>
                    <a:pt x="39" y="37"/>
                  </a:lnTo>
                  <a:lnTo>
                    <a:pt x="58" y="22"/>
                  </a:lnTo>
                  <a:lnTo>
                    <a:pt x="81" y="9"/>
                  </a:lnTo>
                  <a:lnTo>
                    <a:pt x="105"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26" name="Freeform 54"/>
            <p:cNvSpPr>
              <a:spLocks noChangeArrowheads="1"/>
            </p:cNvSpPr>
            <p:nvPr/>
          </p:nvSpPr>
          <p:spPr bwMode="auto">
            <a:xfrm>
              <a:off x="3670" y="104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6" y="2"/>
                  </a:lnTo>
                  <a:lnTo>
                    <a:pt x="181" y="9"/>
                  </a:lnTo>
                  <a:lnTo>
                    <a:pt x="204" y="22"/>
                  </a:lnTo>
                  <a:lnTo>
                    <a:pt x="223" y="37"/>
                  </a:lnTo>
                  <a:lnTo>
                    <a:pt x="240" y="57"/>
                  </a:lnTo>
                  <a:lnTo>
                    <a:pt x="252" y="79"/>
                  </a:lnTo>
                  <a:lnTo>
                    <a:pt x="259" y="104"/>
                  </a:lnTo>
                  <a:lnTo>
                    <a:pt x="263" y="130"/>
                  </a:lnTo>
                  <a:lnTo>
                    <a:pt x="259" y="157"/>
                  </a:lnTo>
                  <a:lnTo>
                    <a:pt x="252" y="181"/>
                  </a:lnTo>
                  <a:lnTo>
                    <a:pt x="240" y="204"/>
                  </a:lnTo>
                  <a:lnTo>
                    <a:pt x="223" y="223"/>
                  </a:lnTo>
                  <a:lnTo>
                    <a:pt x="204" y="239"/>
                  </a:lnTo>
                  <a:lnTo>
                    <a:pt x="181" y="251"/>
                  </a:lnTo>
                  <a:lnTo>
                    <a:pt x="156" y="259"/>
                  </a:lnTo>
                  <a:lnTo>
                    <a:pt x="131" y="262"/>
                  </a:lnTo>
                  <a:lnTo>
                    <a:pt x="104" y="259"/>
                  </a:lnTo>
                  <a:lnTo>
                    <a:pt x="79" y="251"/>
                  </a:lnTo>
                  <a:lnTo>
                    <a:pt x="57" y="239"/>
                  </a:lnTo>
                  <a:lnTo>
                    <a:pt x="37" y="223"/>
                  </a:lnTo>
                  <a:lnTo>
                    <a:pt x="22" y="204"/>
                  </a:lnTo>
                  <a:lnTo>
                    <a:pt x="10" y="181"/>
                  </a:lnTo>
                  <a:lnTo>
                    <a:pt x="3" y="157"/>
                  </a:lnTo>
                  <a:lnTo>
                    <a:pt x="0" y="130"/>
                  </a:lnTo>
                  <a:lnTo>
                    <a:pt x="3" y="104"/>
                  </a:lnTo>
                  <a:lnTo>
                    <a:pt x="10" y="79"/>
                  </a:lnTo>
                  <a:lnTo>
                    <a:pt x="22" y="57"/>
                  </a:lnTo>
                  <a:lnTo>
                    <a:pt x="37" y="37"/>
                  </a:lnTo>
                  <a:lnTo>
                    <a:pt x="57" y="22"/>
                  </a:lnTo>
                  <a:lnTo>
                    <a:pt x="79" y="9"/>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27" name="Freeform 55"/>
            <p:cNvSpPr>
              <a:spLocks noChangeArrowheads="1"/>
            </p:cNvSpPr>
            <p:nvPr/>
          </p:nvSpPr>
          <p:spPr bwMode="auto">
            <a:xfrm>
              <a:off x="3724" y="104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3" y="10"/>
                  </a:lnTo>
                  <a:lnTo>
                    <a:pt x="205" y="22"/>
                  </a:lnTo>
                  <a:lnTo>
                    <a:pt x="225" y="38"/>
                  </a:lnTo>
                  <a:lnTo>
                    <a:pt x="241" y="58"/>
                  </a:lnTo>
                  <a:lnTo>
                    <a:pt x="252" y="80"/>
                  </a:lnTo>
                  <a:lnTo>
                    <a:pt x="261" y="104"/>
                  </a:lnTo>
                  <a:lnTo>
                    <a:pt x="263" y="131"/>
                  </a:lnTo>
                  <a:lnTo>
                    <a:pt x="261" y="158"/>
                  </a:lnTo>
                  <a:lnTo>
                    <a:pt x="252" y="182"/>
                  </a:lnTo>
                  <a:lnTo>
                    <a:pt x="241" y="205"/>
                  </a:lnTo>
                  <a:lnTo>
                    <a:pt x="225" y="224"/>
                  </a:lnTo>
                  <a:lnTo>
                    <a:pt x="205" y="240"/>
                  </a:lnTo>
                  <a:lnTo>
                    <a:pt x="183" y="252"/>
                  </a:lnTo>
                  <a:lnTo>
                    <a:pt x="158" y="260"/>
                  </a:lnTo>
                  <a:lnTo>
                    <a:pt x="131" y="262"/>
                  </a:lnTo>
                  <a:lnTo>
                    <a:pt x="104" y="260"/>
                  </a:lnTo>
                  <a:lnTo>
                    <a:pt x="80" y="252"/>
                  </a:lnTo>
                  <a:lnTo>
                    <a:pt x="58" y="240"/>
                  </a:lnTo>
                  <a:lnTo>
                    <a:pt x="39" y="224"/>
                  </a:lnTo>
                  <a:lnTo>
                    <a:pt x="23" y="205"/>
                  </a:lnTo>
                  <a:lnTo>
                    <a:pt x="10" y="182"/>
                  </a:lnTo>
                  <a:lnTo>
                    <a:pt x="2" y="158"/>
                  </a:lnTo>
                  <a:lnTo>
                    <a:pt x="0" y="131"/>
                  </a:lnTo>
                  <a:lnTo>
                    <a:pt x="2" y="104"/>
                  </a:lnTo>
                  <a:lnTo>
                    <a:pt x="10" y="80"/>
                  </a:lnTo>
                  <a:lnTo>
                    <a:pt x="23" y="58"/>
                  </a:lnTo>
                  <a:lnTo>
                    <a:pt x="39" y="38"/>
                  </a:lnTo>
                  <a:lnTo>
                    <a:pt x="58" y="22"/>
                  </a:lnTo>
                  <a:lnTo>
                    <a:pt x="80"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28" name="Freeform 56"/>
            <p:cNvSpPr>
              <a:spLocks noChangeArrowheads="1"/>
            </p:cNvSpPr>
            <p:nvPr/>
          </p:nvSpPr>
          <p:spPr bwMode="auto">
            <a:xfrm>
              <a:off x="3398" y="987"/>
              <a:ext cx="28" cy="28"/>
            </a:xfrm>
            <a:custGeom>
              <a:avLst/>
              <a:gdLst>
                <a:gd name="T0" fmla="*/ 0 w 262"/>
                <a:gd name="T1" fmla="*/ 0 h 262"/>
                <a:gd name="T2" fmla="*/ 0 w 262"/>
                <a:gd name="T3" fmla="*/ 0 h 262"/>
                <a:gd name="T4" fmla="*/ 0 w 262"/>
                <a:gd name="T5" fmla="*/ 0 h 262"/>
                <a:gd name="T6" fmla="*/ 0 w 262"/>
                <a:gd name="T7" fmla="*/ 0 h 262"/>
                <a:gd name="T8" fmla="*/ 0 w 262"/>
                <a:gd name="T9" fmla="*/ 0 h 262"/>
                <a:gd name="T10" fmla="*/ 0 w 262"/>
                <a:gd name="T11" fmla="*/ 0 h 262"/>
                <a:gd name="T12" fmla="*/ 0 w 262"/>
                <a:gd name="T13" fmla="*/ 0 h 262"/>
                <a:gd name="T14" fmla="*/ 0 w 262"/>
                <a:gd name="T15" fmla="*/ 0 h 262"/>
                <a:gd name="T16" fmla="*/ 0 w 262"/>
                <a:gd name="T17" fmla="*/ 0 h 262"/>
                <a:gd name="T18" fmla="*/ 0 w 262"/>
                <a:gd name="T19" fmla="*/ 0 h 262"/>
                <a:gd name="T20" fmla="*/ 0 w 262"/>
                <a:gd name="T21" fmla="*/ 0 h 262"/>
                <a:gd name="T22" fmla="*/ 0 w 262"/>
                <a:gd name="T23" fmla="*/ 0 h 262"/>
                <a:gd name="T24" fmla="*/ 0 w 262"/>
                <a:gd name="T25" fmla="*/ 0 h 262"/>
                <a:gd name="T26" fmla="*/ 0 w 262"/>
                <a:gd name="T27" fmla="*/ 0 h 262"/>
                <a:gd name="T28" fmla="*/ 0 w 262"/>
                <a:gd name="T29" fmla="*/ 0 h 262"/>
                <a:gd name="T30" fmla="*/ 0 w 262"/>
                <a:gd name="T31" fmla="*/ 0 h 262"/>
                <a:gd name="T32" fmla="*/ 0 w 262"/>
                <a:gd name="T33" fmla="*/ 0 h 262"/>
                <a:gd name="T34" fmla="*/ 0 w 262"/>
                <a:gd name="T35" fmla="*/ 0 h 262"/>
                <a:gd name="T36" fmla="*/ 0 w 262"/>
                <a:gd name="T37" fmla="*/ 0 h 262"/>
                <a:gd name="T38" fmla="*/ 0 w 262"/>
                <a:gd name="T39" fmla="*/ 0 h 262"/>
                <a:gd name="T40" fmla="*/ 0 w 262"/>
                <a:gd name="T41" fmla="*/ 0 h 262"/>
                <a:gd name="T42" fmla="*/ 0 w 262"/>
                <a:gd name="T43" fmla="*/ 0 h 262"/>
                <a:gd name="T44" fmla="*/ 0 w 262"/>
                <a:gd name="T45" fmla="*/ 0 h 262"/>
                <a:gd name="T46" fmla="*/ 0 w 262"/>
                <a:gd name="T47" fmla="*/ 0 h 262"/>
                <a:gd name="T48" fmla="*/ 0 w 262"/>
                <a:gd name="T49" fmla="*/ 0 h 262"/>
                <a:gd name="T50" fmla="*/ 0 w 262"/>
                <a:gd name="T51" fmla="*/ 0 h 262"/>
                <a:gd name="T52" fmla="*/ 0 w 262"/>
                <a:gd name="T53" fmla="*/ 0 h 262"/>
                <a:gd name="T54" fmla="*/ 0 w 262"/>
                <a:gd name="T55" fmla="*/ 0 h 262"/>
                <a:gd name="T56" fmla="*/ 0 w 262"/>
                <a:gd name="T57" fmla="*/ 0 h 262"/>
                <a:gd name="T58" fmla="*/ 0 w 262"/>
                <a:gd name="T59" fmla="*/ 0 h 262"/>
                <a:gd name="T60" fmla="*/ 0 w 262"/>
                <a:gd name="T61" fmla="*/ 0 h 262"/>
                <a:gd name="T62" fmla="*/ 0 w 262"/>
                <a:gd name="T63" fmla="*/ 0 h 262"/>
                <a:gd name="T64" fmla="*/ 0 w 262"/>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2"/>
                <a:gd name="T101" fmla="*/ 262 w 262"/>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2">
                  <a:moveTo>
                    <a:pt x="130" y="0"/>
                  </a:moveTo>
                  <a:lnTo>
                    <a:pt x="157" y="2"/>
                  </a:lnTo>
                  <a:lnTo>
                    <a:pt x="181" y="9"/>
                  </a:lnTo>
                  <a:lnTo>
                    <a:pt x="204" y="22"/>
                  </a:lnTo>
                  <a:lnTo>
                    <a:pt x="223" y="37"/>
                  </a:lnTo>
                  <a:lnTo>
                    <a:pt x="239" y="57"/>
                  </a:lnTo>
                  <a:lnTo>
                    <a:pt x="251" y="79"/>
                  </a:lnTo>
                  <a:lnTo>
                    <a:pt x="259" y="104"/>
                  </a:lnTo>
                  <a:lnTo>
                    <a:pt x="262" y="130"/>
                  </a:lnTo>
                  <a:lnTo>
                    <a:pt x="259" y="157"/>
                  </a:lnTo>
                  <a:lnTo>
                    <a:pt x="251" y="181"/>
                  </a:lnTo>
                  <a:lnTo>
                    <a:pt x="239" y="204"/>
                  </a:lnTo>
                  <a:lnTo>
                    <a:pt x="223" y="223"/>
                  </a:lnTo>
                  <a:lnTo>
                    <a:pt x="204" y="239"/>
                  </a:lnTo>
                  <a:lnTo>
                    <a:pt x="181" y="251"/>
                  </a:lnTo>
                  <a:lnTo>
                    <a:pt x="157" y="259"/>
                  </a:lnTo>
                  <a:lnTo>
                    <a:pt x="130" y="262"/>
                  </a:lnTo>
                  <a:lnTo>
                    <a:pt x="104" y="259"/>
                  </a:lnTo>
                  <a:lnTo>
                    <a:pt x="79" y="251"/>
                  </a:lnTo>
                  <a:lnTo>
                    <a:pt x="57" y="239"/>
                  </a:lnTo>
                  <a:lnTo>
                    <a:pt x="38" y="223"/>
                  </a:lnTo>
                  <a:lnTo>
                    <a:pt x="23" y="204"/>
                  </a:lnTo>
                  <a:lnTo>
                    <a:pt x="10" y="181"/>
                  </a:lnTo>
                  <a:lnTo>
                    <a:pt x="2" y="157"/>
                  </a:lnTo>
                  <a:lnTo>
                    <a:pt x="0" y="130"/>
                  </a:lnTo>
                  <a:lnTo>
                    <a:pt x="2" y="104"/>
                  </a:lnTo>
                  <a:lnTo>
                    <a:pt x="10" y="79"/>
                  </a:lnTo>
                  <a:lnTo>
                    <a:pt x="23" y="57"/>
                  </a:lnTo>
                  <a:lnTo>
                    <a:pt x="38" y="37"/>
                  </a:lnTo>
                  <a:lnTo>
                    <a:pt x="57" y="22"/>
                  </a:lnTo>
                  <a:lnTo>
                    <a:pt x="79" y="9"/>
                  </a:lnTo>
                  <a:lnTo>
                    <a:pt x="104" y="2"/>
                  </a:lnTo>
                  <a:lnTo>
                    <a:pt x="130" y="0"/>
                  </a:lnTo>
                  <a:close/>
                </a:path>
              </a:pathLst>
            </a:custGeom>
            <a:grpFill/>
            <a:ln w="9525">
              <a:noFill/>
              <a:round/>
              <a:headEnd/>
              <a:tailEnd/>
            </a:ln>
          </p:spPr>
          <p:txBody>
            <a:bodyPr wrap="none" anchor="ctr"/>
            <a:lstStyle/>
            <a:p>
              <a:endParaRPr lang="en-GB" sz="2200">
                <a:solidFill>
                  <a:srgbClr val="000000"/>
                </a:solidFill>
              </a:endParaRPr>
            </a:p>
          </p:txBody>
        </p:sp>
        <p:sp>
          <p:nvSpPr>
            <p:cNvPr id="129" name="Freeform 57"/>
            <p:cNvSpPr>
              <a:spLocks noChangeArrowheads="1"/>
            </p:cNvSpPr>
            <p:nvPr/>
          </p:nvSpPr>
          <p:spPr bwMode="auto">
            <a:xfrm>
              <a:off x="3398" y="932"/>
              <a:ext cx="28" cy="28"/>
            </a:xfrm>
            <a:custGeom>
              <a:avLst/>
              <a:gdLst>
                <a:gd name="T0" fmla="*/ 0 w 262"/>
                <a:gd name="T1" fmla="*/ 0 h 263"/>
                <a:gd name="T2" fmla="*/ 0 w 262"/>
                <a:gd name="T3" fmla="*/ 0 h 263"/>
                <a:gd name="T4" fmla="*/ 0 w 262"/>
                <a:gd name="T5" fmla="*/ 0 h 263"/>
                <a:gd name="T6" fmla="*/ 0 w 262"/>
                <a:gd name="T7" fmla="*/ 0 h 263"/>
                <a:gd name="T8" fmla="*/ 0 w 262"/>
                <a:gd name="T9" fmla="*/ 0 h 263"/>
                <a:gd name="T10" fmla="*/ 0 w 262"/>
                <a:gd name="T11" fmla="*/ 0 h 263"/>
                <a:gd name="T12" fmla="*/ 0 w 262"/>
                <a:gd name="T13" fmla="*/ 0 h 263"/>
                <a:gd name="T14" fmla="*/ 0 w 262"/>
                <a:gd name="T15" fmla="*/ 0 h 263"/>
                <a:gd name="T16" fmla="*/ 0 w 262"/>
                <a:gd name="T17" fmla="*/ 0 h 263"/>
                <a:gd name="T18" fmla="*/ 0 w 262"/>
                <a:gd name="T19" fmla="*/ 0 h 263"/>
                <a:gd name="T20" fmla="*/ 0 w 262"/>
                <a:gd name="T21" fmla="*/ 0 h 263"/>
                <a:gd name="T22" fmla="*/ 0 w 262"/>
                <a:gd name="T23" fmla="*/ 0 h 263"/>
                <a:gd name="T24" fmla="*/ 0 w 262"/>
                <a:gd name="T25" fmla="*/ 0 h 263"/>
                <a:gd name="T26" fmla="*/ 0 w 262"/>
                <a:gd name="T27" fmla="*/ 0 h 263"/>
                <a:gd name="T28" fmla="*/ 0 w 262"/>
                <a:gd name="T29" fmla="*/ 0 h 263"/>
                <a:gd name="T30" fmla="*/ 0 w 262"/>
                <a:gd name="T31" fmla="*/ 0 h 263"/>
                <a:gd name="T32" fmla="*/ 0 w 262"/>
                <a:gd name="T33" fmla="*/ 0 h 263"/>
                <a:gd name="T34" fmla="*/ 0 w 262"/>
                <a:gd name="T35" fmla="*/ 0 h 263"/>
                <a:gd name="T36" fmla="*/ 0 w 262"/>
                <a:gd name="T37" fmla="*/ 0 h 263"/>
                <a:gd name="T38" fmla="*/ 0 w 262"/>
                <a:gd name="T39" fmla="*/ 0 h 263"/>
                <a:gd name="T40" fmla="*/ 0 w 262"/>
                <a:gd name="T41" fmla="*/ 0 h 263"/>
                <a:gd name="T42" fmla="*/ 0 w 262"/>
                <a:gd name="T43" fmla="*/ 0 h 263"/>
                <a:gd name="T44" fmla="*/ 0 w 262"/>
                <a:gd name="T45" fmla="*/ 0 h 263"/>
                <a:gd name="T46" fmla="*/ 0 w 262"/>
                <a:gd name="T47" fmla="*/ 0 h 263"/>
                <a:gd name="T48" fmla="*/ 0 w 262"/>
                <a:gd name="T49" fmla="*/ 0 h 263"/>
                <a:gd name="T50" fmla="*/ 0 w 262"/>
                <a:gd name="T51" fmla="*/ 0 h 263"/>
                <a:gd name="T52" fmla="*/ 0 w 262"/>
                <a:gd name="T53" fmla="*/ 0 h 263"/>
                <a:gd name="T54" fmla="*/ 0 w 262"/>
                <a:gd name="T55" fmla="*/ 0 h 263"/>
                <a:gd name="T56" fmla="*/ 0 w 262"/>
                <a:gd name="T57" fmla="*/ 0 h 263"/>
                <a:gd name="T58" fmla="*/ 0 w 262"/>
                <a:gd name="T59" fmla="*/ 0 h 263"/>
                <a:gd name="T60" fmla="*/ 0 w 262"/>
                <a:gd name="T61" fmla="*/ 0 h 263"/>
                <a:gd name="T62" fmla="*/ 0 w 262"/>
                <a:gd name="T63" fmla="*/ 0 h 263"/>
                <a:gd name="T64" fmla="*/ 0 w 262"/>
                <a:gd name="T65" fmla="*/ 0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3"/>
                <a:gd name="T101" fmla="*/ 262 w 262"/>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3">
                  <a:moveTo>
                    <a:pt x="131" y="0"/>
                  </a:moveTo>
                  <a:lnTo>
                    <a:pt x="158" y="3"/>
                  </a:lnTo>
                  <a:lnTo>
                    <a:pt x="183" y="10"/>
                  </a:lnTo>
                  <a:lnTo>
                    <a:pt x="204" y="23"/>
                  </a:lnTo>
                  <a:lnTo>
                    <a:pt x="223" y="38"/>
                  </a:lnTo>
                  <a:lnTo>
                    <a:pt x="239" y="57"/>
                  </a:lnTo>
                  <a:lnTo>
                    <a:pt x="251" y="80"/>
                  </a:lnTo>
                  <a:lnTo>
                    <a:pt x="259" y="105"/>
                  </a:lnTo>
                  <a:lnTo>
                    <a:pt x="262" y="132"/>
                  </a:lnTo>
                  <a:lnTo>
                    <a:pt x="259" y="157"/>
                  </a:lnTo>
                  <a:lnTo>
                    <a:pt x="251" y="182"/>
                  </a:lnTo>
                  <a:lnTo>
                    <a:pt x="239" y="205"/>
                  </a:lnTo>
                  <a:lnTo>
                    <a:pt x="223" y="224"/>
                  </a:lnTo>
                  <a:lnTo>
                    <a:pt x="204" y="240"/>
                  </a:lnTo>
                  <a:lnTo>
                    <a:pt x="183" y="253"/>
                  </a:lnTo>
                  <a:lnTo>
                    <a:pt x="158" y="260"/>
                  </a:lnTo>
                  <a:lnTo>
                    <a:pt x="131" y="263"/>
                  </a:lnTo>
                  <a:lnTo>
                    <a:pt x="104" y="260"/>
                  </a:lnTo>
                  <a:lnTo>
                    <a:pt x="79" y="253"/>
                  </a:lnTo>
                  <a:lnTo>
                    <a:pt x="58" y="240"/>
                  </a:lnTo>
                  <a:lnTo>
                    <a:pt x="39" y="224"/>
                  </a:lnTo>
                  <a:lnTo>
                    <a:pt x="23" y="205"/>
                  </a:lnTo>
                  <a:lnTo>
                    <a:pt x="10" y="182"/>
                  </a:lnTo>
                  <a:lnTo>
                    <a:pt x="2" y="157"/>
                  </a:lnTo>
                  <a:lnTo>
                    <a:pt x="0" y="132"/>
                  </a:lnTo>
                  <a:lnTo>
                    <a:pt x="2" y="105"/>
                  </a:lnTo>
                  <a:lnTo>
                    <a:pt x="10" y="80"/>
                  </a:lnTo>
                  <a:lnTo>
                    <a:pt x="23" y="57"/>
                  </a:lnTo>
                  <a:lnTo>
                    <a:pt x="39" y="38"/>
                  </a:lnTo>
                  <a:lnTo>
                    <a:pt x="58" y="23"/>
                  </a:lnTo>
                  <a:lnTo>
                    <a:pt x="79"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0" name="Freeform 58"/>
            <p:cNvSpPr>
              <a:spLocks noChangeArrowheads="1"/>
            </p:cNvSpPr>
            <p:nvPr/>
          </p:nvSpPr>
          <p:spPr bwMode="auto">
            <a:xfrm>
              <a:off x="3398" y="877"/>
              <a:ext cx="28" cy="29"/>
            </a:xfrm>
            <a:custGeom>
              <a:avLst/>
              <a:gdLst>
                <a:gd name="T0" fmla="*/ 0 w 262"/>
                <a:gd name="T1" fmla="*/ 0 h 263"/>
                <a:gd name="T2" fmla="*/ 0 w 262"/>
                <a:gd name="T3" fmla="*/ 0 h 263"/>
                <a:gd name="T4" fmla="*/ 0 w 262"/>
                <a:gd name="T5" fmla="*/ 0 h 263"/>
                <a:gd name="T6" fmla="*/ 0 w 262"/>
                <a:gd name="T7" fmla="*/ 0 h 263"/>
                <a:gd name="T8" fmla="*/ 0 w 262"/>
                <a:gd name="T9" fmla="*/ 0 h 263"/>
                <a:gd name="T10" fmla="*/ 0 w 262"/>
                <a:gd name="T11" fmla="*/ 0 h 263"/>
                <a:gd name="T12" fmla="*/ 0 w 262"/>
                <a:gd name="T13" fmla="*/ 0 h 263"/>
                <a:gd name="T14" fmla="*/ 0 w 262"/>
                <a:gd name="T15" fmla="*/ 0 h 263"/>
                <a:gd name="T16" fmla="*/ 0 w 262"/>
                <a:gd name="T17" fmla="*/ 0 h 263"/>
                <a:gd name="T18" fmla="*/ 0 w 262"/>
                <a:gd name="T19" fmla="*/ 0 h 263"/>
                <a:gd name="T20" fmla="*/ 0 w 262"/>
                <a:gd name="T21" fmla="*/ 0 h 263"/>
                <a:gd name="T22" fmla="*/ 0 w 262"/>
                <a:gd name="T23" fmla="*/ 0 h 263"/>
                <a:gd name="T24" fmla="*/ 0 w 262"/>
                <a:gd name="T25" fmla="*/ 0 h 263"/>
                <a:gd name="T26" fmla="*/ 0 w 262"/>
                <a:gd name="T27" fmla="*/ 0 h 263"/>
                <a:gd name="T28" fmla="*/ 0 w 262"/>
                <a:gd name="T29" fmla="*/ 0 h 263"/>
                <a:gd name="T30" fmla="*/ 0 w 262"/>
                <a:gd name="T31" fmla="*/ 0 h 263"/>
                <a:gd name="T32" fmla="*/ 0 w 262"/>
                <a:gd name="T33" fmla="*/ 0 h 263"/>
                <a:gd name="T34" fmla="*/ 0 w 262"/>
                <a:gd name="T35" fmla="*/ 0 h 263"/>
                <a:gd name="T36" fmla="*/ 0 w 262"/>
                <a:gd name="T37" fmla="*/ 0 h 263"/>
                <a:gd name="T38" fmla="*/ 0 w 262"/>
                <a:gd name="T39" fmla="*/ 0 h 263"/>
                <a:gd name="T40" fmla="*/ 0 w 262"/>
                <a:gd name="T41" fmla="*/ 0 h 263"/>
                <a:gd name="T42" fmla="*/ 0 w 262"/>
                <a:gd name="T43" fmla="*/ 0 h 263"/>
                <a:gd name="T44" fmla="*/ 0 w 262"/>
                <a:gd name="T45" fmla="*/ 0 h 263"/>
                <a:gd name="T46" fmla="*/ 0 w 262"/>
                <a:gd name="T47" fmla="*/ 0 h 263"/>
                <a:gd name="T48" fmla="*/ 0 w 262"/>
                <a:gd name="T49" fmla="*/ 0 h 263"/>
                <a:gd name="T50" fmla="*/ 0 w 262"/>
                <a:gd name="T51" fmla="*/ 0 h 263"/>
                <a:gd name="T52" fmla="*/ 0 w 262"/>
                <a:gd name="T53" fmla="*/ 0 h 263"/>
                <a:gd name="T54" fmla="*/ 0 w 262"/>
                <a:gd name="T55" fmla="*/ 0 h 263"/>
                <a:gd name="T56" fmla="*/ 0 w 262"/>
                <a:gd name="T57" fmla="*/ 0 h 263"/>
                <a:gd name="T58" fmla="*/ 0 w 262"/>
                <a:gd name="T59" fmla="*/ 0 h 263"/>
                <a:gd name="T60" fmla="*/ 0 w 262"/>
                <a:gd name="T61" fmla="*/ 0 h 263"/>
                <a:gd name="T62" fmla="*/ 0 w 262"/>
                <a:gd name="T63" fmla="*/ 0 h 263"/>
                <a:gd name="T64" fmla="*/ 0 w 262"/>
                <a:gd name="T65" fmla="*/ 0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3"/>
                <a:gd name="T101" fmla="*/ 262 w 262"/>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3">
                  <a:moveTo>
                    <a:pt x="131" y="0"/>
                  </a:moveTo>
                  <a:lnTo>
                    <a:pt x="158" y="3"/>
                  </a:lnTo>
                  <a:lnTo>
                    <a:pt x="183" y="11"/>
                  </a:lnTo>
                  <a:lnTo>
                    <a:pt x="204" y="23"/>
                  </a:lnTo>
                  <a:lnTo>
                    <a:pt x="223" y="39"/>
                  </a:lnTo>
                  <a:lnTo>
                    <a:pt x="239" y="58"/>
                  </a:lnTo>
                  <a:lnTo>
                    <a:pt x="251" y="81"/>
                  </a:lnTo>
                  <a:lnTo>
                    <a:pt x="259" y="106"/>
                  </a:lnTo>
                  <a:lnTo>
                    <a:pt x="262" y="131"/>
                  </a:lnTo>
                  <a:lnTo>
                    <a:pt x="259" y="158"/>
                  </a:lnTo>
                  <a:lnTo>
                    <a:pt x="251" y="183"/>
                  </a:lnTo>
                  <a:lnTo>
                    <a:pt x="239" y="205"/>
                  </a:lnTo>
                  <a:lnTo>
                    <a:pt x="223" y="225"/>
                  </a:lnTo>
                  <a:lnTo>
                    <a:pt x="204" y="241"/>
                  </a:lnTo>
                  <a:lnTo>
                    <a:pt x="183" y="253"/>
                  </a:lnTo>
                  <a:lnTo>
                    <a:pt x="158" y="260"/>
                  </a:lnTo>
                  <a:lnTo>
                    <a:pt x="131" y="263"/>
                  </a:lnTo>
                  <a:lnTo>
                    <a:pt x="104" y="260"/>
                  </a:lnTo>
                  <a:lnTo>
                    <a:pt x="79" y="253"/>
                  </a:lnTo>
                  <a:lnTo>
                    <a:pt x="58" y="241"/>
                  </a:lnTo>
                  <a:lnTo>
                    <a:pt x="39" y="225"/>
                  </a:lnTo>
                  <a:lnTo>
                    <a:pt x="23" y="205"/>
                  </a:lnTo>
                  <a:lnTo>
                    <a:pt x="10" y="183"/>
                  </a:lnTo>
                  <a:lnTo>
                    <a:pt x="2" y="158"/>
                  </a:lnTo>
                  <a:lnTo>
                    <a:pt x="0" y="131"/>
                  </a:lnTo>
                  <a:lnTo>
                    <a:pt x="2" y="106"/>
                  </a:lnTo>
                  <a:lnTo>
                    <a:pt x="10" y="81"/>
                  </a:lnTo>
                  <a:lnTo>
                    <a:pt x="23" y="58"/>
                  </a:lnTo>
                  <a:lnTo>
                    <a:pt x="39" y="39"/>
                  </a:lnTo>
                  <a:lnTo>
                    <a:pt x="58" y="23"/>
                  </a:lnTo>
                  <a:lnTo>
                    <a:pt x="79" y="11"/>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1" name="Freeform 59"/>
            <p:cNvSpPr>
              <a:spLocks noChangeArrowheads="1"/>
            </p:cNvSpPr>
            <p:nvPr/>
          </p:nvSpPr>
          <p:spPr bwMode="auto">
            <a:xfrm>
              <a:off x="3398" y="823"/>
              <a:ext cx="28" cy="28"/>
            </a:xfrm>
            <a:custGeom>
              <a:avLst/>
              <a:gdLst>
                <a:gd name="T0" fmla="*/ 0 w 262"/>
                <a:gd name="T1" fmla="*/ 0 h 262"/>
                <a:gd name="T2" fmla="*/ 0 w 262"/>
                <a:gd name="T3" fmla="*/ 0 h 262"/>
                <a:gd name="T4" fmla="*/ 0 w 262"/>
                <a:gd name="T5" fmla="*/ 0 h 262"/>
                <a:gd name="T6" fmla="*/ 0 w 262"/>
                <a:gd name="T7" fmla="*/ 0 h 262"/>
                <a:gd name="T8" fmla="*/ 0 w 262"/>
                <a:gd name="T9" fmla="*/ 0 h 262"/>
                <a:gd name="T10" fmla="*/ 0 w 262"/>
                <a:gd name="T11" fmla="*/ 0 h 262"/>
                <a:gd name="T12" fmla="*/ 0 w 262"/>
                <a:gd name="T13" fmla="*/ 0 h 262"/>
                <a:gd name="T14" fmla="*/ 0 w 262"/>
                <a:gd name="T15" fmla="*/ 0 h 262"/>
                <a:gd name="T16" fmla="*/ 0 w 262"/>
                <a:gd name="T17" fmla="*/ 0 h 262"/>
                <a:gd name="T18" fmla="*/ 0 w 262"/>
                <a:gd name="T19" fmla="*/ 0 h 262"/>
                <a:gd name="T20" fmla="*/ 0 w 262"/>
                <a:gd name="T21" fmla="*/ 0 h 262"/>
                <a:gd name="T22" fmla="*/ 0 w 262"/>
                <a:gd name="T23" fmla="*/ 0 h 262"/>
                <a:gd name="T24" fmla="*/ 0 w 262"/>
                <a:gd name="T25" fmla="*/ 0 h 262"/>
                <a:gd name="T26" fmla="*/ 0 w 262"/>
                <a:gd name="T27" fmla="*/ 0 h 262"/>
                <a:gd name="T28" fmla="*/ 0 w 262"/>
                <a:gd name="T29" fmla="*/ 0 h 262"/>
                <a:gd name="T30" fmla="*/ 0 w 262"/>
                <a:gd name="T31" fmla="*/ 0 h 262"/>
                <a:gd name="T32" fmla="*/ 0 w 262"/>
                <a:gd name="T33" fmla="*/ 0 h 262"/>
                <a:gd name="T34" fmla="*/ 0 w 262"/>
                <a:gd name="T35" fmla="*/ 0 h 262"/>
                <a:gd name="T36" fmla="*/ 0 w 262"/>
                <a:gd name="T37" fmla="*/ 0 h 262"/>
                <a:gd name="T38" fmla="*/ 0 w 262"/>
                <a:gd name="T39" fmla="*/ 0 h 262"/>
                <a:gd name="T40" fmla="*/ 0 w 262"/>
                <a:gd name="T41" fmla="*/ 0 h 262"/>
                <a:gd name="T42" fmla="*/ 0 w 262"/>
                <a:gd name="T43" fmla="*/ 0 h 262"/>
                <a:gd name="T44" fmla="*/ 0 w 262"/>
                <a:gd name="T45" fmla="*/ 0 h 262"/>
                <a:gd name="T46" fmla="*/ 0 w 262"/>
                <a:gd name="T47" fmla="*/ 0 h 262"/>
                <a:gd name="T48" fmla="*/ 0 w 262"/>
                <a:gd name="T49" fmla="*/ 0 h 262"/>
                <a:gd name="T50" fmla="*/ 0 w 262"/>
                <a:gd name="T51" fmla="*/ 0 h 262"/>
                <a:gd name="T52" fmla="*/ 0 w 262"/>
                <a:gd name="T53" fmla="*/ 0 h 262"/>
                <a:gd name="T54" fmla="*/ 0 w 262"/>
                <a:gd name="T55" fmla="*/ 0 h 262"/>
                <a:gd name="T56" fmla="*/ 0 w 262"/>
                <a:gd name="T57" fmla="*/ 0 h 262"/>
                <a:gd name="T58" fmla="*/ 0 w 262"/>
                <a:gd name="T59" fmla="*/ 0 h 262"/>
                <a:gd name="T60" fmla="*/ 0 w 262"/>
                <a:gd name="T61" fmla="*/ 0 h 262"/>
                <a:gd name="T62" fmla="*/ 0 w 262"/>
                <a:gd name="T63" fmla="*/ 0 h 262"/>
                <a:gd name="T64" fmla="*/ 0 w 262"/>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2"/>
                <a:gd name="T101" fmla="*/ 262 w 262"/>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2">
                  <a:moveTo>
                    <a:pt x="131" y="0"/>
                  </a:moveTo>
                  <a:lnTo>
                    <a:pt x="158" y="2"/>
                  </a:lnTo>
                  <a:lnTo>
                    <a:pt x="183" y="10"/>
                  </a:lnTo>
                  <a:lnTo>
                    <a:pt x="204" y="23"/>
                  </a:lnTo>
                  <a:lnTo>
                    <a:pt x="223" y="38"/>
                  </a:lnTo>
                  <a:lnTo>
                    <a:pt x="239" y="57"/>
                  </a:lnTo>
                  <a:lnTo>
                    <a:pt x="251" y="80"/>
                  </a:lnTo>
                  <a:lnTo>
                    <a:pt x="259" y="104"/>
                  </a:lnTo>
                  <a:lnTo>
                    <a:pt x="262" y="130"/>
                  </a:lnTo>
                  <a:lnTo>
                    <a:pt x="259" y="157"/>
                  </a:lnTo>
                  <a:lnTo>
                    <a:pt x="251" y="182"/>
                  </a:lnTo>
                  <a:lnTo>
                    <a:pt x="239" y="204"/>
                  </a:lnTo>
                  <a:lnTo>
                    <a:pt x="223" y="224"/>
                  </a:lnTo>
                  <a:lnTo>
                    <a:pt x="204" y="240"/>
                  </a:lnTo>
                  <a:lnTo>
                    <a:pt x="183" y="252"/>
                  </a:lnTo>
                  <a:lnTo>
                    <a:pt x="158" y="259"/>
                  </a:lnTo>
                  <a:lnTo>
                    <a:pt x="131" y="262"/>
                  </a:lnTo>
                  <a:lnTo>
                    <a:pt x="104" y="259"/>
                  </a:lnTo>
                  <a:lnTo>
                    <a:pt x="79" y="252"/>
                  </a:lnTo>
                  <a:lnTo>
                    <a:pt x="58" y="240"/>
                  </a:lnTo>
                  <a:lnTo>
                    <a:pt x="39" y="224"/>
                  </a:lnTo>
                  <a:lnTo>
                    <a:pt x="23" y="204"/>
                  </a:lnTo>
                  <a:lnTo>
                    <a:pt x="10" y="182"/>
                  </a:lnTo>
                  <a:lnTo>
                    <a:pt x="2" y="157"/>
                  </a:lnTo>
                  <a:lnTo>
                    <a:pt x="0" y="130"/>
                  </a:lnTo>
                  <a:lnTo>
                    <a:pt x="2" y="104"/>
                  </a:lnTo>
                  <a:lnTo>
                    <a:pt x="10" y="80"/>
                  </a:lnTo>
                  <a:lnTo>
                    <a:pt x="23" y="57"/>
                  </a:lnTo>
                  <a:lnTo>
                    <a:pt x="39" y="38"/>
                  </a:lnTo>
                  <a:lnTo>
                    <a:pt x="58" y="23"/>
                  </a:lnTo>
                  <a:lnTo>
                    <a:pt x="79" y="10"/>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2" name="Freeform 60"/>
            <p:cNvSpPr>
              <a:spLocks noChangeArrowheads="1"/>
            </p:cNvSpPr>
            <p:nvPr/>
          </p:nvSpPr>
          <p:spPr bwMode="auto">
            <a:xfrm>
              <a:off x="3398" y="768"/>
              <a:ext cx="28" cy="28"/>
            </a:xfrm>
            <a:custGeom>
              <a:avLst/>
              <a:gdLst>
                <a:gd name="T0" fmla="*/ 0 w 262"/>
                <a:gd name="T1" fmla="*/ 0 h 261"/>
                <a:gd name="T2" fmla="*/ 0 w 262"/>
                <a:gd name="T3" fmla="*/ 0 h 261"/>
                <a:gd name="T4" fmla="*/ 0 w 262"/>
                <a:gd name="T5" fmla="*/ 0 h 261"/>
                <a:gd name="T6" fmla="*/ 0 w 262"/>
                <a:gd name="T7" fmla="*/ 0 h 261"/>
                <a:gd name="T8" fmla="*/ 0 w 262"/>
                <a:gd name="T9" fmla="*/ 0 h 261"/>
                <a:gd name="T10" fmla="*/ 0 w 262"/>
                <a:gd name="T11" fmla="*/ 0 h 261"/>
                <a:gd name="T12" fmla="*/ 0 w 262"/>
                <a:gd name="T13" fmla="*/ 0 h 261"/>
                <a:gd name="T14" fmla="*/ 0 w 262"/>
                <a:gd name="T15" fmla="*/ 0 h 261"/>
                <a:gd name="T16" fmla="*/ 0 w 262"/>
                <a:gd name="T17" fmla="*/ 0 h 261"/>
                <a:gd name="T18" fmla="*/ 0 w 262"/>
                <a:gd name="T19" fmla="*/ 0 h 261"/>
                <a:gd name="T20" fmla="*/ 0 w 262"/>
                <a:gd name="T21" fmla="*/ 0 h 261"/>
                <a:gd name="T22" fmla="*/ 0 w 262"/>
                <a:gd name="T23" fmla="*/ 0 h 261"/>
                <a:gd name="T24" fmla="*/ 0 w 262"/>
                <a:gd name="T25" fmla="*/ 0 h 261"/>
                <a:gd name="T26" fmla="*/ 0 w 262"/>
                <a:gd name="T27" fmla="*/ 0 h 261"/>
                <a:gd name="T28" fmla="*/ 0 w 262"/>
                <a:gd name="T29" fmla="*/ 0 h 261"/>
                <a:gd name="T30" fmla="*/ 0 w 262"/>
                <a:gd name="T31" fmla="*/ 0 h 261"/>
                <a:gd name="T32" fmla="*/ 0 w 262"/>
                <a:gd name="T33" fmla="*/ 0 h 261"/>
                <a:gd name="T34" fmla="*/ 0 w 262"/>
                <a:gd name="T35" fmla="*/ 0 h 261"/>
                <a:gd name="T36" fmla="*/ 0 w 262"/>
                <a:gd name="T37" fmla="*/ 0 h 261"/>
                <a:gd name="T38" fmla="*/ 0 w 262"/>
                <a:gd name="T39" fmla="*/ 0 h 261"/>
                <a:gd name="T40" fmla="*/ 0 w 262"/>
                <a:gd name="T41" fmla="*/ 0 h 261"/>
                <a:gd name="T42" fmla="*/ 0 w 262"/>
                <a:gd name="T43" fmla="*/ 0 h 261"/>
                <a:gd name="T44" fmla="*/ 0 w 262"/>
                <a:gd name="T45" fmla="*/ 0 h 261"/>
                <a:gd name="T46" fmla="*/ 0 w 262"/>
                <a:gd name="T47" fmla="*/ 0 h 261"/>
                <a:gd name="T48" fmla="*/ 0 w 262"/>
                <a:gd name="T49" fmla="*/ 0 h 261"/>
                <a:gd name="T50" fmla="*/ 0 w 262"/>
                <a:gd name="T51" fmla="*/ 0 h 261"/>
                <a:gd name="T52" fmla="*/ 0 w 262"/>
                <a:gd name="T53" fmla="*/ 0 h 261"/>
                <a:gd name="T54" fmla="*/ 0 w 262"/>
                <a:gd name="T55" fmla="*/ 0 h 261"/>
                <a:gd name="T56" fmla="*/ 0 w 262"/>
                <a:gd name="T57" fmla="*/ 0 h 261"/>
                <a:gd name="T58" fmla="*/ 0 w 262"/>
                <a:gd name="T59" fmla="*/ 0 h 261"/>
                <a:gd name="T60" fmla="*/ 0 w 262"/>
                <a:gd name="T61" fmla="*/ 0 h 261"/>
                <a:gd name="T62" fmla="*/ 0 w 262"/>
                <a:gd name="T63" fmla="*/ 0 h 261"/>
                <a:gd name="T64" fmla="*/ 0 w 262"/>
                <a:gd name="T65" fmla="*/ 0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1"/>
                <a:gd name="T101" fmla="*/ 262 w 262"/>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1">
                  <a:moveTo>
                    <a:pt x="131" y="0"/>
                  </a:moveTo>
                  <a:lnTo>
                    <a:pt x="158" y="2"/>
                  </a:lnTo>
                  <a:lnTo>
                    <a:pt x="183" y="10"/>
                  </a:lnTo>
                  <a:lnTo>
                    <a:pt x="204" y="21"/>
                  </a:lnTo>
                  <a:lnTo>
                    <a:pt x="223" y="38"/>
                  </a:lnTo>
                  <a:lnTo>
                    <a:pt x="239" y="57"/>
                  </a:lnTo>
                  <a:lnTo>
                    <a:pt x="251" y="79"/>
                  </a:lnTo>
                  <a:lnTo>
                    <a:pt x="259" y="104"/>
                  </a:lnTo>
                  <a:lnTo>
                    <a:pt x="262" y="131"/>
                  </a:lnTo>
                  <a:lnTo>
                    <a:pt x="259" y="157"/>
                  </a:lnTo>
                  <a:lnTo>
                    <a:pt x="251" y="182"/>
                  </a:lnTo>
                  <a:lnTo>
                    <a:pt x="239" y="203"/>
                  </a:lnTo>
                  <a:lnTo>
                    <a:pt x="223" y="222"/>
                  </a:lnTo>
                  <a:lnTo>
                    <a:pt x="204" y="239"/>
                  </a:lnTo>
                  <a:lnTo>
                    <a:pt x="183" y="251"/>
                  </a:lnTo>
                  <a:lnTo>
                    <a:pt x="158" y="259"/>
                  </a:lnTo>
                  <a:lnTo>
                    <a:pt x="131" y="261"/>
                  </a:lnTo>
                  <a:lnTo>
                    <a:pt x="104" y="259"/>
                  </a:lnTo>
                  <a:lnTo>
                    <a:pt x="79" y="251"/>
                  </a:lnTo>
                  <a:lnTo>
                    <a:pt x="58" y="239"/>
                  </a:lnTo>
                  <a:lnTo>
                    <a:pt x="39" y="222"/>
                  </a:lnTo>
                  <a:lnTo>
                    <a:pt x="23" y="203"/>
                  </a:lnTo>
                  <a:lnTo>
                    <a:pt x="10" y="182"/>
                  </a:lnTo>
                  <a:lnTo>
                    <a:pt x="2" y="157"/>
                  </a:lnTo>
                  <a:lnTo>
                    <a:pt x="0" y="131"/>
                  </a:lnTo>
                  <a:lnTo>
                    <a:pt x="2" y="104"/>
                  </a:lnTo>
                  <a:lnTo>
                    <a:pt x="10" y="79"/>
                  </a:lnTo>
                  <a:lnTo>
                    <a:pt x="23" y="57"/>
                  </a:lnTo>
                  <a:lnTo>
                    <a:pt x="39" y="38"/>
                  </a:lnTo>
                  <a:lnTo>
                    <a:pt x="58" y="21"/>
                  </a:lnTo>
                  <a:lnTo>
                    <a:pt x="79" y="10"/>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3" name="Freeform 61"/>
            <p:cNvSpPr>
              <a:spLocks noChangeArrowheads="1"/>
            </p:cNvSpPr>
            <p:nvPr/>
          </p:nvSpPr>
          <p:spPr bwMode="auto">
            <a:xfrm>
              <a:off x="3398" y="713"/>
              <a:ext cx="28" cy="28"/>
            </a:xfrm>
            <a:custGeom>
              <a:avLst/>
              <a:gdLst>
                <a:gd name="T0" fmla="*/ 0 w 262"/>
                <a:gd name="T1" fmla="*/ 0 h 262"/>
                <a:gd name="T2" fmla="*/ 0 w 262"/>
                <a:gd name="T3" fmla="*/ 0 h 262"/>
                <a:gd name="T4" fmla="*/ 0 w 262"/>
                <a:gd name="T5" fmla="*/ 0 h 262"/>
                <a:gd name="T6" fmla="*/ 0 w 262"/>
                <a:gd name="T7" fmla="*/ 0 h 262"/>
                <a:gd name="T8" fmla="*/ 0 w 262"/>
                <a:gd name="T9" fmla="*/ 0 h 262"/>
                <a:gd name="T10" fmla="*/ 0 w 262"/>
                <a:gd name="T11" fmla="*/ 0 h 262"/>
                <a:gd name="T12" fmla="*/ 0 w 262"/>
                <a:gd name="T13" fmla="*/ 0 h 262"/>
                <a:gd name="T14" fmla="*/ 0 w 262"/>
                <a:gd name="T15" fmla="*/ 0 h 262"/>
                <a:gd name="T16" fmla="*/ 0 w 262"/>
                <a:gd name="T17" fmla="*/ 0 h 262"/>
                <a:gd name="T18" fmla="*/ 0 w 262"/>
                <a:gd name="T19" fmla="*/ 0 h 262"/>
                <a:gd name="T20" fmla="*/ 0 w 262"/>
                <a:gd name="T21" fmla="*/ 0 h 262"/>
                <a:gd name="T22" fmla="*/ 0 w 262"/>
                <a:gd name="T23" fmla="*/ 0 h 262"/>
                <a:gd name="T24" fmla="*/ 0 w 262"/>
                <a:gd name="T25" fmla="*/ 0 h 262"/>
                <a:gd name="T26" fmla="*/ 0 w 262"/>
                <a:gd name="T27" fmla="*/ 0 h 262"/>
                <a:gd name="T28" fmla="*/ 0 w 262"/>
                <a:gd name="T29" fmla="*/ 0 h 262"/>
                <a:gd name="T30" fmla="*/ 0 w 262"/>
                <a:gd name="T31" fmla="*/ 0 h 262"/>
                <a:gd name="T32" fmla="*/ 0 w 262"/>
                <a:gd name="T33" fmla="*/ 0 h 262"/>
                <a:gd name="T34" fmla="*/ 0 w 262"/>
                <a:gd name="T35" fmla="*/ 0 h 262"/>
                <a:gd name="T36" fmla="*/ 0 w 262"/>
                <a:gd name="T37" fmla="*/ 0 h 262"/>
                <a:gd name="T38" fmla="*/ 0 w 262"/>
                <a:gd name="T39" fmla="*/ 0 h 262"/>
                <a:gd name="T40" fmla="*/ 0 w 262"/>
                <a:gd name="T41" fmla="*/ 0 h 262"/>
                <a:gd name="T42" fmla="*/ 0 w 262"/>
                <a:gd name="T43" fmla="*/ 0 h 262"/>
                <a:gd name="T44" fmla="*/ 0 w 262"/>
                <a:gd name="T45" fmla="*/ 0 h 262"/>
                <a:gd name="T46" fmla="*/ 0 w 262"/>
                <a:gd name="T47" fmla="*/ 0 h 262"/>
                <a:gd name="T48" fmla="*/ 0 w 262"/>
                <a:gd name="T49" fmla="*/ 0 h 262"/>
                <a:gd name="T50" fmla="*/ 0 w 262"/>
                <a:gd name="T51" fmla="*/ 0 h 262"/>
                <a:gd name="T52" fmla="*/ 0 w 262"/>
                <a:gd name="T53" fmla="*/ 0 h 262"/>
                <a:gd name="T54" fmla="*/ 0 w 262"/>
                <a:gd name="T55" fmla="*/ 0 h 262"/>
                <a:gd name="T56" fmla="*/ 0 w 262"/>
                <a:gd name="T57" fmla="*/ 0 h 262"/>
                <a:gd name="T58" fmla="*/ 0 w 262"/>
                <a:gd name="T59" fmla="*/ 0 h 262"/>
                <a:gd name="T60" fmla="*/ 0 w 262"/>
                <a:gd name="T61" fmla="*/ 0 h 262"/>
                <a:gd name="T62" fmla="*/ 0 w 262"/>
                <a:gd name="T63" fmla="*/ 0 h 262"/>
                <a:gd name="T64" fmla="*/ 0 w 262"/>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2"/>
                <a:gd name="T100" fmla="*/ 0 h 262"/>
                <a:gd name="T101" fmla="*/ 262 w 262"/>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2" h="262">
                  <a:moveTo>
                    <a:pt x="131" y="0"/>
                  </a:moveTo>
                  <a:lnTo>
                    <a:pt x="158" y="3"/>
                  </a:lnTo>
                  <a:lnTo>
                    <a:pt x="183" y="10"/>
                  </a:lnTo>
                  <a:lnTo>
                    <a:pt x="204" y="22"/>
                  </a:lnTo>
                  <a:lnTo>
                    <a:pt x="223" y="38"/>
                  </a:lnTo>
                  <a:lnTo>
                    <a:pt x="239" y="58"/>
                  </a:lnTo>
                  <a:lnTo>
                    <a:pt x="251" y="79"/>
                  </a:lnTo>
                  <a:lnTo>
                    <a:pt x="259" y="104"/>
                  </a:lnTo>
                  <a:lnTo>
                    <a:pt x="262" y="131"/>
                  </a:lnTo>
                  <a:lnTo>
                    <a:pt x="259" y="158"/>
                  </a:lnTo>
                  <a:lnTo>
                    <a:pt x="251" y="182"/>
                  </a:lnTo>
                  <a:lnTo>
                    <a:pt x="239" y="204"/>
                  </a:lnTo>
                  <a:lnTo>
                    <a:pt x="223" y="223"/>
                  </a:lnTo>
                  <a:lnTo>
                    <a:pt x="204" y="239"/>
                  </a:lnTo>
                  <a:lnTo>
                    <a:pt x="183" y="251"/>
                  </a:lnTo>
                  <a:lnTo>
                    <a:pt x="158" y="259"/>
                  </a:lnTo>
                  <a:lnTo>
                    <a:pt x="131" y="262"/>
                  </a:lnTo>
                  <a:lnTo>
                    <a:pt x="105" y="259"/>
                  </a:lnTo>
                  <a:lnTo>
                    <a:pt x="81" y="251"/>
                  </a:lnTo>
                  <a:lnTo>
                    <a:pt x="58" y="239"/>
                  </a:lnTo>
                  <a:lnTo>
                    <a:pt x="39" y="223"/>
                  </a:lnTo>
                  <a:lnTo>
                    <a:pt x="23" y="204"/>
                  </a:lnTo>
                  <a:lnTo>
                    <a:pt x="11" y="182"/>
                  </a:lnTo>
                  <a:lnTo>
                    <a:pt x="2" y="158"/>
                  </a:lnTo>
                  <a:lnTo>
                    <a:pt x="0" y="131"/>
                  </a:lnTo>
                  <a:lnTo>
                    <a:pt x="2" y="104"/>
                  </a:lnTo>
                  <a:lnTo>
                    <a:pt x="11" y="79"/>
                  </a:lnTo>
                  <a:lnTo>
                    <a:pt x="23" y="58"/>
                  </a:lnTo>
                  <a:lnTo>
                    <a:pt x="39" y="38"/>
                  </a:lnTo>
                  <a:lnTo>
                    <a:pt x="58" y="22"/>
                  </a:lnTo>
                  <a:lnTo>
                    <a:pt x="81" y="10"/>
                  </a:lnTo>
                  <a:lnTo>
                    <a:pt x="105"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4" name="Freeform 62"/>
            <p:cNvSpPr>
              <a:spLocks noChangeArrowheads="1"/>
            </p:cNvSpPr>
            <p:nvPr/>
          </p:nvSpPr>
          <p:spPr bwMode="auto">
            <a:xfrm>
              <a:off x="3670" y="71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6" y="3"/>
                  </a:lnTo>
                  <a:lnTo>
                    <a:pt x="181" y="10"/>
                  </a:lnTo>
                  <a:lnTo>
                    <a:pt x="204" y="22"/>
                  </a:lnTo>
                  <a:lnTo>
                    <a:pt x="223" y="38"/>
                  </a:lnTo>
                  <a:lnTo>
                    <a:pt x="240" y="58"/>
                  </a:lnTo>
                  <a:lnTo>
                    <a:pt x="252" y="80"/>
                  </a:lnTo>
                  <a:lnTo>
                    <a:pt x="259" y="105"/>
                  </a:lnTo>
                  <a:lnTo>
                    <a:pt x="263" y="131"/>
                  </a:lnTo>
                  <a:lnTo>
                    <a:pt x="259" y="158"/>
                  </a:lnTo>
                  <a:lnTo>
                    <a:pt x="252" y="182"/>
                  </a:lnTo>
                  <a:lnTo>
                    <a:pt x="240" y="204"/>
                  </a:lnTo>
                  <a:lnTo>
                    <a:pt x="223" y="223"/>
                  </a:lnTo>
                  <a:lnTo>
                    <a:pt x="204" y="239"/>
                  </a:lnTo>
                  <a:lnTo>
                    <a:pt x="181" y="251"/>
                  </a:lnTo>
                  <a:lnTo>
                    <a:pt x="156" y="259"/>
                  </a:lnTo>
                  <a:lnTo>
                    <a:pt x="131" y="262"/>
                  </a:lnTo>
                  <a:lnTo>
                    <a:pt x="104" y="259"/>
                  </a:lnTo>
                  <a:lnTo>
                    <a:pt x="79" y="251"/>
                  </a:lnTo>
                  <a:lnTo>
                    <a:pt x="57" y="239"/>
                  </a:lnTo>
                  <a:lnTo>
                    <a:pt x="37" y="223"/>
                  </a:lnTo>
                  <a:lnTo>
                    <a:pt x="21" y="204"/>
                  </a:lnTo>
                  <a:lnTo>
                    <a:pt x="9" y="182"/>
                  </a:lnTo>
                  <a:lnTo>
                    <a:pt x="2" y="158"/>
                  </a:lnTo>
                  <a:lnTo>
                    <a:pt x="0" y="131"/>
                  </a:lnTo>
                  <a:lnTo>
                    <a:pt x="2" y="105"/>
                  </a:lnTo>
                  <a:lnTo>
                    <a:pt x="9" y="80"/>
                  </a:lnTo>
                  <a:lnTo>
                    <a:pt x="21" y="58"/>
                  </a:lnTo>
                  <a:lnTo>
                    <a:pt x="37" y="38"/>
                  </a:lnTo>
                  <a:lnTo>
                    <a:pt x="57" y="22"/>
                  </a:lnTo>
                  <a:lnTo>
                    <a:pt x="79"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5" name="Freeform 63"/>
            <p:cNvSpPr>
              <a:spLocks noChangeArrowheads="1"/>
            </p:cNvSpPr>
            <p:nvPr/>
          </p:nvSpPr>
          <p:spPr bwMode="auto">
            <a:xfrm>
              <a:off x="3615" y="713"/>
              <a:ext cx="29"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3" y="10"/>
                  </a:lnTo>
                  <a:lnTo>
                    <a:pt x="205" y="22"/>
                  </a:lnTo>
                  <a:lnTo>
                    <a:pt x="224" y="38"/>
                  </a:lnTo>
                  <a:lnTo>
                    <a:pt x="241" y="58"/>
                  </a:lnTo>
                  <a:lnTo>
                    <a:pt x="252" y="80"/>
                  </a:lnTo>
                  <a:lnTo>
                    <a:pt x="260" y="105"/>
                  </a:lnTo>
                  <a:lnTo>
                    <a:pt x="263" y="131"/>
                  </a:lnTo>
                  <a:lnTo>
                    <a:pt x="260" y="158"/>
                  </a:lnTo>
                  <a:lnTo>
                    <a:pt x="252" y="182"/>
                  </a:lnTo>
                  <a:lnTo>
                    <a:pt x="241" y="204"/>
                  </a:lnTo>
                  <a:lnTo>
                    <a:pt x="224" y="223"/>
                  </a:lnTo>
                  <a:lnTo>
                    <a:pt x="205" y="239"/>
                  </a:lnTo>
                  <a:lnTo>
                    <a:pt x="183" y="251"/>
                  </a:lnTo>
                  <a:lnTo>
                    <a:pt x="158" y="259"/>
                  </a:lnTo>
                  <a:lnTo>
                    <a:pt x="131" y="262"/>
                  </a:lnTo>
                  <a:lnTo>
                    <a:pt x="104" y="259"/>
                  </a:lnTo>
                  <a:lnTo>
                    <a:pt x="80" y="251"/>
                  </a:lnTo>
                  <a:lnTo>
                    <a:pt x="58" y="239"/>
                  </a:lnTo>
                  <a:lnTo>
                    <a:pt x="39" y="223"/>
                  </a:lnTo>
                  <a:lnTo>
                    <a:pt x="23" y="204"/>
                  </a:lnTo>
                  <a:lnTo>
                    <a:pt x="11" y="182"/>
                  </a:lnTo>
                  <a:lnTo>
                    <a:pt x="3" y="158"/>
                  </a:lnTo>
                  <a:lnTo>
                    <a:pt x="0" y="131"/>
                  </a:lnTo>
                  <a:lnTo>
                    <a:pt x="3" y="105"/>
                  </a:lnTo>
                  <a:lnTo>
                    <a:pt x="11" y="80"/>
                  </a:lnTo>
                  <a:lnTo>
                    <a:pt x="23" y="58"/>
                  </a:lnTo>
                  <a:lnTo>
                    <a:pt x="39" y="38"/>
                  </a:lnTo>
                  <a:lnTo>
                    <a:pt x="58" y="22"/>
                  </a:lnTo>
                  <a:lnTo>
                    <a:pt x="80"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6" name="Freeform 64"/>
            <p:cNvSpPr>
              <a:spLocks noChangeArrowheads="1"/>
            </p:cNvSpPr>
            <p:nvPr/>
          </p:nvSpPr>
          <p:spPr bwMode="auto">
            <a:xfrm>
              <a:off x="3507" y="71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3" y="10"/>
                  </a:lnTo>
                  <a:lnTo>
                    <a:pt x="205" y="22"/>
                  </a:lnTo>
                  <a:lnTo>
                    <a:pt x="224" y="38"/>
                  </a:lnTo>
                  <a:lnTo>
                    <a:pt x="240" y="58"/>
                  </a:lnTo>
                  <a:lnTo>
                    <a:pt x="252" y="80"/>
                  </a:lnTo>
                  <a:lnTo>
                    <a:pt x="260" y="105"/>
                  </a:lnTo>
                  <a:lnTo>
                    <a:pt x="263" y="131"/>
                  </a:lnTo>
                  <a:lnTo>
                    <a:pt x="260" y="158"/>
                  </a:lnTo>
                  <a:lnTo>
                    <a:pt x="252" y="182"/>
                  </a:lnTo>
                  <a:lnTo>
                    <a:pt x="240" y="204"/>
                  </a:lnTo>
                  <a:lnTo>
                    <a:pt x="224" y="223"/>
                  </a:lnTo>
                  <a:lnTo>
                    <a:pt x="205" y="239"/>
                  </a:lnTo>
                  <a:lnTo>
                    <a:pt x="183" y="251"/>
                  </a:lnTo>
                  <a:lnTo>
                    <a:pt x="158" y="259"/>
                  </a:lnTo>
                  <a:lnTo>
                    <a:pt x="131" y="262"/>
                  </a:lnTo>
                  <a:lnTo>
                    <a:pt x="105" y="259"/>
                  </a:lnTo>
                  <a:lnTo>
                    <a:pt x="81" y="251"/>
                  </a:lnTo>
                  <a:lnTo>
                    <a:pt x="58" y="239"/>
                  </a:lnTo>
                  <a:lnTo>
                    <a:pt x="39" y="223"/>
                  </a:lnTo>
                  <a:lnTo>
                    <a:pt x="23" y="204"/>
                  </a:lnTo>
                  <a:lnTo>
                    <a:pt x="11" y="182"/>
                  </a:lnTo>
                  <a:lnTo>
                    <a:pt x="2" y="158"/>
                  </a:lnTo>
                  <a:lnTo>
                    <a:pt x="0" y="131"/>
                  </a:lnTo>
                  <a:lnTo>
                    <a:pt x="2" y="105"/>
                  </a:lnTo>
                  <a:lnTo>
                    <a:pt x="11" y="80"/>
                  </a:lnTo>
                  <a:lnTo>
                    <a:pt x="23" y="58"/>
                  </a:lnTo>
                  <a:lnTo>
                    <a:pt x="39" y="38"/>
                  </a:lnTo>
                  <a:lnTo>
                    <a:pt x="58" y="22"/>
                  </a:lnTo>
                  <a:lnTo>
                    <a:pt x="81" y="10"/>
                  </a:lnTo>
                  <a:lnTo>
                    <a:pt x="105"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37" name="Freeform 65"/>
            <p:cNvSpPr>
              <a:spLocks noChangeArrowheads="1"/>
            </p:cNvSpPr>
            <p:nvPr/>
          </p:nvSpPr>
          <p:spPr bwMode="auto">
            <a:xfrm>
              <a:off x="3452" y="71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3" y="0"/>
                  </a:moveTo>
                  <a:lnTo>
                    <a:pt x="159" y="3"/>
                  </a:lnTo>
                  <a:lnTo>
                    <a:pt x="184" y="10"/>
                  </a:lnTo>
                  <a:lnTo>
                    <a:pt x="207" y="22"/>
                  </a:lnTo>
                  <a:lnTo>
                    <a:pt x="226" y="38"/>
                  </a:lnTo>
                  <a:lnTo>
                    <a:pt x="241" y="58"/>
                  </a:lnTo>
                  <a:lnTo>
                    <a:pt x="253" y="80"/>
                  </a:lnTo>
                  <a:lnTo>
                    <a:pt x="260" y="105"/>
                  </a:lnTo>
                  <a:lnTo>
                    <a:pt x="263" y="131"/>
                  </a:lnTo>
                  <a:lnTo>
                    <a:pt x="260" y="158"/>
                  </a:lnTo>
                  <a:lnTo>
                    <a:pt x="253" y="182"/>
                  </a:lnTo>
                  <a:lnTo>
                    <a:pt x="241" y="204"/>
                  </a:lnTo>
                  <a:lnTo>
                    <a:pt x="226" y="223"/>
                  </a:lnTo>
                  <a:lnTo>
                    <a:pt x="207" y="239"/>
                  </a:lnTo>
                  <a:lnTo>
                    <a:pt x="184" y="251"/>
                  </a:lnTo>
                  <a:lnTo>
                    <a:pt x="159" y="259"/>
                  </a:lnTo>
                  <a:lnTo>
                    <a:pt x="133" y="262"/>
                  </a:lnTo>
                  <a:lnTo>
                    <a:pt x="106" y="259"/>
                  </a:lnTo>
                  <a:lnTo>
                    <a:pt x="81" y="251"/>
                  </a:lnTo>
                  <a:lnTo>
                    <a:pt x="58" y="239"/>
                  </a:lnTo>
                  <a:lnTo>
                    <a:pt x="39" y="223"/>
                  </a:lnTo>
                  <a:lnTo>
                    <a:pt x="23" y="204"/>
                  </a:lnTo>
                  <a:lnTo>
                    <a:pt x="10" y="182"/>
                  </a:lnTo>
                  <a:lnTo>
                    <a:pt x="3" y="158"/>
                  </a:lnTo>
                  <a:lnTo>
                    <a:pt x="0" y="131"/>
                  </a:lnTo>
                  <a:lnTo>
                    <a:pt x="3" y="105"/>
                  </a:lnTo>
                  <a:lnTo>
                    <a:pt x="10" y="80"/>
                  </a:lnTo>
                  <a:lnTo>
                    <a:pt x="23" y="58"/>
                  </a:lnTo>
                  <a:lnTo>
                    <a:pt x="39" y="38"/>
                  </a:lnTo>
                  <a:lnTo>
                    <a:pt x="58" y="22"/>
                  </a:lnTo>
                  <a:lnTo>
                    <a:pt x="81" y="10"/>
                  </a:lnTo>
                  <a:lnTo>
                    <a:pt x="106" y="3"/>
                  </a:lnTo>
                  <a:lnTo>
                    <a:pt x="133" y="0"/>
                  </a:lnTo>
                  <a:close/>
                </a:path>
              </a:pathLst>
            </a:custGeom>
            <a:grpFill/>
            <a:ln w="9525">
              <a:noFill/>
              <a:round/>
              <a:headEnd/>
              <a:tailEnd/>
            </a:ln>
          </p:spPr>
          <p:txBody>
            <a:bodyPr wrap="none" anchor="ctr"/>
            <a:lstStyle/>
            <a:p>
              <a:endParaRPr lang="en-GB" sz="2200">
                <a:solidFill>
                  <a:srgbClr val="000000"/>
                </a:solidFill>
              </a:endParaRPr>
            </a:p>
          </p:txBody>
        </p:sp>
        <p:sp>
          <p:nvSpPr>
            <p:cNvPr id="138" name="Freeform 66"/>
            <p:cNvSpPr>
              <a:spLocks noChangeArrowheads="1"/>
            </p:cNvSpPr>
            <p:nvPr/>
          </p:nvSpPr>
          <p:spPr bwMode="auto">
            <a:xfrm>
              <a:off x="3724" y="769"/>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2" y="0"/>
                  </a:moveTo>
                  <a:lnTo>
                    <a:pt x="158" y="3"/>
                  </a:lnTo>
                  <a:lnTo>
                    <a:pt x="183" y="11"/>
                  </a:lnTo>
                  <a:lnTo>
                    <a:pt x="205" y="22"/>
                  </a:lnTo>
                  <a:lnTo>
                    <a:pt x="225" y="38"/>
                  </a:lnTo>
                  <a:lnTo>
                    <a:pt x="241" y="58"/>
                  </a:lnTo>
                  <a:lnTo>
                    <a:pt x="252" y="79"/>
                  </a:lnTo>
                  <a:lnTo>
                    <a:pt x="260" y="104"/>
                  </a:lnTo>
                  <a:lnTo>
                    <a:pt x="263" y="131"/>
                  </a:lnTo>
                  <a:lnTo>
                    <a:pt x="260" y="157"/>
                  </a:lnTo>
                  <a:lnTo>
                    <a:pt x="252" y="181"/>
                  </a:lnTo>
                  <a:lnTo>
                    <a:pt x="241" y="204"/>
                  </a:lnTo>
                  <a:lnTo>
                    <a:pt x="225" y="223"/>
                  </a:lnTo>
                  <a:lnTo>
                    <a:pt x="205" y="239"/>
                  </a:lnTo>
                  <a:lnTo>
                    <a:pt x="183" y="251"/>
                  </a:lnTo>
                  <a:lnTo>
                    <a:pt x="158" y="259"/>
                  </a:lnTo>
                  <a:lnTo>
                    <a:pt x="132" y="262"/>
                  </a:lnTo>
                  <a:lnTo>
                    <a:pt x="105" y="259"/>
                  </a:lnTo>
                  <a:lnTo>
                    <a:pt x="81" y="251"/>
                  </a:lnTo>
                  <a:lnTo>
                    <a:pt x="58" y="239"/>
                  </a:lnTo>
                  <a:lnTo>
                    <a:pt x="39" y="223"/>
                  </a:lnTo>
                  <a:lnTo>
                    <a:pt x="23" y="204"/>
                  </a:lnTo>
                  <a:lnTo>
                    <a:pt x="10" y="181"/>
                  </a:lnTo>
                  <a:lnTo>
                    <a:pt x="2" y="157"/>
                  </a:lnTo>
                  <a:lnTo>
                    <a:pt x="0" y="131"/>
                  </a:lnTo>
                  <a:lnTo>
                    <a:pt x="2" y="104"/>
                  </a:lnTo>
                  <a:lnTo>
                    <a:pt x="10" y="79"/>
                  </a:lnTo>
                  <a:lnTo>
                    <a:pt x="23" y="58"/>
                  </a:lnTo>
                  <a:lnTo>
                    <a:pt x="39" y="38"/>
                  </a:lnTo>
                  <a:lnTo>
                    <a:pt x="58" y="22"/>
                  </a:lnTo>
                  <a:lnTo>
                    <a:pt x="81" y="11"/>
                  </a:lnTo>
                  <a:lnTo>
                    <a:pt x="105" y="3"/>
                  </a:lnTo>
                  <a:lnTo>
                    <a:pt x="132" y="0"/>
                  </a:lnTo>
                  <a:close/>
                </a:path>
              </a:pathLst>
            </a:custGeom>
            <a:grpFill/>
            <a:ln w="9525">
              <a:noFill/>
              <a:round/>
              <a:headEnd/>
              <a:tailEnd/>
            </a:ln>
          </p:spPr>
          <p:txBody>
            <a:bodyPr wrap="none" anchor="ctr"/>
            <a:lstStyle/>
            <a:p>
              <a:endParaRPr lang="en-GB" sz="2200">
                <a:solidFill>
                  <a:srgbClr val="000000"/>
                </a:solidFill>
              </a:endParaRPr>
            </a:p>
          </p:txBody>
        </p:sp>
        <p:sp>
          <p:nvSpPr>
            <p:cNvPr id="139" name="Freeform 67"/>
            <p:cNvSpPr>
              <a:spLocks noChangeArrowheads="1"/>
            </p:cNvSpPr>
            <p:nvPr/>
          </p:nvSpPr>
          <p:spPr bwMode="auto">
            <a:xfrm>
              <a:off x="3724" y="824"/>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2"/>
                  </a:lnTo>
                  <a:lnTo>
                    <a:pt x="182" y="10"/>
                  </a:lnTo>
                  <a:lnTo>
                    <a:pt x="204" y="21"/>
                  </a:lnTo>
                  <a:lnTo>
                    <a:pt x="225" y="38"/>
                  </a:lnTo>
                  <a:lnTo>
                    <a:pt x="241" y="57"/>
                  </a:lnTo>
                  <a:lnTo>
                    <a:pt x="252" y="79"/>
                  </a:lnTo>
                  <a:lnTo>
                    <a:pt x="260" y="104"/>
                  </a:lnTo>
                  <a:lnTo>
                    <a:pt x="263" y="131"/>
                  </a:lnTo>
                  <a:lnTo>
                    <a:pt x="260" y="157"/>
                  </a:lnTo>
                  <a:lnTo>
                    <a:pt x="252" y="182"/>
                  </a:lnTo>
                  <a:lnTo>
                    <a:pt x="241" y="204"/>
                  </a:lnTo>
                  <a:lnTo>
                    <a:pt x="225" y="223"/>
                  </a:lnTo>
                  <a:lnTo>
                    <a:pt x="204" y="240"/>
                  </a:lnTo>
                  <a:lnTo>
                    <a:pt x="182" y="252"/>
                  </a:lnTo>
                  <a:lnTo>
                    <a:pt x="158" y="260"/>
                  </a:lnTo>
                  <a:lnTo>
                    <a:pt x="131" y="262"/>
                  </a:lnTo>
                  <a:lnTo>
                    <a:pt x="104" y="260"/>
                  </a:lnTo>
                  <a:lnTo>
                    <a:pt x="80" y="252"/>
                  </a:lnTo>
                  <a:lnTo>
                    <a:pt x="58" y="240"/>
                  </a:lnTo>
                  <a:lnTo>
                    <a:pt x="39" y="223"/>
                  </a:lnTo>
                  <a:lnTo>
                    <a:pt x="23" y="204"/>
                  </a:lnTo>
                  <a:lnTo>
                    <a:pt x="10" y="182"/>
                  </a:lnTo>
                  <a:lnTo>
                    <a:pt x="2" y="157"/>
                  </a:lnTo>
                  <a:lnTo>
                    <a:pt x="0" y="131"/>
                  </a:lnTo>
                  <a:lnTo>
                    <a:pt x="2" y="104"/>
                  </a:lnTo>
                  <a:lnTo>
                    <a:pt x="10" y="79"/>
                  </a:lnTo>
                  <a:lnTo>
                    <a:pt x="23" y="57"/>
                  </a:lnTo>
                  <a:lnTo>
                    <a:pt x="39" y="38"/>
                  </a:lnTo>
                  <a:lnTo>
                    <a:pt x="58" y="21"/>
                  </a:lnTo>
                  <a:lnTo>
                    <a:pt x="80" y="10"/>
                  </a:lnTo>
                  <a:lnTo>
                    <a:pt x="104" y="2"/>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40" name="Freeform 68"/>
            <p:cNvSpPr>
              <a:spLocks noChangeArrowheads="1"/>
            </p:cNvSpPr>
            <p:nvPr/>
          </p:nvSpPr>
          <p:spPr bwMode="auto">
            <a:xfrm>
              <a:off x="3724" y="879"/>
              <a:ext cx="28" cy="28"/>
            </a:xfrm>
            <a:custGeom>
              <a:avLst/>
              <a:gdLst>
                <a:gd name="T0" fmla="*/ 0 w 263"/>
                <a:gd name="T1" fmla="*/ 0 h 263"/>
                <a:gd name="T2" fmla="*/ 0 w 263"/>
                <a:gd name="T3" fmla="*/ 0 h 263"/>
                <a:gd name="T4" fmla="*/ 0 w 263"/>
                <a:gd name="T5" fmla="*/ 0 h 263"/>
                <a:gd name="T6" fmla="*/ 0 w 263"/>
                <a:gd name="T7" fmla="*/ 0 h 263"/>
                <a:gd name="T8" fmla="*/ 0 w 263"/>
                <a:gd name="T9" fmla="*/ 0 h 263"/>
                <a:gd name="T10" fmla="*/ 0 w 263"/>
                <a:gd name="T11" fmla="*/ 0 h 263"/>
                <a:gd name="T12" fmla="*/ 0 w 263"/>
                <a:gd name="T13" fmla="*/ 0 h 263"/>
                <a:gd name="T14" fmla="*/ 0 w 263"/>
                <a:gd name="T15" fmla="*/ 0 h 263"/>
                <a:gd name="T16" fmla="*/ 0 w 263"/>
                <a:gd name="T17" fmla="*/ 0 h 263"/>
                <a:gd name="T18" fmla="*/ 0 w 263"/>
                <a:gd name="T19" fmla="*/ 0 h 263"/>
                <a:gd name="T20" fmla="*/ 0 w 263"/>
                <a:gd name="T21" fmla="*/ 0 h 263"/>
                <a:gd name="T22" fmla="*/ 0 w 263"/>
                <a:gd name="T23" fmla="*/ 0 h 263"/>
                <a:gd name="T24" fmla="*/ 0 w 263"/>
                <a:gd name="T25" fmla="*/ 0 h 263"/>
                <a:gd name="T26" fmla="*/ 0 w 263"/>
                <a:gd name="T27" fmla="*/ 0 h 263"/>
                <a:gd name="T28" fmla="*/ 0 w 263"/>
                <a:gd name="T29" fmla="*/ 0 h 263"/>
                <a:gd name="T30" fmla="*/ 0 w 263"/>
                <a:gd name="T31" fmla="*/ 0 h 263"/>
                <a:gd name="T32" fmla="*/ 0 w 263"/>
                <a:gd name="T33" fmla="*/ 0 h 263"/>
                <a:gd name="T34" fmla="*/ 0 w 263"/>
                <a:gd name="T35" fmla="*/ 0 h 263"/>
                <a:gd name="T36" fmla="*/ 0 w 263"/>
                <a:gd name="T37" fmla="*/ 0 h 263"/>
                <a:gd name="T38" fmla="*/ 0 w 263"/>
                <a:gd name="T39" fmla="*/ 0 h 263"/>
                <a:gd name="T40" fmla="*/ 0 w 263"/>
                <a:gd name="T41" fmla="*/ 0 h 263"/>
                <a:gd name="T42" fmla="*/ 0 w 263"/>
                <a:gd name="T43" fmla="*/ 0 h 263"/>
                <a:gd name="T44" fmla="*/ 0 w 263"/>
                <a:gd name="T45" fmla="*/ 0 h 263"/>
                <a:gd name="T46" fmla="*/ 0 w 263"/>
                <a:gd name="T47" fmla="*/ 0 h 263"/>
                <a:gd name="T48" fmla="*/ 0 w 263"/>
                <a:gd name="T49" fmla="*/ 0 h 263"/>
                <a:gd name="T50" fmla="*/ 0 w 263"/>
                <a:gd name="T51" fmla="*/ 0 h 263"/>
                <a:gd name="T52" fmla="*/ 0 w 263"/>
                <a:gd name="T53" fmla="*/ 0 h 263"/>
                <a:gd name="T54" fmla="*/ 0 w 263"/>
                <a:gd name="T55" fmla="*/ 0 h 263"/>
                <a:gd name="T56" fmla="*/ 0 w 263"/>
                <a:gd name="T57" fmla="*/ 0 h 263"/>
                <a:gd name="T58" fmla="*/ 0 w 263"/>
                <a:gd name="T59" fmla="*/ 0 h 263"/>
                <a:gd name="T60" fmla="*/ 0 w 263"/>
                <a:gd name="T61" fmla="*/ 0 h 263"/>
                <a:gd name="T62" fmla="*/ 0 w 263"/>
                <a:gd name="T63" fmla="*/ 0 h 263"/>
                <a:gd name="T64" fmla="*/ 0 w 263"/>
                <a:gd name="T65" fmla="*/ 0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3"/>
                <a:gd name="T101" fmla="*/ 263 w 263"/>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3">
                  <a:moveTo>
                    <a:pt x="131" y="0"/>
                  </a:moveTo>
                  <a:lnTo>
                    <a:pt x="158" y="3"/>
                  </a:lnTo>
                  <a:lnTo>
                    <a:pt x="182" y="11"/>
                  </a:lnTo>
                  <a:lnTo>
                    <a:pt x="204" y="23"/>
                  </a:lnTo>
                  <a:lnTo>
                    <a:pt x="225" y="39"/>
                  </a:lnTo>
                  <a:lnTo>
                    <a:pt x="241" y="58"/>
                  </a:lnTo>
                  <a:lnTo>
                    <a:pt x="252" y="81"/>
                  </a:lnTo>
                  <a:lnTo>
                    <a:pt x="260" y="104"/>
                  </a:lnTo>
                  <a:lnTo>
                    <a:pt x="263" y="131"/>
                  </a:lnTo>
                  <a:lnTo>
                    <a:pt x="260" y="157"/>
                  </a:lnTo>
                  <a:lnTo>
                    <a:pt x="252" y="182"/>
                  </a:lnTo>
                  <a:lnTo>
                    <a:pt x="241" y="204"/>
                  </a:lnTo>
                  <a:lnTo>
                    <a:pt x="225" y="225"/>
                  </a:lnTo>
                  <a:lnTo>
                    <a:pt x="204" y="241"/>
                  </a:lnTo>
                  <a:lnTo>
                    <a:pt x="182" y="253"/>
                  </a:lnTo>
                  <a:lnTo>
                    <a:pt x="158" y="260"/>
                  </a:lnTo>
                  <a:lnTo>
                    <a:pt x="131" y="263"/>
                  </a:lnTo>
                  <a:lnTo>
                    <a:pt x="104" y="260"/>
                  </a:lnTo>
                  <a:lnTo>
                    <a:pt x="80" y="253"/>
                  </a:lnTo>
                  <a:lnTo>
                    <a:pt x="58" y="241"/>
                  </a:lnTo>
                  <a:lnTo>
                    <a:pt x="39" y="225"/>
                  </a:lnTo>
                  <a:lnTo>
                    <a:pt x="23" y="204"/>
                  </a:lnTo>
                  <a:lnTo>
                    <a:pt x="10" y="182"/>
                  </a:lnTo>
                  <a:lnTo>
                    <a:pt x="2" y="157"/>
                  </a:lnTo>
                  <a:lnTo>
                    <a:pt x="0" y="131"/>
                  </a:lnTo>
                  <a:lnTo>
                    <a:pt x="2" y="104"/>
                  </a:lnTo>
                  <a:lnTo>
                    <a:pt x="10" y="81"/>
                  </a:lnTo>
                  <a:lnTo>
                    <a:pt x="23" y="58"/>
                  </a:lnTo>
                  <a:lnTo>
                    <a:pt x="39" y="39"/>
                  </a:lnTo>
                  <a:lnTo>
                    <a:pt x="58" y="23"/>
                  </a:lnTo>
                  <a:lnTo>
                    <a:pt x="80" y="11"/>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41" name="Freeform 69"/>
            <p:cNvSpPr>
              <a:spLocks noChangeArrowheads="1"/>
            </p:cNvSpPr>
            <p:nvPr/>
          </p:nvSpPr>
          <p:spPr bwMode="auto">
            <a:xfrm>
              <a:off x="3724" y="933"/>
              <a:ext cx="28" cy="28"/>
            </a:xfrm>
            <a:custGeom>
              <a:avLst/>
              <a:gdLst>
                <a:gd name="T0" fmla="*/ 0 w 263"/>
                <a:gd name="T1" fmla="*/ 0 h 262"/>
                <a:gd name="T2" fmla="*/ 0 w 263"/>
                <a:gd name="T3" fmla="*/ 0 h 262"/>
                <a:gd name="T4" fmla="*/ 0 w 263"/>
                <a:gd name="T5" fmla="*/ 0 h 262"/>
                <a:gd name="T6" fmla="*/ 0 w 263"/>
                <a:gd name="T7" fmla="*/ 0 h 262"/>
                <a:gd name="T8" fmla="*/ 0 w 263"/>
                <a:gd name="T9" fmla="*/ 0 h 262"/>
                <a:gd name="T10" fmla="*/ 0 w 263"/>
                <a:gd name="T11" fmla="*/ 0 h 262"/>
                <a:gd name="T12" fmla="*/ 0 w 263"/>
                <a:gd name="T13" fmla="*/ 0 h 262"/>
                <a:gd name="T14" fmla="*/ 0 w 263"/>
                <a:gd name="T15" fmla="*/ 0 h 262"/>
                <a:gd name="T16" fmla="*/ 0 w 263"/>
                <a:gd name="T17" fmla="*/ 0 h 262"/>
                <a:gd name="T18" fmla="*/ 0 w 263"/>
                <a:gd name="T19" fmla="*/ 0 h 262"/>
                <a:gd name="T20" fmla="*/ 0 w 263"/>
                <a:gd name="T21" fmla="*/ 0 h 262"/>
                <a:gd name="T22" fmla="*/ 0 w 263"/>
                <a:gd name="T23" fmla="*/ 0 h 262"/>
                <a:gd name="T24" fmla="*/ 0 w 263"/>
                <a:gd name="T25" fmla="*/ 0 h 262"/>
                <a:gd name="T26" fmla="*/ 0 w 263"/>
                <a:gd name="T27" fmla="*/ 0 h 262"/>
                <a:gd name="T28" fmla="*/ 0 w 263"/>
                <a:gd name="T29" fmla="*/ 0 h 262"/>
                <a:gd name="T30" fmla="*/ 0 w 263"/>
                <a:gd name="T31" fmla="*/ 0 h 262"/>
                <a:gd name="T32" fmla="*/ 0 w 263"/>
                <a:gd name="T33" fmla="*/ 0 h 262"/>
                <a:gd name="T34" fmla="*/ 0 w 263"/>
                <a:gd name="T35" fmla="*/ 0 h 262"/>
                <a:gd name="T36" fmla="*/ 0 w 263"/>
                <a:gd name="T37" fmla="*/ 0 h 262"/>
                <a:gd name="T38" fmla="*/ 0 w 263"/>
                <a:gd name="T39" fmla="*/ 0 h 262"/>
                <a:gd name="T40" fmla="*/ 0 w 263"/>
                <a:gd name="T41" fmla="*/ 0 h 262"/>
                <a:gd name="T42" fmla="*/ 0 w 263"/>
                <a:gd name="T43" fmla="*/ 0 h 262"/>
                <a:gd name="T44" fmla="*/ 0 w 263"/>
                <a:gd name="T45" fmla="*/ 0 h 262"/>
                <a:gd name="T46" fmla="*/ 0 w 263"/>
                <a:gd name="T47" fmla="*/ 0 h 262"/>
                <a:gd name="T48" fmla="*/ 0 w 263"/>
                <a:gd name="T49" fmla="*/ 0 h 262"/>
                <a:gd name="T50" fmla="*/ 0 w 263"/>
                <a:gd name="T51" fmla="*/ 0 h 262"/>
                <a:gd name="T52" fmla="*/ 0 w 263"/>
                <a:gd name="T53" fmla="*/ 0 h 262"/>
                <a:gd name="T54" fmla="*/ 0 w 263"/>
                <a:gd name="T55" fmla="*/ 0 h 262"/>
                <a:gd name="T56" fmla="*/ 0 w 263"/>
                <a:gd name="T57" fmla="*/ 0 h 262"/>
                <a:gd name="T58" fmla="*/ 0 w 263"/>
                <a:gd name="T59" fmla="*/ 0 h 262"/>
                <a:gd name="T60" fmla="*/ 0 w 263"/>
                <a:gd name="T61" fmla="*/ 0 h 262"/>
                <a:gd name="T62" fmla="*/ 0 w 263"/>
                <a:gd name="T63" fmla="*/ 0 h 262"/>
                <a:gd name="T64" fmla="*/ 0 w 263"/>
                <a:gd name="T65" fmla="*/ 0 h 2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2"/>
                <a:gd name="T101" fmla="*/ 263 w 263"/>
                <a:gd name="T102" fmla="*/ 262 h 2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2">
                  <a:moveTo>
                    <a:pt x="131" y="0"/>
                  </a:moveTo>
                  <a:lnTo>
                    <a:pt x="158" y="3"/>
                  </a:lnTo>
                  <a:lnTo>
                    <a:pt x="182" y="11"/>
                  </a:lnTo>
                  <a:lnTo>
                    <a:pt x="204" y="23"/>
                  </a:lnTo>
                  <a:lnTo>
                    <a:pt x="225" y="39"/>
                  </a:lnTo>
                  <a:lnTo>
                    <a:pt x="241" y="58"/>
                  </a:lnTo>
                  <a:lnTo>
                    <a:pt x="252" y="81"/>
                  </a:lnTo>
                  <a:lnTo>
                    <a:pt x="260" y="106"/>
                  </a:lnTo>
                  <a:lnTo>
                    <a:pt x="263" y="132"/>
                  </a:lnTo>
                  <a:lnTo>
                    <a:pt x="260" y="158"/>
                  </a:lnTo>
                  <a:lnTo>
                    <a:pt x="252" y="183"/>
                  </a:lnTo>
                  <a:lnTo>
                    <a:pt x="241" y="205"/>
                  </a:lnTo>
                  <a:lnTo>
                    <a:pt x="225" y="225"/>
                  </a:lnTo>
                  <a:lnTo>
                    <a:pt x="204" y="241"/>
                  </a:lnTo>
                  <a:lnTo>
                    <a:pt x="182" y="253"/>
                  </a:lnTo>
                  <a:lnTo>
                    <a:pt x="158" y="260"/>
                  </a:lnTo>
                  <a:lnTo>
                    <a:pt x="131" y="262"/>
                  </a:lnTo>
                  <a:lnTo>
                    <a:pt x="104" y="260"/>
                  </a:lnTo>
                  <a:lnTo>
                    <a:pt x="80" y="253"/>
                  </a:lnTo>
                  <a:lnTo>
                    <a:pt x="58" y="241"/>
                  </a:lnTo>
                  <a:lnTo>
                    <a:pt x="39" y="225"/>
                  </a:lnTo>
                  <a:lnTo>
                    <a:pt x="23" y="205"/>
                  </a:lnTo>
                  <a:lnTo>
                    <a:pt x="10" y="183"/>
                  </a:lnTo>
                  <a:lnTo>
                    <a:pt x="2" y="158"/>
                  </a:lnTo>
                  <a:lnTo>
                    <a:pt x="0" y="132"/>
                  </a:lnTo>
                  <a:lnTo>
                    <a:pt x="2" y="106"/>
                  </a:lnTo>
                  <a:lnTo>
                    <a:pt x="10" y="81"/>
                  </a:lnTo>
                  <a:lnTo>
                    <a:pt x="23" y="58"/>
                  </a:lnTo>
                  <a:lnTo>
                    <a:pt x="39" y="39"/>
                  </a:lnTo>
                  <a:lnTo>
                    <a:pt x="58" y="23"/>
                  </a:lnTo>
                  <a:lnTo>
                    <a:pt x="80" y="11"/>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sp>
          <p:nvSpPr>
            <p:cNvPr id="142" name="Freeform 70"/>
            <p:cNvSpPr>
              <a:spLocks noChangeArrowheads="1"/>
            </p:cNvSpPr>
            <p:nvPr/>
          </p:nvSpPr>
          <p:spPr bwMode="auto">
            <a:xfrm>
              <a:off x="3724" y="988"/>
              <a:ext cx="28" cy="28"/>
            </a:xfrm>
            <a:custGeom>
              <a:avLst/>
              <a:gdLst>
                <a:gd name="T0" fmla="*/ 0 w 263"/>
                <a:gd name="T1" fmla="*/ 0 h 264"/>
                <a:gd name="T2" fmla="*/ 0 w 263"/>
                <a:gd name="T3" fmla="*/ 0 h 264"/>
                <a:gd name="T4" fmla="*/ 0 w 263"/>
                <a:gd name="T5" fmla="*/ 0 h 264"/>
                <a:gd name="T6" fmla="*/ 0 w 263"/>
                <a:gd name="T7" fmla="*/ 0 h 264"/>
                <a:gd name="T8" fmla="*/ 0 w 263"/>
                <a:gd name="T9" fmla="*/ 0 h 264"/>
                <a:gd name="T10" fmla="*/ 0 w 263"/>
                <a:gd name="T11" fmla="*/ 0 h 264"/>
                <a:gd name="T12" fmla="*/ 0 w 263"/>
                <a:gd name="T13" fmla="*/ 0 h 264"/>
                <a:gd name="T14" fmla="*/ 0 w 263"/>
                <a:gd name="T15" fmla="*/ 0 h 264"/>
                <a:gd name="T16" fmla="*/ 0 w 263"/>
                <a:gd name="T17" fmla="*/ 0 h 264"/>
                <a:gd name="T18" fmla="*/ 0 w 263"/>
                <a:gd name="T19" fmla="*/ 0 h 264"/>
                <a:gd name="T20" fmla="*/ 0 w 263"/>
                <a:gd name="T21" fmla="*/ 0 h 264"/>
                <a:gd name="T22" fmla="*/ 0 w 263"/>
                <a:gd name="T23" fmla="*/ 0 h 264"/>
                <a:gd name="T24" fmla="*/ 0 w 263"/>
                <a:gd name="T25" fmla="*/ 0 h 264"/>
                <a:gd name="T26" fmla="*/ 0 w 263"/>
                <a:gd name="T27" fmla="*/ 0 h 264"/>
                <a:gd name="T28" fmla="*/ 0 w 263"/>
                <a:gd name="T29" fmla="*/ 0 h 264"/>
                <a:gd name="T30" fmla="*/ 0 w 263"/>
                <a:gd name="T31" fmla="*/ 0 h 264"/>
                <a:gd name="T32" fmla="*/ 0 w 263"/>
                <a:gd name="T33" fmla="*/ 0 h 264"/>
                <a:gd name="T34" fmla="*/ 0 w 263"/>
                <a:gd name="T35" fmla="*/ 0 h 264"/>
                <a:gd name="T36" fmla="*/ 0 w 263"/>
                <a:gd name="T37" fmla="*/ 0 h 264"/>
                <a:gd name="T38" fmla="*/ 0 w 263"/>
                <a:gd name="T39" fmla="*/ 0 h 264"/>
                <a:gd name="T40" fmla="*/ 0 w 263"/>
                <a:gd name="T41" fmla="*/ 0 h 264"/>
                <a:gd name="T42" fmla="*/ 0 w 263"/>
                <a:gd name="T43" fmla="*/ 0 h 264"/>
                <a:gd name="T44" fmla="*/ 0 w 263"/>
                <a:gd name="T45" fmla="*/ 0 h 264"/>
                <a:gd name="T46" fmla="*/ 0 w 263"/>
                <a:gd name="T47" fmla="*/ 0 h 264"/>
                <a:gd name="T48" fmla="*/ 0 w 263"/>
                <a:gd name="T49" fmla="*/ 0 h 264"/>
                <a:gd name="T50" fmla="*/ 0 w 263"/>
                <a:gd name="T51" fmla="*/ 0 h 264"/>
                <a:gd name="T52" fmla="*/ 0 w 263"/>
                <a:gd name="T53" fmla="*/ 0 h 264"/>
                <a:gd name="T54" fmla="*/ 0 w 263"/>
                <a:gd name="T55" fmla="*/ 0 h 264"/>
                <a:gd name="T56" fmla="*/ 0 w 263"/>
                <a:gd name="T57" fmla="*/ 0 h 264"/>
                <a:gd name="T58" fmla="*/ 0 w 263"/>
                <a:gd name="T59" fmla="*/ 0 h 264"/>
                <a:gd name="T60" fmla="*/ 0 w 263"/>
                <a:gd name="T61" fmla="*/ 0 h 264"/>
                <a:gd name="T62" fmla="*/ 0 w 263"/>
                <a:gd name="T63" fmla="*/ 0 h 264"/>
                <a:gd name="T64" fmla="*/ 0 w 263"/>
                <a:gd name="T65" fmla="*/ 0 h 26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64"/>
                <a:gd name="T101" fmla="*/ 263 w 263"/>
                <a:gd name="T102" fmla="*/ 264 h 26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64">
                  <a:moveTo>
                    <a:pt x="131" y="0"/>
                  </a:moveTo>
                  <a:lnTo>
                    <a:pt x="158" y="3"/>
                  </a:lnTo>
                  <a:lnTo>
                    <a:pt x="182" y="10"/>
                  </a:lnTo>
                  <a:lnTo>
                    <a:pt x="204" y="23"/>
                  </a:lnTo>
                  <a:lnTo>
                    <a:pt x="225" y="39"/>
                  </a:lnTo>
                  <a:lnTo>
                    <a:pt x="241" y="58"/>
                  </a:lnTo>
                  <a:lnTo>
                    <a:pt x="252" y="81"/>
                  </a:lnTo>
                  <a:lnTo>
                    <a:pt x="260" y="105"/>
                  </a:lnTo>
                  <a:lnTo>
                    <a:pt x="263" y="132"/>
                  </a:lnTo>
                  <a:lnTo>
                    <a:pt x="260" y="157"/>
                  </a:lnTo>
                  <a:lnTo>
                    <a:pt x="252" y="182"/>
                  </a:lnTo>
                  <a:lnTo>
                    <a:pt x="241" y="205"/>
                  </a:lnTo>
                  <a:lnTo>
                    <a:pt x="225" y="224"/>
                  </a:lnTo>
                  <a:lnTo>
                    <a:pt x="204" y="240"/>
                  </a:lnTo>
                  <a:lnTo>
                    <a:pt x="182" y="253"/>
                  </a:lnTo>
                  <a:lnTo>
                    <a:pt x="158" y="260"/>
                  </a:lnTo>
                  <a:lnTo>
                    <a:pt x="131" y="264"/>
                  </a:lnTo>
                  <a:lnTo>
                    <a:pt x="104" y="260"/>
                  </a:lnTo>
                  <a:lnTo>
                    <a:pt x="80" y="253"/>
                  </a:lnTo>
                  <a:lnTo>
                    <a:pt x="58" y="240"/>
                  </a:lnTo>
                  <a:lnTo>
                    <a:pt x="39" y="224"/>
                  </a:lnTo>
                  <a:lnTo>
                    <a:pt x="23" y="205"/>
                  </a:lnTo>
                  <a:lnTo>
                    <a:pt x="10" y="182"/>
                  </a:lnTo>
                  <a:lnTo>
                    <a:pt x="2" y="157"/>
                  </a:lnTo>
                  <a:lnTo>
                    <a:pt x="0" y="132"/>
                  </a:lnTo>
                  <a:lnTo>
                    <a:pt x="2" y="105"/>
                  </a:lnTo>
                  <a:lnTo>
                    <a:pt x="10" y="81"/>
                  </a:lnTo>
                  <a:lnTo>
                    <a:pt x="23" y="58"/>
                  </a:lnTo>
                  <a:lnTo>
                    <a:pt x="39" y="39"/>
                  </a:lnTo>
                  <a:lnTo>
                    <a:pt x="58" y="23"/>
                  </a:lnTo>
                  <a:lnTo>
                    <a:pt x="80" y="10"/>
                  </a:lnTo>
                  <a:lnTo>
                    <a:pt x="104" y="3"/>
                  </a:lnTo>
                  <a:lnTo>
                    <a:pt x="131" y="0"/>
                  </a:lnTo>
                  <a:close/>
                </a:path>
              </a:pathLst>
            </a:custGeom>
            <a:grpFill/>
            <a:ln w="9525">
              <a:noFill/>
              <a:round/>
              <a:headEnd/>
              <a:tailEnd/>
            </a:ln>
          </p:spPr>
          <p:txBody>
            <a:bodyPr wrap="none" anchor="ctr"/>
            <a:lstStyle/>
            <a:p>
              <a:endParaRPr lang="en-GB" sz="2200">
                <a:solidFill>
                  <a:srgbClr val="000000"/>
                </a:solidFill>
              </a:endParaRPr>
            </a:p>
          </p:txBody>
        </p:sp>
      </p:grpSp>
      <p:grpSp>
        <p:nvGrpSpPr>
          <p:cNvPr id="143" name="Group 118"/>
          <p:cNvGrpSpPr>
            <a:grpSpLocks/>
          </p:cNvGrpSpPr>
          <p:nvPr/>
        </p:nvGrpSpPr>
        <p:grpSpPr bwMode="auto">
          <a:xfrm>
            <a:off x="3356118" y="2387180"/>
            <a:ext cx="351924" cy="273718"/>
            <a:chOff x="178" y="2499"/>
            <a:chExt cx="383" cy="327"/>
          </a:xfrm>
          <a:solidFill>
            <a:schemeClr val="accent2"/>
          </a:solidFill>
        </p:grpSpPr>
        <p:sp>
          <p:nvSpPr>
            <p:cNvPr id="144" name="Freeform 119"/>
            <p:cNvSpPr>
              <a:spLocks noChangeArrowheads="1"/>
            </p:cNvSpPr>
            <p:nvPr/>
          </p:nvSpPr>
          <p:spPr bwMode="auto">
            <a:xfrm>
              <a:off x="309" y="2580"/>
              <a:ext cx="121" cy="246"/>
            </a:xfrm>
            <a:custGeom>
              <a:avLst/>
              <a:gdLst>
                <a:gd name="T0" fmla="*/ 0 w 1102"/>
                <a:gd name="T1" fmla="*/ 0 h 2227"/>
                <a:gd name="T2" fmla="*/ 0 w 1102"/>
                <a:gd name="T3" fmla="*/ 0 h 2227"/>
                <a:gd name="T4" fmla="*/ 0 w 1102"/>
                <a:gd name="T5" fmla="*/ 0 h 2227"/>
                <a:gd name="T6" fmla="*/ 0 w 1102"/>
                <a:gd name="T7" fmla="*/ 0 h 2227"/>
                <a:gd name="T8" fmla="*/ 0 w 1102"/>
                <a:gd name="T9" fmla="*/ 0 h 2227"/>
                <a:gd name="T10" fmla="*/ 0 w 1102"/>
                <a:gd name="T11" fmla="*/ 0 h 2227"/>
                <a:gd name="T12" fmla="*/ 0 w 1102"/>
                <a:gd name="T13" fmla="*/ 0 h 2227"/>
                <a:gd name="T14" fmla="*/ 0 w 1102"/>
                <a:gd name="T15" fmla="*/ 0 h 2227"/>
                <a:gd name="T16" fmla="*/ 0 w 1102"/>
                <a:gd name="T17" fmla="*/ 0 h 2227"/>
                <a:gd name="T18" fmla="*/ 0 w 1102"/>
                <a:gd name="T19" fmla="*/ 0 h 2227"/>
                <a:gd name="T20" fmla="*/ 0 w 1102"/>
                <a:gd name="T21" fmla="*/ 0 h 2227"/>
                <a:gd name="T22" fmla="*/ 0 w 1102"/>
                <a:gd name="T23" fmla="*/ 0 h 2227"/>
                <a:gd name="T24" fmla="*/ 0 w 1102"/>
                <a:gd name="T25" fmla="*/ 0 h 2227"/>
                <a:gd name="T26" fmla="*/ 0 w 1102"/>
                <a:gd name="T27" fmla="*/ 0 h 2227"/>
                <a:gd name="T28" fmla="*/ 0 w 1102"/>
                <a:gd name="T29" fmla="*/ 0 h 2227"/>
                <a:gd name="T30" fmla="*/ 0 w 1102"/>
                <a:gd name="T31" fmla="*/ 0 h 2227"/>
                <a:gd name="T32" fmla="*/ 0 w 1102"/>
                <a:gd name="T33" fmla="*/ 0 h 2227"/>
                <a:gd name="T34" fmla="*/ 0 w 1102"/>
                <a:gd name="T35" fmla="*/ 0 h 2227"/>
                <a:gd name="T36" fmla="*/ 0 w 1102"/>
                <a:gd name="T37" fmla="*/ 0 h 2227"/>
                <a:gd name="T38" fmla="*/ 0 w 1102"/>
                <a:gd name="T39" fmla="*/ 0 h 2227"/>
                <a:gd name="T40" fmla="*/ 0 w 1102"/>
                <a:gd name="T41" fmla="*/ 0 h 2227"/>
                <a:gd name="T42" fmla="*/ 0 w 1102"/>
                <a:gd name="T43" fmla="*/ 0 h 2227"/>
                <a:gd name="T44" fmla="*/ 0 w 1102"/>
                <a:gd name="T45" fmla="*/ 0 h 2227"/>
                <a:gd name="T46" fmla="*/ 0 w 1102"/>
                <a:gd name="T47" fmla="*/ 0 h 2227"/>
                <a:gd name="T48" fmla="*/ 0 w 1102"/>
                <a:gd name="T49" fmla="*/ 0 h 2227"/>
                <a:gd name="T50" fmla="*/ 0 w 1102"/>
                <a:gd name="T51" fmla="*/ 0 h 2227"/>
                <a:gd name="T52" fmla="*/ 0 w 1102"/>
                <a:gd name="T53" fmla="*/ 0 h 2227"/>
                <a:gd name="T54" fmla="*/ 0 w 1102"/>
                <a:gd name="T55" fmla="*/ 0 h 2227"/>
                <a:gd name="T56" fmla="*/ 0 w 1102"/>
                <a:gd name="T57" fmla="*/ 0 h 2227"/>
                <a:gd name="T58" fmla="*/ 0 w 1102"/>
                <a:gd name="T59" fmla="*/ 0 h 2227"/>
                <a:gd name="T60" fmla="*/ 0 w 1102"/>
                <a:gd name="T61" fmla="*/ 0 h 2227"/>
                <a:gd name="T62" fmla="*/ 0 w 1102"/>
                <a:gd name="T63" fmla="*/ 0 h 2227"/>
                <a:gd name="T64" fmla="*/ 0 w 1102"/>
                <a:gd name="T65" fmla="*/ 0 h 2227"/>
                <a:gd name="T66" fmla="*/ 0 w 1102"/>
                <a:gd name="T67" fmla="*/ 0 h 2227"/>
                <a:gd name="T68" fmla="*/ 0 w 1102"/>
                <a:gd name="T69" fmla="*/ 0 h 2227"/>
                <a:gd name="T70" fmla="*/ 0 w 1102"/>
                <a:gd name="T71" fmla="*/ 0 h 2227"/>
                <a:gd name="T72" fmla="*/ 0 w 1102"/>
                <a:gd name="T73" fmla="*/ 0 h 2227"/>
                <a:gd name="T74" fmla="*/ 0 w 1102"/>
                <a:gd name="T75" fmla="*/ 0 h 2227"/>
                <a:gd name="T76" fmla="*/ 0 w 1102"/>
                <a:gd name="T77" fmla="*/ 0 h 2227"/>
                <a:gd name="T78" fmla="*/ 0 w 1102"/>
                <a:gd name="T79" fmla="*/ 0 h 2227"/>
                <a:gd name="T80" fmla="*/ 0 w 1102"/>
                <a:gd name="T81" fmla="*/ 0 h 2227"/>
                <a:gd name="T82" fmla="*/ 0 w 1102"/>
                <a:gd name="T83" fmla="*/ 0 h 2227"/>
                <a:gd name="T84" fmla="*/ 0 w 1102"/>
                <a:gd name="T85" fmla="*/ 0 h 2227"/>
                <a:gd name="T86" fmla="*/ 0 w 1102"/>
                <a:gd name="T87" fmla="*/ 0 h 2227"/>
                <a:gd name="T88" fmla="*/ 0 w 1102"/>
                <a:gd name="T89" fmla="*/ 0 h 2227"/>
                <a:gd name="T90" fmla="*/ 0 w 1102"/>
                <a:gd name="T91" fmla="*/ 0 h 2227"/>
                <a:gd name="T92" fmla="*/ 0 w 1102"/>
                <a:gd name="T93" fmla="*/ 0 h 2227"/>
                <a:gd name="T94" fmla="*/ 0 w 1102"/>
                <a:gd name="T95" fmla="*/ 0 h 2227"/>
                <a:gd name="T96" fmla="*/ 0 w 1102"/>
                <a:gd name="T97" fmla="*/ 0 h 2227"/>
                <a:gd name="T98" fmla="*/ 0 w 1102"/>
                <a:gd name="T99" fmla="*/ 0 h 2227"/>
                <a:gd name="T100" fmla="*/ 0 w 1102"/>
                <a:gd name="T101" fmla="*/ 0 h 2227"/>
                <a:gd name="T102" fmla="*/ 0 w 1102"/>
                <a:gd name="T103" fmla="*/ 0 h 2227"/>
                <a:gd name="T104" fmla="*/ 0 w 1102"/>
                <a:gd name="T105" fmla="*/ 0 h 2227"/>
                <a:gd name="T106" fmla="*/ 0 w 1102"/>
                <a:gd name="T107" fmla="*/ 0 h 2227"/>
                <a:gd name="T108" fmla="*/ 0 w 1102"/>
                <a:gd name="T109" fmla="*/ 0 h 2227"/>
                <a:gd name="T110" fmla="*/ 0 w 1102"/>
                <a:gd name="T111" fmla="*/ 0 h 2227"/>
                <a:gd name="T112" fmla="*/ 0 w 1102"/>
                <a:gd name="T113" fmla="*/ 0 h 2227"/>
                <a:gd name="T114" fmla="*/ 0 w 1102"/>
                <a:gd name="T115" fmla="*/ 0 h 2227"/>
                <a:gd name="T116" fmla="*/ 0 w 1102"/>
                <a:gd name="T117" fmla="*/ 0 h 2227"/>
                <a:gd name="T118" fmla="*/ 0 w 1102"/>
                <a:gd name="T119" fmla="*/ 0 h 2227"/>
                <a:gd name="T120" fmla="*/ 0 w 1102"/>
                <a:gd name="T121" fmla="*/ 0 h 2227"/>
                <a:gd name="T122" fmla="*/ 0 w 1102"/>
                <a:gd name="T123" fmla="*/ 0 h 2227"/>
                <a:gd name="T124" fmla="*/ 0 w 1102"/>
                <a:gd name="T125" fmla="*/ 0 h 22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02"/>
                <a:gd name="T190" fmla="*/ 0 h 2227"/>
                <a:gd name="T191" fmla="*/ 1102 w 1102"/>
                <a:gd name="T192" fmla="*/ 2227 h 22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02" h="2227">
                  <a:moveTo>
                    <a:pt x="202" y="0"/>
                  </a:moveTo>
                  <a:lnTo>
                    <a:pt x="900" y="0"/>
                  </a:lnTo>
                  <a:lnTo>
                    <a:pt x="935" y="3"/>
                  </a:lnTo>
                  <a:lnTo>
                    <a:pt x="970" y="13"/>
                  </a:lnTo>
                  <a:lnTo>
                    <a:pt x="1001" y="28"/>
                  </a:lnTo>
                  <a:lnTo>
                    <a:pt x="1030" y="48"/>
                  </a:lnTo>
                  <a:lnTo>
                    <a:pt x="1054" y="72"/>
                  </a:lnTo>
                  <a:lnTo>
                    <a:pt x="1074" y="101"/>
                  </a:lnTo>
                  <a:lnTo>
                    <a:pt x="1089" y="132"/>
                  </a:lnTo>
                  <a:lnTo>
                    <a:pt x="1099" y="167"/>
                  </a:lnTo>
                  <a:lnTo>
                    <a:pt x="1102" y="202"/>
                  </a:lnTo>
                  <a:lnTo>
                    <a:pt x="1102" y="1151"/>
                  </a:lnTo>
                  <a:lnTo>
                    <a:pt x="1099" y="1188"/>
                  </a:lnTo>
                  <a:lnTo>
                    <a:pt x="1089" y="1221"/>
                  </a:lnTo>
                  <a:lnTo>
                    <a:pt x="1074" y="1253"/>
                  </a:lnTo>
                  <a:lnTo>
                    <a:pt x="1054" y="1281"/>
                  </a:lnTo>
                  <a:lnTo>
                    <a:pt x="1030" y="1306"/>
                  </a:lnTo>
                  <a:lnTo>
                    <a:pt x="1001" y="1326"/>
                  </a:lnTo>
                  <a:lnTo>
                    <a:pt x="970" y="1341"/>
                  </a:lnTo>
                  <a:lnTo>
                    <a:pt x="935" y="1350"/>
                  </a:lnTo>
                  <a:lnTo>
                    <a:pt x="900" y="1353"/>
                  </a:lnTo>
                  <a:lnTo>
                    <a:pt x="899" y="1353"/>
                  </a:lnTo>
                  <a:lnTo>
                    <a:pt x="899" y="2025"/>
                  </a:lnTo>
                  <a:lnTo>
                    <a:pt x="896" y="2062"/>
                  </a:lnTo>
                  <a:lnTo>
                    <a:pt x="886" y="2096"/>
                  </a:lnTo>
                  <a:lnTo>
                    <a:pt x="871" y="2127"/>
                  </a:lnTo>
                  <a:lnTo>
                    <a:pt x="852" y="2156"/>
                  </a:lnTo>
                  <a:lnTo>
                    <a:pt x="829" y="2180"/>
                  </a:lnTo>
                  <a:lnTo>
                    <a:pt x="801" y="2200"/>
                  </a:lnTo>
                  <a:lnTo>
                    <a:pt x="770" y="2214"/>
                  </a:lnTo>
                  <a:lnTo>
                    <a:pt x="737" y="2224"/>
                  </a:lnTo>
                  <a:lnTo>
                    <a:pt x="702" y="2227"/>
                  </a:lnTo>
                  <a:lnTo>
                    <a:pt x="400" y="2227"/>
                  </a:lnTo>
                  <a:lnTo>
                    <a:pt x="365" y="2224"/>
                  </a:lnTo>
                  <a:lnTo>
                    <a:pt x="332" y="2214"/>
                  </a:lnTo>
                  <a:lnTo>
                    <a:pt x="301" y="2200"/>
                  </a:lnTo>
                  <a:lnTo>
                    <a:pt x="273" y="2180"/>
                  </a:lnTo>
                  <a:lnTo>
                    <a:pt x="250" y="2156"/>
                  </a:lnTo>
                  <a:lnTo>
                    <a:pt x="231" y="2127"/>
                  </a:lnTo>
                  <a:lnTo>
                    <a:pt x="216" y="2096"/>
                  </a:lnTo>
                  <a:lnTo>
                    <a:pt x="206" y="2062"/>
                  </a:lnTo>
                  <a:lnTo>
                    <a:pt x="203" y="2025"/>
                  </a:lnTo>
                  <a:lnTo>
                    <a:pt x="203" y="1353"/>
                  </a:lnTo>
                  <a:lnTo>
                    <a:pt x="202" y="1353"/>
                  </a:lnTo>
                  <a:lnTo>
                    <a:pt x="167" y="1350"/>
                  </a:lnTo>
                  <a:lnTo>
                    <a:pt x="132" y="1341"/>
                  </a:lnTo>
                  <a:lnTo>
                    <a:pt x="101" y="1326"/>
                  </a:lnTo>
                  <a:lnTo>
                    <a:pt x="72" y="1306"/>
                  </a:lnTo>
                  <a:lnTo>
                    <a:pt x="48" y="1281"/>
                  </a:lnTo>
                  <a:lnTo>
                    <a:pt x="28" y="1253"/>
                  </a:lnTo>
                  <a:lnTo>
                    <a:pt x="13" y="1221"/>
                  </a:lnTo>
                  <a:lnTo>
                    <a:pt x="3" y="1188"/>
                  </a:lnTo>
                  <a:lnTo>
                    <a:pt x="0" y="1151"/>
                  </a:lnTo>
                  <a:lnTo>
                    <a:pt x="0" y="202"/>
                  </a:lnTo>
                  <a:lnTo>
                    <a:pt x="3" y="167"/>
                  </a:lnTo>
                  <a:lnTo>
                    <a:pt x="13" y="132"/>
                  </a:lnTo>
                  <a:lnTo>
                    <a:pt x="28" y="101"/>
                  </a:lnTo>
                  <a:lnTo>
                    <a:pt x="48" y="72"/>
                  </a:lnTo>
                  <a:lnTo>
                    <a:pt x="72" y="48"/>
                  </a:lnTo>
                  <a:lnTo>
                    <a:pt x="101" y="28"/>
                  </a:lnTo>
                  <a:lnTo>
                    <a:pt x="132" y="13"/>
                  </a:lnTo>
                  <a:lnTo>
                    <a:pt x="167" y="3"/>
                  </a:lnTo>
                  <a:lnTo>
                    <a:pt x="202" y="0"/>
                  </a:lnTo>
                  <a:close/>
                </a:path>
              </a:pathLst>
            </a:custGeom>
            <a:grpFill/>
            <a:ln w="9525">
              <a:noFill/>
              <a:round/>
              <a:headEnd/>
              <a:tailEnd/>
            </a:ln>
          </p:spPr>
          <p:txBody>
            <a:bodyPr wrap="none" anchor="ctr"/>
            <a:lstStyle/>
            <a:p>
              <a:endParaRPr lang="en-GB" sz="2200">
                <a:solidFill>
                  <a:srgbClr val="000000"/>
                </a:solidFill>
              </a:endParaRPr>
            </a:p>
          </p:txBody>
        </p:sp>
        <p:sp>
          <p:nvSpPr>
            <p:cNvPr id="145" name="Freeform 120"/>
            <p:cNvSpPr>
              <a:spLocks noChangeArrowheads="1"/>
            </p:cNvSpPr>
            <p:nvPr/>
          </p:nvSpPr>
          <p:spPr bwMode="auto">
            <a:xfrm>
              <a:off x="333" y="2499"/>
              <a:ext cx="73" cy="72"/>
            </a:xfrm>
            <a:custGeom>
              <a:avLst/>
              <a:gdLst>
                <a:gd name="T0" fmla="*/ 0 w 660"/>
                <a:gd name="T1" fmla="*/ 0 h 660"/>
                <a:gd name="T2" fmla="*/ 0 w 660"/>
                <a:gd name="T3" fmla="*/ 0 h 660"/>
                <a:gd name="T4" fmla="*/ 0 w 660"/>
                <a:gd name="T5" fmla="*/ 0 h 660"/>
                <a:gd name="T6" fmla="*/ 0 w 660"/>
                <a:gd name="T7" fmla="*/ 0 h 660"/>
                <a:gd name="T8" fmla="*/ 0 w 660"/>
                <a:gd name="T9" fmla="*/ 0 h 660"/>
                <a:gd name="T10" fmla="*/ 0 w 660"/>
                <a:gd name="T11" fmla="*/ 0 h 660"/>
                <a:gd name="T12" fmla="*/ 0 w 660"/>
                <a:gd name="T13" fmla="*/ 0 h 660"/>
                <a:gd name="T14" fmla="*/ 0 w 660"/>
                <a:gd name="T15" fmla="*/ 0 h 660"/>
                <a:gd name="T16" fmla="*/ 0 w 660"/>
                <a:gd name="T17" fmla="*/ 0 h 660"/>
                <a:gd name="T18" fmla="*/ 0 w 660"/>
                <a:gd name="T19" fmla="*/ 0 h 660"/>
                <a:gd name="T20" fmla="*/ 0 w 660"/>
                <a:gd name="T21" fmla="*/ 0 h 660"/>
                <a:gd name="T22" fmla="*/ 0 w 660"/>
                <a:gd name="T23" fmla="*/ 0 h 660"/>
                <a:gd name="T24" fmla="*/ 0 w 660"/>
                <a:gd name="T25" fmla="*/ 0 h 660"/>
                <a:gd name="T26" fmla="*/ 0 w 660"/>
                <a:gd name="T27" fmla="*/ 0 h 660"/>
                <a:gd name="T28" fmla="*/ 0 w 660"/>
                <a:gd name="T29" fmla="*/ 0 h 660"/>
                <a:gd name="T30" fmla="*/ 0 w 660"/>
                <a:gd name="T31" fmla="*/ 0 h 660"/>
                <a:gd name="T32" fmla="*/ 0 w 660"/>
                <a:gd name="T33" fmla="*/ 0 h 660"/>
                <a:gd name="T34" fmla="*/ 0 w 660"/>
                <a:gd name="T35" fmla="*/ 0 h 660"/>
                <a:gd name="T36" fmla="*/ 0 w 660"/>
                <a:gd name="T37" fmla="*/ 0 h 660"/>
                <a:gd name="T38" fmla="*/ 0 w 660"/>
                <a:gd name="T39" fmla="*/ 0 h 660"/>
                <a:gd name="T40" fmla="*/ 0 w 660"/>
                <a:gd name="T41" fmla="*/ 0 h 660"/>
                <a:gd name="T42" fmla="*/ 0 w 660"/>
                <a:gd name="T43" fmla="*/ 0 h 660"/>
                <a:gd name="T44" fmla="*/ 0 w 660"/>
                <a:gd name="T45" fmla="*/ 0 h 660"/>
                <a:gd name="T46" fmla="*/ 0 w 660"/>
                <a:gd name="T47" fmla="*/ 0 h 660"/>
                <a:gd name="T48" fmla="*/ 0 w 660"/>
                <a:gd name="T49" fmla="*/ 0 h 660"/>
                <a:gd name="T50" fmla="*/ 0 w 660"/>
                <a:gd name="T51" fmla="*/ 0 h 660"/>
                <a:gd name="T52" fmla="*/ 0 w 660"/>
                <a:gd name="T53" fmla="*/ 0 h 660"/>
                <a:gd name="T54" fmla="*/ 0 w 660"/>
                <a:gd name="T55" fmla="*/ 0 h 660"/>
                <a:gd name="T56" fmla="*/ 0 w 660"/>
                <a:gd name="T57" fmla="*/ 0 h 660"/>
                <a:gd name="T58" fmla="*/ 0 w 660"/>
                <a:gd name="T59" fmla="*/ 0 h 660"/>
                <a:gd name="T60" fmla="*/ 0 w 660"/>
                <a:gd name="T61" fmla="*/ 0 h 660"/>
                <a:gd name="T62" fmla="*/ 0 w 660"/>
                <a:gd name="T63" fmla="*/ 0 h 660"/>
                <a:gd name="T64" fmla="*/ 0 w 660"/>
                <a:gd name="T65" fmla="*/ 0 h 660"/>
                <a:gd name="T66" fmla="*/ 0 w 660"/>
                <a:gd name="T67" fmla="*/ 0 h 660"/>
                <a:gd name="T68" fmla="*/ 0 w 660"/>
                <a:gd name="T69" fmla="*/ 0 h 660"/>
                <a:gd name="T70" fmla="*/ 0 w 660"/>
                <a:gd name="T71" fmla="*/ 0 h 660"/>
                <a:gd name="T72" fmla="*/ 0 w 660"/>
                <a:gd name="T73" fmla="*/ 0 h 660"/>
                <a:gd name="T74" fmla="*/ 0 w 660"/>
                <a:gd name="T75" fmla="*/ 0 h 660"/>
                <a:gd name="T76" fmla="*/ 0 w 660"/>
                <a:gd name="T77" fmla="*/ 0 h 660"/>
                <a:gd name="T78" fmla="*/ 0 w 660"/>
                <a:gd name="T79" fmla="*/ 0 h 660"/>
                <a:gd name="T80" fmla="*/ 0 w 660"/>
                <a:gd name="T81" fmla="*/ 0 h 660"/>
                <a:gd name="T82" fmla="*/ 0 w 660"/>
                <a:gd name="T83" fmla="*/ 0 h 660"/>
                <a:gd name="T84" fmla="*/ 0 w 660"/>
                <a:gd name="T85" fmla="*/ 0 h 660"/>
                <a:gd name="T86" fmla="*/ 0 w 660"/>
                <a:gd name="T87" fmla="*/ 0 h 660"/>
                <a:gd name="T88" fmla="*/ 0 w 660"/>
                <a:gd name="T89" fmla="*/ 0 h 660"/>
                <a:gd name="T90" fmla="*/ 0 w 660"/>
                <a:gd name="T91" fmla="*/ 0 h 660"/>
                <a:gd name="T92" fmla="*/ 0 w 660"/>
                <a:gd name="T93" fmla="*/ 0 h 660"/>
                <a:gd name="T94" fmla="*/ 0 w 660"/>
                <a:gd name="T95" fmla="*/ 0 h 660"/>
                <a:gd name="T96" fmla="*/ 0 w 660"/>
                <a:gd name="T97" fmla="*/ 0 h 6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0"/>
                <a:gd name="T148" fmla="*/ 0 h 660"/>
                <a:gd name="T149" fmla="*/ 660 w 660"/>
                <a:gd name="T150" fmla="*/ 660 h 6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0" h="660">
                  <a:moveTo>
                    <a:pt x="330" y="0"/>
                  </a:moveTo>
                  <a:lnTo>
                    <a:pt x="375" y="3"/>
                  </a:lnTo>
                  <a:lnTo>
                    <a:pt x="418" y="12"/>
                  </a:lnTo>
                  <a:lnTo>
                    <a:pt x="459" y="25"/>
                  </a:lnTo>
                  <a:lnTo>
                    <a:pt x="497" y="45"/>
                  </a:lnTo>
                  <a:lnTo>
                    <a:pt x="532" y="68"/>
                  </a:lnTo>
                  <a:lnTo>
                    <a:pt x="564" y="97"/>
                  </a:lnTo>
                  <a:lnTo>
                    <a:pt x="592" y="128"/>
                  </a:lnTo>
                  <a:lnTo>
                    <a:pt x="615" y="164"/>
                  </a:lnTo>
                  <a:lnTo>
                    <a:pt x="634" y="201"/>
                  </a:lnTo>
                  <a:lnTo>
                    <a:pt x="648" y="242"/>
                  </a:lnTo>
                  <a:lnTo>
                    <a:pt x="657" y="285"/>
                  </a:lnTo>
                  <a:lnTo>
                    <a:pt x="660" y="330"/>
                  </a:lnTo>
                  <a:lnTo>
                    <a:pt x="657" y="375"/>
                  </a:lnTo>
                  <a:lnTo>
                    <a:pt x="648" y="418"/>
                  </a:lnTo>
                  <a:lnTo>
                    <a:pt x="634" y="459"/>
                  </a:lnTo>
                  <a:lnTo>
                    <a:pt x="615" y="497"/>
                  </a:lnTo>
                  <a:lnTo>
                    <a:pt x="592" y="532"/>
                  </a:lnTo>
                  <a:lnTo>
                    <a:pt x="564" y="564"/>
                  </a:lnTo>
                  <a:lnTo>
                    <a:pt x="532" y="591"/>
                  </a:lnTo>
                  <a:lnTo>
                    <a:pt x="497" y="615"/>
                  </a:lnTo>
                  <a:lnTo>
                    <a:pt x="459" y="634"/>
                  </a:lnTo>
                  <a:lnTo>
                    <a:pt x="418" y="649"/>
                  </a:lnTo>
                  <a:lnTo>
                    <a:pt x="375" y="657"/>
                  </a:lnTo>
                  <a:lnTo>
                    <a:pt x="330" y="660"/>
                  </a:lnTo>
                  <a:lnTo>
                    <a:pt x="285" y="657"/>
                  </a:lnTo>
                  <a:lnTo>
                    <a:pt x="242" y="649"/>
                  </a:lnTo>
                  <a:lnTo>
                    <a:pt x="201" y="634"/>
                  </a:lnTo>
                  <a:lnTo>
                    <a:pt x="163" y="615"/>
                  </a:lnTo>
                  <a:lnTo>
                    <a:pt x="128" y="591"/>
                  </a:lnTo>
                  <a:lnTo>
                    <a:pt x="96" y="564"/>
                  </a:lnTo>
                  <a:lnTo>
                    <a:pt x="68" y="532"/>
                  </a:lnTo>
                  <a:lnTo>
                    <a:pt x="45" y="497"/>
                  </a:lnTo>
                  <a:lnTo>
                    <a:pt x="26" y="459"/>
                  </a:lnTo>
                  <a:lnTo>
                    <a:pt x="12" y="418"/>
                  </a:lnTo>
                  <a:lnTo>
                    <a:pt x="3" y="375"/>
                  </a:lnTo>
                  <a:lnTo>
                    <a:pt x="0" y="330"/>
                  </a:lnTo>
                  <a:lnTo>
                    <a:pt x="3" y="285"/>
                  </a:lnTo>
                  <a:lnTo>
                    <a:pt x="12" y="242"/>
                  </a:lnTo>
                  <a:lnTo>
                    <a:pt x="26" y="201"/>
                  </a:lnTo>
                  <a:lnTo>
                    <a:pt x="45" y="164"/>
                  </a:lnTo>
                  <a:lnTo>
                    <a:pt x="68" y="128"/>
                  </a:lnTo>
                  <a:lnTo>
                    <a:pt x="96" y="97"/>
                  </a:lnTo>
                  <a:lnTo>
                    <a:pt x="128" y="68"/>
                  </a:lnTo>
                  <a:lnTo>
                    <a:pt x="163" y="45"/>
                  </a:lnTo>
                  <a:lnTo>
                    <a:pt x="201" y="25"/>
                  </a:lnTo>
                  <a:lnTo>
                    <a:pt x="242" y="12"/>
                  </a:lnTo>
                  <a:lnTo>
                    <a:pt x="285" y="3"/>
                  </a:lnTo>
                  <a:lnTo>
                    <a:pt x="330" y="0"/>
                  </a:lnTo>
                  <a:close/>
                </a:path>
              </a:pathLst>
            </a:custGeom>
            <a:grpFill/>
            <a:ln w="9525">
              <a:noFill/>
              <a:round/>
              <a:headEnd/>
              <a:tailEnd/>
            </a:ln>
          </p:spPr>
          <p:txBody>
            <a:bodyPr wrap="none" anchor="ctr"/>
            <a:lstStyle/>
            <a:p>
              <a:endParaRPr lang="en-GB" sz="2200">
                <a:solidFill>
                  <a:srgbClr val="000000"/>
                </a:solidFill>
              </a:endParaRPr>
            </a:p>
          </p:txBody>
        </p:sp>
        <p:sp>
          <p:nvSpPr>
            <p:cNvPr id="146" name="Freeform 121"/>
            <p:cNvSpPr>
              <a:spLocks noChangeArrowheads="1"/>
            </p:cNvSpPr>
            <p:nvPr/>
          </p:nvSpPr>
          <p:spPr bwMode="auto">
            <a:xfrm>
              <a:off x="457" y="2589"/>
              <a:ext cx="104" cy="211"/>
            </a:xfrm>
            <a:custGeom>
              <a:avLst/>
              <a:gdLst>
                <a:gd name="T0" fmla="*/ 0 w 944"/>
                <a:gd name="T1" fmla="*/ 0 h 1908"/>
                <a:gd name="T2" fmla="*/ 0 w 944"/>
                <a:gd name="T3" fmla="*/ 0 h 1908"/>
                <a:gd name="T4" fmla="*/ 0 w 944"/>
                <a:gd name="T5" fmla="*/ 0 h 1908"/>
                <a:gd name="T6" fmla="*/ 0 w 944"/>
                <a:gd name="T7" fmla="*/ 0 h 1908"/>
                <a:gd name="T8" fmla="*/ 0 w 944"/>
                <a:gd name="T9" fmla="*/ 0 h 1908"/>
                <a:gd name="T10" fmla="*/ 0 w 944"/>
                <a:gd name="T11" fmla="*/ 0 h 1908"/>
                <a:gd name="T12" fmla="*/ 0 w 944"/>
                <a:gd name="T13" fmla="*/ 0 h 1908"/>
                <a:gd name="T14" fmla="*/ 0 w 944"/>
                <a:gd name="T15" fmla="*/ 0 h 1908"/>
                <a:gd name="T16" fmla="*/ 0 w 944"/>
                <a:gd name="T17" fmla="*/ 0 h 1908"/>
                <a:gd name="T18" fmla="*/ 0 w 944"/>
                <a:gd name="T19" fmla="*/ 0 h 1908"/>
                <a:gd name="T20" fmla="*/ 0 w 944"/>
                <a:gd name="T21" fmla="*/ 0 h 1908"/>
                <a:gd name="T22" fmla="*/ 0 w 944"/>
                <a:gd name="T23" fmla="*/ 0 h 1908"/>
                <a:gd name="T24" fmla="*/ 0 w 944"/>
                <a:gd name="T25" fmla="*/ 0 h 1908"/>
                <a:gd name="T26" fmla="*/ 0 w 944"/>
                <a:gd name="T27" fmla="*/ 0 h 1908"/>
                <a:gd name="T28" fmla="*/ 0 w 944"/>
                <a:gd name="T29" fmla="*/ 0 h 1908"/>
                <a:gd name="T30" fmla="*/ 0 w 944"/>
                <a:gd name="T31" fmla="*/ 0 h 1908"/>
                <a:gd name="T32" fmla="*/ 0 w 944"/>
                <a:gd name="T33" fmla="*/ 0 h 1908"/>
                <a:gd name="T34" fmla="*/ 0 w 944"/>
                <a:gd name="T35" fmla="*/ 0 h 1908"/>
                <a:gd name="T36" fmla="*/ 0 w 944"/>
                <a:gd name="T37" fmla="*/ 0 h 1908"/>
                <a:gd name="T38" fmla="*/ 0 w 944"/>
                <a:gd name="T39" fmla="*/ 0 h 1908"/>
                <a:gd name="T40" fmla="*/ 0 w 944"/>
                <a:gd name="T41" fmla="*/ 0 h 1908"/>
                <a:gd name="T42" fmla="*/ 0 w 944"/>
                <a:gd name="T43" fmla="*/ 0 h 1908"/>
                <a:gd name="T44" fmla="*/ 0 w 944"/>
                <a:gd name="T45" fmla="*/ 0 h 1908"/>
                <a:gd name="T46" fmla="*/ 0 w 944"/>
                <a:gd name="T47" fmla="*/ 0 h 1908"/>
                <a:gd name="T48" fmla="*/ 0 w 944"/>
                <a:gd name="T49" fmla="*/ 0 h 1908"/>
                <a:gd name="T50" fmla="*/ 0 w 944"/>
                <a:gd name="T51" fmla="*/ 0 h 1908"/>
                <a:gd name="T52" fmla="*/ 0 w 944"/>
                <a:gd name="T53" fmla="*/ 0 h 1908"/>
                <a:gd name="T54" fmla="*/ 0 w 944"/>
                <a:gd name="T55" fmla="*/ 0 h 1908"/>
                <a:gd name="T56" fmla="*/ 0 w 944"/>
                <a:gd name="T57" fmla="*/ 0 h 1908"/>
                <a:gd name="T58" fmla="*/ 0 w 944"/>
                <a:gd name="T59" fmla="*/ 0 h 1908"/>
                <a:gd name="T60" fmla="*/ 0 w 944"/>
                <a:gd name="T61" fmla="*/ 0 h 1908"/>
                <a:gd name="T62" fmla="*/ 0 w 944"/>
                <a:gd name="T63" fmla="*/ 0 h 1908"/>
                <a:gd name="T64" fmla="*/ 0 w 944"/>
                <a:gd name="T65" fmla="*/ 0 h 1908"/>
                <a:gd name="T66" fmla="*/ 0 w 944"/>
                <a:gd name="T67" fmla="*/ 0 h 1908"/>
                <a:gd name="T68" fmla="*/ 0 w 944"/>
                <a:gd name="T69" fmla="*/ 0 h 1908"/>
                <a:gd name="T70" fmla="*/ 0 w 944"/>
                <a:gd name="T71" fmla="*/ 0 h 1908"/>
                <a:gd name="T72" fmla="*/ 0 w 944"/>
                <a:gd name="T73" fmla="*/ 0 h 1908"/>
                <a:gd name="T74" fmla="*/ 0 w 944"/>
                <a:gd name="T75" fmla="*/ 0 h 1908"/>
                <a:gd name="T76" fmla="*/ 0 w 944"/>
                <a:gd name="T77" fmla="*/ 0 h 1908"/>
                <a:gd name="T78" fmla="*/ 0 w 944"/>
                <a:gd name="T79" fmla="*/ 0 h 1908"/>
                <a:gd name="T80" fmla="*/ 0 w 944"/>
                <a:gd name="T81" fmla="*/ 0 h 1908"/>
                <a:gd name="T82" fmla="*/ 0 w 944"/>
                <a:gd name="T83" fmla="*/ 0 h 1908"/>
                <a:gd name="T84" fmla="*/ 0 w 944"/>
                <a:gd name="T85" fmla="*/ 0 h 1908"/>
                <a:gd name="T86" fmla="*/ 0 w 944"/>
                <a:gd name="T87" fmla="*/ 0 h 1908"/>
                <a:gd name="T88" fmla="*/ 0 w 944"/>
                <a:gd name="T89" fmla="*/ 0 h 1908"/>
                <a:gd name="T90" fmla="*/ 0 w 944"/>
                <a:gd name="T91" fmla="*/ 0 h 1908"/>
                <a:gd name="T92" fmla="*/ 0 w 944"/>
                <a:gd name="T93" fmla="*/ 0 h 1908"/>
                <a:gd name="T94" fmla="*/ 0 w 944"/>
                <a:gd name="T95" fmla="*/ 0 h 1908"/>
                <a:gd name="T96" fmla="*/ 0 w 944"/>
                <a:gd name="T97" fmla="*/ 0 h 1908"/>
                <a:gd name="T98" fmla="*/ 0 w 944"/>
                <a:gd name="T99" fmla="*/ 0 h 1908"/>
                <a:gd name="T100" fmla="*/ 0 w 944"/>
                <a:gd name="T101" fmla="*/ 0 h 1908"/>
                <a:gd name="T102" fmla="*/ 0 w 944"/>
                <a:gd name="T103" fmla="*/ 0 h 1908"/>
                <a:gd name="T104" fmla="*/ 0 w 944"/>
                <a:gd name="T105" fmla="*/ 0 h 1908"/>
                <a:gd name="T106" fmla="*/ 0 w 944"/>
                <a:gd name="T107" fmla="*/ 0 h 1908"/>
                <a:gd name="T108" fmla="*/ 0 w 944"/>
                <a:gd name="T109" fmla="*/ 0 h 1908"/>
                <a:gd name="T110" fmla="*/ 0 w 944"/>
                <a:gd name="T111" fmla="*/ 0 h 1908"/>
                <a:gd name="T112" fmla="*/ 0 w 944"/>
                <a:gd name="T113" fmla="*/ 0 h 1908"/>
                <a:gd name="T114" fmla="*/ 0 w 944"/>
                <a:gd name="T115" fmla="*/ 0 h 1908"/>
                <a:gd name="T116" fmla="*/ 0 w 944"/>
                <a:gd name="T117" fmla="*/ 0 h 1908"/>
                <a:gd name="T118" fmla="*/ 0 w 944"/>
                <a:gd name="T119" fmla="*/ 0 h 1908"/>
                <a:gd name="T120" fmla="*/ 0 w 944"/>
                <a:gd name="T121" fmla="*/ 0 h 1908"/>
                <a:gd name="T122" fmla="*/ 0 w 944"/>
                <a:gd name="T123" fmla="*/ 0 h 1908"/>
                <a:gd name="T124" fmla="*/ 0 w 944"/>
                <a:gd name="T125" fmla="*/ 0 h 19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4"/>
                <a:gd name="T190" fmla="*/ 0 h 1908"/>
                <a:gd name="T191" fmla="*/ 944 w 944"/>
                <a:gd name="T192" fmla="*/ 1908 h 190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4" h="1908">
                  <a:moveTo>
                    <a:pt x="173" y="0"/>
                  </a:moveTo>
                  <a:lnTo>
                    <a:pt x="771" y="0"/>
                  </a:lnTo>
                  <a:lnTo>
                    <a:pt x="802" y="2"/>
                  </a:lnTo>
                  <a:lnTo>
                    <a:pt x="831" y="10"/>
                  </a:lnTo>
                  <a:lnTo>
                    <a:pt x="858" y="23"/>
                  </a:lnTo>
                  <a:lnTo>
                    <a:pt x="882" y="40"/>
                  </a:lnTo>
                  <a:lnTo>
                    <a:pt x="903" y="60"/>
                  </a:lnTo>
                  <a:lnTo>
                    <a:pt x="920" y="86"/>
                  </a:lnTo>
                  <a:lnTo>
                    <a:pt x="934" y="112"/>
                  </a:lnTo>
                  <a:lnTo>
                    <a:pt x="941" y="141"/>
                  </a:lnTo>
                  <a:lnTo>
                    <a:pt x="944" y="173"/>
                  </a:lnTo>
                  <a:lnTo>
                    <a:pt x="944" y="985"/>
                  </a:lnTo>
                  <a:lnTo>
                    <a:pt x="941" y="1017"/>
                  </a:lnTo>
                  <a:lnTo>
                    <a:pt x="934" y="1046"/>
                  </a:lnTo>
                  <a:lnTo>
                    <a:pt x="920" y="1073"/>
                  </a:lnTo>
                  <a:lnTo>
                    <a:pt x="903" y="1097"/>
                  </a:lnTo>
                  <a:lnTo>
                    <a:pt x="882" y="1118"/>
                  </a:lnTo>
                  <a:lnTo>
                    <a:pt x="858" y="1135"/>
                  </a:lnTo>
                  <a:lnTo>
                    <a:pt x="831" y="1148"/>
                  </a:lnTo>
                  <a:lnTo>
                    <a:pt x="802" y="1156"/>
                  </a:lnTo>
                  <a:lnTo>
                    <a:pt x="771" y="1159"/>
                  </a:lnTo>
                  <a:lnTo>
                    <a:pt x="770" y="1159"/>
                  </a:lnTo>
                  <a:lnTo>
                    <a:pt x="770" y="1734"/>
                  </a:lnTo>
                  <a:lnTo>
                    <a:pt x="767" y="1766"/>
                  </a:lnTo>
                  <a:lnTo>
                    <a:pt x="759" y="1795"/>
                  </a:lnTo>
                  <a:lnTo>
                    <a:pt x="747" y="1822"/>
                  </a:lnTo>
                  <a:lnTo>
                    <a:pt x="730" y="1846"/>
                  </a:lnTo>
                  <a:lnTo>
                    <a:pt x="709" y="1867"/>
                  </a:lnTo>
                  <a:lnTo>
                    <a:pt x="686" y="1884"/>
                  </a:lnTo>
                  <a:lnTo>
                    <a:pt x="660" y="1897"/>
                  </a:lnTo>
                  <a:lnTo>
                    <a:pt x="632" y="1905"/>
                  </a:lnTo>
                  <a:lnTo>
                    <a:pt x="602" y="1908"/>
                  </a:lnTo>
                  <a:lnTo>
                    <a:pt x="343" y="1908"/>
                  </a:lnTo>
                  <a:lnTo>
                    <a:pt x="312" y="1905"/>
                  </a:lnTo>
                  <a:lnTo>
                    <a:pt x="284" y="1897"/>
                  </a:lnTo>
                  <a:lnTo>
                    <a:pt x="258" y="1884"/>
                  </a:lnTo>
                  <a:lnTo>
                    <a:pt x="234" y="1867"/>
                  </a:lnTo>
                  <a:lnTo>
                    <a:pt x="214" y="1846"/>
                  </a:lnTo>
                  <a:lnTo>
                    <a:pt x="197" y="1822"/>
                  </a:lnTo>
                  <a:lnTo>
                    <a:pt x="185" y="1795"/>
                  </a:lnTo>
                  <a:lnTo>
                    <a:pt x="177" y="1766"/>
                  </a:lnTo>
                  <a:lnTo>
                    <a:pt x="174" y="1734"/>
                  </a:lnTo>
                  <a:lnTo>
                    <a:pt x="174" y="1159"/>
                  </a:lnTo>
                  <a:lnTo>
                    <a:pt x="173" y="1159"/>
                  </a:lnTo>
                  <a:lnTo>
                    <a:pt x="143" y="1156"/>
                  </a:lnTo>
                  <a:lnTo>
                    <a:pt x="114" y="1148"/>
                  </a:lnTo>
                  <a:lnTo>
                    <a:pt x="86" y="1135"/>
                  </a:lnTo>
                  <a:lnTo>
                    <a:pt x="62" y="1118"/>
                  </a:lnTo>
                  <a:lnTo>
                    <a:pt x="41" y="1097"/>
                  </a:lnTo>
                  <a:lnTo>
                    <a:pt x="24" y="1073"/>
                  </a:lnTo>
                  <a:lnTo>
                    <a:pt x="11" y="1046"/>
                  </a:lnTo>
                  <a:lnTo>
                    <a:pt x="4" y="1017"/>
                  </a:lnTo>
                  <a:lnTo>
                    <a:pt x="0" y="985"/>
                  </a:lnTo>
                  <a:lnTo>
                    <a:pt x="0" y="173"/>
                  </a:lnTo>
                  <a:lnTo>
                    <a:pt x="4" y="141"/>
                  </a:lnTo>
                  <a:lnTo>
                    <a:pt x="11" y="112"/>
                  </a:lnTo>
                  <a:lnTo>
                    <a:pt x="24" y="86"/>
                  </a:lnTo>
                  <a:lnTo>
                    <a:pt x="41" y="60"/>
                  </a:lnTo>
                  <a:lnTo>
                    <a:pt x="62" y="40"/>
                  </a:lnTo>
                  <a:lnTo>
                    <a:pt x="86" y="23"/>
                  </a:lnTo>
                  <a:lnTo>
                    <a:pt x="114" y="10"/>
                  </a:lnTo>
                  <a:lnTo>
                    <a:pt x="143" y="2"/>
                  </a:lnTo>
                  <a:lnTo>
                    <a:pt x="173" y="0"/>
                  </a:lnTo>
                  <a:close/>
                </a:path>
              </a:pathLst>
            </a:custGeom>
            <a:grpFill/>
            <a:ln w="9525">
              <a:noFill/>
              <a:round/>
              <a:headEnd/>
              <a:tailEnd/>
            </a:ln>
          </p:spPr>
          <p:txBody>
            <a:bodyPr wrap="none" anchor="ctr"/>
            <a:lstStyle/>
            <a:p>
              <a:endParaRPr lang="en-GB" sz="2200">
                <a:solidFill>
                  <a:srgbClr val="000000"/>
                </a:solidFill>
              </a:endParaRPr>
            </a:p>
          </p:txBody>
        </p:sp>
        <p:sp>
          <p:nvSpPr>
            <p:cNvPr id="147" name="Freeform 122"/>
            <p:cNvSpPr>
              <a:spLocks noChangeArrowheads="1"/>
            </p:cNvSpPr>
            <p:nvPr/>
          </p:nvSpPr>
          <p:spPr bwMode="auto">
            <a:xfrm>
              <a:off x="478" y="2519"/>
              <a:ext cx="62" cy="62"/>
            </a:xfrm>
            <a:custGeom>
              <a:avLst/>
              <a:gdLst>
                <a:gd name="T0" fmla="*/ 0 w 566"/>
                <a:gd name="T1" fmla="*/ 0 h 565"/>
                <a:gd name="T2" fmla="*/ 0 w 566"/>
                <a:gd name="T3" fmla="*/ 0 h 565"/>
                <a:gd name="T4" fmla="*/ 0 w 566"/>
                <a:gd name="T5" fmla="*/ 0 h 565"/>
                <a:gd name="T6" fmla="*/ 0 w 566"/>
                <a:gd name="T7" fmla="*/ 0 h 565"/>
                <a:gd name="T8" fmla="*/ 0 w 566"/>
                <a:gd name="T9" fmla="*/ 0 h 565"/>
                <a:gd name="T10" fmla="*/ 0 w 566"/>
                <a:gd name="T11" fmla="*/ 0 h 565"/>
                <a:gd name="T12" fmla="*/ 0 w 566"/>
                <a:gd name="T13" fmla="*/ 0 h 565"/>
                <a:gd name="T14" fmla="*/ 0 w 566"/>
                <a:gd name="T15" fmla="*/ 0 h 565"/>
                <a:gd name="T16" fmla="*/ 0 w 566"/>
                <a:gd name="T17" fmla="*/ 0 h 565"/>
                <a:gd name="T18" fmla="*/ 0 w 566"/>
                <a:gd name="T19" fmla="*/ 0 h 565"/>
                <a:gd name="T20" fmla="*/ 0 w 566"/>
                <a:gd name="T21" fmla="*/ 0 h 565"/>
                <a:gd name="T22" fmla="*/ 0 w 566"/>
                <a:gd name="T23" fmla="*/ 0 h 565"/>
                <a:gd name="T24" fmla="*/ 0 w 566"/>
                <a:gd name="T25" fmla="*/ 0 h 565"/>
                <a:gd name="T26" fmla="*/ 0 w 566"/>
                <a:gd name="T27" fmla="*/ 0 h 565"/>
                <a:gd name="T28" fmla="*/ 0 w 566"/>
                <a:gd name="T29" fmla="*/ 0 h 565"/>
                <a:gd name="T30" fmla="*/ 0 w 566"/>
                <a:gd name="T31" fmla="*/ 0 h 565"/>
                <a:gd name="T32" fmla="*/ 0 w 566"/>
                <a:gd name="T33" fmla="*/ 0 h 565"/>
                <a:gd name="T34" fmla="*/ 0 w 566"/>
                <a:gd name="T35" fmla="*/ 0 h 565"/>
                <a:gd name="T36" fmla="*/ 0 w 566"/>
                <a:gd name="T37" fmla="*/ 0 h 565"/>
                <a:gd name="T38" fmla="*/ 0 w 566"/>
                <a:gd name="T39" fmla="*/ 0 h 565"/>
                <a:gd name="T40" fmla="*/ 0 w 566"/>
                <a:gd name="T41" fmla="*/ 0 h 565"/>
                <a:gd name="T42" fmla="*/ 0 w 566"/>
                <a:gd name="T43" fmla="*/ 0 h 565"/>
                <a:gd name="T44" fmla="*/ 0 w 566"/>
                <a:gd name="T45" fmla="*/ 0 h 565"/>
                <a:gd name="T46" fmla="*/ 0 w 566"/>
                <a:gd name="T47" fmla="*/ 0 h 565"/>
                <a:gd name="T48" fmla="*/ 0 w 566"/>
                <a:gd name="T49" fmla="*/ 0 h 565"/>
                <a:gd name="T50" fmla="*/ 0 w 566"/>
                <a:gd name="T51" fmla="*/ 0 h 565"/>
                <a:gd name="T52" fmla="*/ 0 w 566"/>
                <a:gd name="T53" fmla="*/ 0 h 565"/>
                <a:gd name="T54" fmla="*/ 0 w 566"/>
                <a:gd name="T55" fmla="*/ 0 h 565"/>
                <a:gd name="T56" fmla="*/ 0 w 566"/>
                <a:gd name="T57" fmla="*/ 0 h 565"/>
                <a:gd name="T58" fmla="*/ 0 w 566"/>
                <a:gd name="T59" fmla="*/ 0 h 565"/>
                <a:gd name="T60" fmla="*/ 0 w 566"/>
                <a:gd name="T61" fmla="*/ 0 h 565"/>
                <a:gd name="T62" fmla="*/ 0 w 566"/>
                <a:gd name="T63" fmla="*/ 0 h 565"/>
                <a:gd name="T64" fmla="*/ 0 w 566"/>
                <a:gd name="T65" fmla="*/ 0 h 565"/>
                <a:gd name="T66" fmla="*/ 0 w 566"/>
                <a:gd name="T67" fmla="*/ 0 h 565"/>
                <a:gd name="T68" fmla="*/ 0 w 566"/>
                <a:gd name="T69" fmla="*/ 0 h 565"/>
                <a:gd name="T70" fmla="*/ 0 w 566"/>
                <a:gd name="T71" fmla="*/ 0 h 565"/>
                <a:gd name="T72" fmla="*/ 0 w 566"/>
                <a:gd name="T73" fmla="*/ 0 h 565"/>
                <a:gd name="T74" fmla="*/ 0 w 566"/>
                <a:gd name="T75" fmla="*/ 0 h 565"/>
                <a:gd name="T76" fmla="*/ 0 w 566"/>
                <a:gd name="T77" fmla="*/ 0 h 565"/>
                <a:gd name="T78" fmla="*/ 0 w 566"/>
                <a:gd name="T79" fmla="*/ 0 h 565"/>
                <a:gd name="T80" fmla="*/ 0 w 566"/>
                <a:gd name="T81" fmla="*/ 0 h 565"/>
                <a:gd name="T82" fmla="*/ 0 w 566"/>
                <a:gd name="T83" fmla="*/ 0 h 565"/>
                <a:gd name="T84" fmla="*/ 0 w 566"/>
                <a:gd name="T85" fmla="*/ 0 h 565"/>
                <a:gd name="T86" fmla="*/ 0 w 566"/>
                <a:gd name="T87" fmla="*/ 0 h 565"/>
                <a:gd name="T88" fmla="*/ 0 w 566"/>
                <a:gd name="T89" fmla="*/ 0 h 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6"/>
                <a:gd name="T136" fmla="*/ 0 h 565"/>
                <a:gd name="T137" fmla="*/ 566 w 566"/>
                <a:gd name="T138" fmla="*/ 565 h 5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6" h="565">
                  <a:moveTo>
                    <a:pt x="283" y="0"/>
                  </a:moveTo>
                  <a:lnTo>
                    <a:pt x="325" y="3"/>
                  </a:lnTo>
                  <a:lnTo>
                    <a:pt x="364" y="12"/>
                  </a:lnTo>
                  <a:lnTo>
                    <a:pt x="402" y="26"/>
                  </a:lnTo>
                  <a:lnTo>
                    <a:pt x="438" y="46"/>
                  </a:lnTo>
                  <a:lnTo>
                    <a:pt x="469" y="69"/>
                  </a:lnTo>
                  <a:lnTo>
                    <a:pt x="496" y="97"/>
                  </a:lnTo>
                  <a:lnTo>
                    <a:pt x="520" y="128"/>
                  </a:lnTo>
                  <a:lnTo>
                    <a:pt x="539" y="163"/>
                  </a:lnTo>
                  <a:lnTo>
                    <a:pt x="554" y="201"/>
                  </a:lnTo>
                  <a:lnTo>
                    <a:pt x="563" y="240"/>
                  </a:lnTo>
                  <a:lnTo>
                    <a:pt x="566" y="282"/>
                  </a:lnTo>
                  <a:lnTo>
                    <a:pt x="563" y="324"/>
                  </a:lnTo>
                  <a:lnTo>
                    <a:pt x="554" y="364"/>
                  </a:lnTo>
                  <a:lnTo>
                    <a:pt x="539" y="402"/>
                  </a:lnTo>
                  <a:lnTo>
                    <a:pt x="520" y="436"/>
                  </a:lnTo>
                  <a:lnTo>
                    <a:pt x="496" y="468"/>
                  </a:lnTo>
                  <a:lnTo>
                    <a:pt x="469" y="496"/>
                  </a:lnTo>
                  <a:lnTo>
                    <a:pt x="438" y="520"/>
                  </a:lnTo>
                  <a:lnTo>
                    <a:pt x="402" y="539"/>
                  </a:lnTo>
                  <a:lnTo>
                    <a:pt x="364" y="554"/>
                  </a:lnTo>
                  <a:lnTo>
                    <a:pt x="325" y="562"/>
                  </a:lnTo>
                  <a:lnTo>
                    <a:pt x="283" y="565"/>
                  </a:lnTo>
                  <a:lnTo>
                    <a:pt x="242" y="562"/>
                  </a:lnTo>
                  <a:lnTo>
                    <a:pt x="201" y="554"/>
                  </a:lnTo>
                  <a:lnTo>
                    <a:pt x="164" y="539"/>
                  </a:lnTo>
                  <a:lnTo>
                    <a:pt x="129" y="520"/>
                  </a:lnTo>
                  <a:lnTo>
                    <a:pt x="97" y="496"/>
                  </a:lnTo>
                  <a:lnTo>
                    <a:pt x="70" y="468"/>
                  </a:lnTo>
                  <a:lnTo>
                    <a:pt x="46" y="436"/>
                  </a:lnTo>
                  <a:lnTo>
                    <a:pt x="26" y="402"/>
                  </a:lnTo>
                  <a:lnTo>
                    <a:pt x="12" y="364"/>
                  </a:lnTo>
                  <a:lnTo>
                    <a:pt x="3" y="324"/>
                  </a:lnTo>
                  <a:lnTo>
                    <a:pt x="0" y="282"/>
                  </a:lnTo>
                  <a:lnTo>
                    <a:pt x="3" y="240"/>
                  </a:lnTo>
                  <a:lnTo>
                    <a:pt x="12" y="201"/>
                  </a:lnTo>
                  <a:lnTo>
                    <a:pt x="26" y="163"/>
                  </a:lnTo>
                  <a:lnTo>
                    <a:pt x="46" y="128"/>
                  </a:lnTo>
                  <a:lnTo>
                    <a:pt x="70" y="97"/>
                  </a:lnTo>
                  <a:lnTo>
                    <a:pt x="97" y="69"/>
                  </a:lnTo>
                  <a:lnTo>
                    <a:pt x="129" y="46"/>
                  </a:lnTo>
                  <a:lnTo>
                    <a:pt x="164" y="26"/>
                  </a:lnTo>
                  <a:lnTo>
                    <a:pt x="201" y="12"/>
                  </a:lnTo>
                  <a:lnTo>
                    <a:pt x="242" y="3"/>
                  </a:lnTo>
                  <a:lnTo>
                    <a:pt x="283" y="0"/>
                  </a:lnTo>
                  <a:close/>
                </a:path>
              </a:pathLst>
            </a:custGeom>
            <a:grpFill/>
            <a:ln w="9525">
              <a:noFill/>
              <a:round/>
              <a:headEnd/>
              <a:tailEnd/>
            </a:ln>
          </p:spPr>
          <p:txBody>
            <a:bodyPr wrap="none" anchor="ctr"/>
            <a:lstStyle/>
            <a:p>
              <a:endParaRPr lang="en-GB" sz="2200">
                <a:solidFill>
                  <a:srgbClr val="000000"/>
                </a:solidFill>
              </a:endParaRPr>
            </a:p>
          </p:txBody>
        </p:sp>
        <p:sp>
          <p:nvSpPr>
            <p:cNvPr id="148" name="Freeform 123"/>
            <p:cNvSpPr>
              <a:spLocks noChangeArrowheads="1"/>
            </p:cNvSpPr>
            <p:nvPr/>
          </p:nvSpPr>
          <p:spPr bwMode="auto">
            <a:xfrm>
              <a:off x="178" y="2589"/>
              <a:ext cx="104" cy="210"/>
            </a:xfrm>
            <a:custGeom>
              <a:avLst/>
              <a:gdLst>
                <a:gd name="T0" fmla="*/ 0 w 944"/>
                <a:gd name="T1" fmla="*/ 0 h 1907"/>
                <a:gd name="T2" fmla="*/ 0 w 944"/>
                <a:gd name="T3" fmla="*/ 0 h 1907"/>
                <a:gd name="T4" fmla="*/ 0 w 944"/>
                <a:gd name="T5" fmla="*/ 0 h 1907"/>
                <a:gd name="T6" fmla="*/ 0 w 944"/>
                <a:gd name="T7" fmla="*/ 0 h 1907"/>
                <a:gd name="T8" fmla="*/ 0 w 944"/>
                <a:gd name="T9" fmla="*/ 0 h 1907"/>
                <a:gd name="T10" fmla="*/ 0 w 944"/>
                <a:gd name="T11" fmla="*/ 0 h 1907"/>
                <a:gd name="T12" fmla="*/ 0 w 944"/>
                <a:gd name="T13" fmla="*/ 0 h 1907"/>
                <a:gd name="T14" fmla="*/ 0 w 944"/>
                <a:gd name="T15" fmla="*/ 0 h 1907"/>
                <a:gd name="T16" fmla="*/ 0 w 944"/>
                <a:gd name="T17" fmla="*/ 0 h 1907"/>
                <a:gd name="T18" fmla="*/ 0 w 944"/>
                <a:gd name="T19" fmla="*/ 0 h 1907"/>
                <a:gd name="T20" fmla="*/ 0 w 944"/>
                <a:gd name="T21" fmla="*/ 0 h 1907"/>
                <a:gd name="T22" fmla="*/ 0 w 944"/>
                <a:gd name="T23" fmla="*/ 0 h 1907"/>
                <a:gd name="T24" fmla="*/ 0 w 944"/>
                <a:gd name="T25" fmla="*/ 0 h 1907"/>
                <a:gd name="T26" fmla="*/ 0 w 944"/>
                <a:gd name="T27" fmla="*/ 0 h 1907"/>
                <a:gd name="T28" fmla="*/ 0 w 944"/>
                <a:gd name="T29" fmla="*/ 0 h 1907"/>
                <a:gd name="T30" fmla="*/ 0 w 944"/>
                <a:gd name="T31" fmla="*/ 0 h 1907"/>
                <a:gd name="T32" fmla="*/ 0 w 944"/>
                <a:gd name="T33" fmla="*/ 0 h 1907"/>
                <a:gd name="T34" fmla="*/ 0 w 944"/>
                <a:gd name="T35" fmla="*/ 0 h 1907"/>
                <a:gd name="T36" fmla="*/ 0 w 944"/>
                <a:gd name="T37" fmla="*/ 0 h 1907"/>
                <a:gd name="T38" fmla="*/ 0 w 944"/>
                <a:gd name="T39" fmla="*/ 0 h 1907"/>
                <a:gd name="T40" fmla="*/ 0 w 944"/>
                <a:gd name="T41" fmla="*/ 0 h 1907"/>
                <a:gd name="T42" fmla="*/ 0 w 944"/>
                <a:gd name="T43" fmla="*/ 0 h 1907"/>
                <a:gd name="T44" fmla="*/ 0 w 944"/>
                <a:gd name="T45" fmla="*/ 0 h 1907"/>
                <a:gd name="T46" fmla="*/ 0 w 944"/>
                <a:gd name="T47" fmla="*/ 0 h 1907"/>
                <a:gd name="T48" fmla="*/ 0 w 944"/>
                <a:gd name="T49" fmla="*/ 0 h 1907"/>
                <a:gd name="T50" fmla="*/ 0 w 944"/>
                <a:gd name="T51" fmla="*/ 0 h 1907"/>
                <a:gd name="T52" fmla="*/ 0 w 944"/>
                <a:gd name="T53" fmla="*/ 0 h 1907"/>
                <a:gd name="T54" fmla="*/ 0 w 944"/>
                <a:gd name="T55" fmla="*/ 0 h 1907"/>
                <a:gd name="T56" fmla="*/ 0 w 944"/>
                <a:gd name="T57" fmla="*/ 0 h 1907"/>
                <a:gd name="T58" fmla="*/ 0 w 944"/>
                <a:gd name="T59" fmla="*/ 0 h 1907"/>
                <a:gd name="T60" fmla="*/ 0 w 944"/>
                <a:gd name="T61" fmla="*/ 0 h 1907"/>
                <a:gd name="T62" fmla="*/ 0 w 944"/>
                <a:gd name="T63" fmla="*/ 0 h 1907"/>
                <a:gd name="T64" fmla="*/ 0 w 944"/>
                <a:gd name="T65" fmla="*/ 0 h 1907"/>
                <a:gd name="T66" fmla="*/ 0 w 944"/>
                <a:gd name="T67" fmla="*/ 0 h 1907"/>
                <a:gd name="T68" fmla="*/ 0 w 944"/>
                <a:gd name="T69" fmla="*/ 0 h 1907"/>
                <a:gd name="T70" fmla="*/ 0 w 944"/>
                <a:gd name="T71" fmla="*/ 0 h 1907"/>
                <a:gd name="T72" fmla="*/ 0 w 944"/>
                <a:gd name="T73" fmla="*/ 0 h 1907"/>
                <a:gd name="T74" fmla="*/ 0 w 944"/>
                <a:gd name="T75" fmla="*/ 0 h 1907"/>
                <a:gd name="T76" fmla="*/ 0 w 944"/>
                <a:gd name="T77" fmla="*/ 0 h 1907"/>
                <a:gd name="T78" fmla="*/ 0 w 944"/>
                <a:gd name="T79" fmla="*/ 0 h 1907"/>
                <a:gd name="T80" fmla="*/ 0 w 944"/>
                <a:gd name="T81" fmla="*/ 0 h 1907"/>
                <a:gd name="T82" fmla="*/ 0 w 944"/>
                <a:gd name="T83" fmla="*/ 0 h 1907"/>
                <a:gd name="T84" fmla="*/ 0 w 944"/>
                <a:gd name="T85" fmla="*/ 0 h 1907"/>
                <a:gd name="T86" fmla="*/ 0 w 944"/>
                <a:gd name="T87" fmla="*/ 0 h 1907"/>
                <a:gd name="T88" fmla="*/ 0 w 944"/>
                <a:gd name="T89" fmla="*/ 0 h 1907"/>
                <a:gd name="T90" fmla="*/ 0 w 944"/>
                <a:gd name="T91" fmla="*/ 0 h 1907"/>
                <a:gd name="T92" fmla="*/ 0 w 944"/>
                <a:gd name="T93" fmla="*/ 0 h 1907"/>
                <a:gd name="T94" fmla="*/ 0 w 944"/>
                <a:gd name="T95" fmla="*/ 0 h 1907"/>
                <a:gd name="T96" fmla="*/ 0 w 944"/>
                <a:gd name="T97" fmla="*/ 0 h 1907"/>
                <a:gd name="T98" fmla="*/ 0 w 944"/>
                <a:gd name="T99" fmla="*/ 0 h 1907"/>
                <a:gd name="T100" fmla="*/ 0 w 944"/>
                <a:gd name="T101" fmla="*/ 0 h 1907"/>
                <a:gd name="T102" fmla="*/ 0 w 944"/>
                <a:gd name="T103" fmla="*/ 0 h 1907"/>
                <a:gd name="T104" fmla="*/ 0 w 944"/>
                <a:gd name="T105" fmla="*/ 0 h 1907"/>
                <a:gd name="T106" fmla="*/ 0 w 944"/>
                <a:gd name="T107" fmla="*/ 0 h 1907"/>
                <a:gd name="T108" fmla="*/ 0 w 944"/>
                <a:gd name="T109" fmla="*/ 0 h 1907"/>
                <a:gd name="T110" fmla="*/ 0 w 944"/>
                <a:gd name="T111" fmla="*/ 0 h 1907"/>
                <a:gd name="T112" fmla="*/ 0 w 944"/>
                <a:gd name="T113" fmla="*/ 0 h 1907"/>
                <a:gd name="T114" fmla="*/ 0 w 944"/>
                <a:gd name="T115" fmla="*/ 0 h 1907"/>
                <a:gd name="T116" fmla="*/ 0 w 944"/>
                <a:gd name="T117" fmla="*/ 0 h 1907"/>
                <a:gd name="T118" fmla="*/ 0 w 944"/>
                <a:gd name="T119" fmla="*/ 0 h 1907"/>
                <a:gd name="T120" fmla="*/ 0 w 944"/>
                <a:gd name="T121" fmla="*/ 0 h 1907"/>
                <a:gd name="T122" fmla="*/ 0 w 944"/>
                <a:gd name="T123" fmla="*/ 0 h 1907"/>
                <a:gd name="T124" fmla="*/ 0 w 944"/>
                <a:gd name="T125" fmla="*/ 0 h 19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4"/>
                <a:gd name="T190" fmla="*/ 0 h 1907"/>
                <a:gd name="T191" fmla="*/ 944 w 944"/>
                <a:gd name="T192" fmla="*/ 1907 h 19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4" h="1907">
                  <a:moveTo>
                    <a:pt x="173" y="0"/>
                  </a:moveTo>
                  <a:lnTo>
                    <a:pt x="771" y="0"/>
                  </a:lnTo>
                  <a:lnTo>
                    <a:pt x="801" y="2"/>
                  </a:lnTo>
                  <a:lnTo>
                    <a:pt x="830" y="10"/>
                  </a:lnTo>
                  <a:lnTo>
                    <a:pt x="858" y="23"/>
                  </a:lnTo>
                  <a:lnTo>
                    <a:pt x="882" y="40"/>
                  </a:lnTo>
                  <a:lnTo>
                    <a:pt x="903" y="60"/>
                  </a:lnTo>
                  <a:lnTo>
                    <a:pt x="920" y="86"/>
                  </a:lnTo>
                  <a:lnTo>
                    <a:pt x="933" y="112"/>
                  </a:lnTo>
                  <a:lnTo>
                    <a:pt x="940" y="141"/>
                  </a:lnTo>
                  <a:lnTo>
                    <a:pt x="944" y="173"/>
                  </a:lnTo>
                  <a:lnTo>
                    <a:pt x="944" y="985"/>
                  </a:lnTo>
                  <a:lnTo>
                    <a:pt x="940" y="1017"/>
                  </a:lnTo>
                  <a:lnTo>
                    <a:pt x="933" y="1046"/>
                  </a:lnTo>
                  <a:lnTo>
                    <a:pt x="920" y="1073"/>
                  </a:lnTo>
                  <a:lnTo>
                    <a:pt x="903" y="1097"/>
                  </a:lnTo>
                  <a:lnTo>
                    <a:pt x="882" y="1118"/>
                  </a:lnTo>
                  <a:lnTo>
                    <a:pt x="858" y="1135"/>
                  </a:lnTo>
                  <a:lnTo>
                    <a:pt x="830" y="1148"/>
                  </a:lnTo>
                  <a:lnTo>
                    <a:pt x="801" y="1156"/>
                  </a:lnTo>
                  <a:lnTo>
                    <a:pt x="771" y="1159"/>
                  </a:lnTo>
                  <a:lnTo>
                    <a:pt x="770" y="1159"/>
                  </a:lnTo>
                  <a:lnTo>
                    <a:pt x="770" y="1734"/>
                  </a:lnTo>
                  <a:lnTo>
                    <a:pt x="767" y="1766"/>
                  </a:lnTo>
                  <a:lnTo>
                    <a:pt x="759" y="1795"/>
                  </a:lnTo>
                  <a:lnTo>
                    <a:pt x="747" y="1822"/>
                  </a:lnTo>
                  <a:lnTo>
                    <a:pt x="730" y="1846"/>
                  </a:lnTo>
                  <a:lnTo>
                    <a:pt x="710" y="1867"/>
                  </a:lnTo>
                  <a:lnTo>
                    <a:pt x="686" y="1884"/>
                  </a:lnTo>
                  <a:lnTo>
                    <a:pt x="660" y="1897"/>
                  </a:lnTo>
                  <a:lnTo>
                    <a:pt x="632" y="1905"/>
                  </a:lnTo>
                  <a:lnTo>
                    <a:pt x="601" y="1907"/>
                  </a:lnTo>
                  <a:lnTo>
                    <a:pt x="342" y="1907"/>
                  </a:lnTo>
                  <a:lnTo>
                    <a:pt x="312" y="1905"/>
                  </a:lnTo>
                  <a:lnTo>
                    <a:pt x="284" y="1897"/>
                  </a:lnTo>
                  <a:lnTo>
                    <a:pt x="258" y="1884"/>
                  </a:lnTo>
                  <a:lnTo>
                    <a:pt x="235" y="1867"/>
                  </a:lnTo>
                  <a:lnTo>
                    <a:pt x="214" y="1846"/>
                  </a:lnTo>
                  <a:lnTo>
                    <a:pt x="197" y="1822"/>
                  </a:lnTo>
                  <a:lnTo>
                    <a:pt x="185" y="1795"/>
                  </a:lnTo>
                  <a:lnTo>
                    <a:pt x="177" y="1766"/>
                  </a:lnTo>
                  <a:lnTo>
                    <a:pt x="174" y="1734"/>
                  </a:lnTo>
                  <a:lnTo>
                    <a:pt x="174" y="1159"/>
                  </a:lnTo>
                  <a:lnTo>
                    <a:pt x="173" y="1159"/>
                  </a:lnTo>
                  <a:lnTo>
                    <a:pt x="142" y="1156"/>
                  </a:lnTo>
                  <a:lnTo>
                    <a:pt x="113" y="1148"/>
                  </a:lnTo>
                  <a:lnTo>
                    <a:pt x="86" y="1135"/>
                  </a:lnTo>
                  <a:lnTo>
                    <a:pt x="62" y="1118"/>
                  </a:lnTo>
                  <a:lnTo>
                    <a:pt x="41" y="1097"/>
                  </a:lnTo>
                  <a:lnTo>
                    <a:pt x="24" y="1073"/>
                  </a:lnTo>
                  <a:lnTo>
                    <a:pt x="10" y="1046"/>
                  </a:lnTo>
                  <a:lnTo>
                    <a:pt x="3" y="1017"/>
                  </a:lnTo>
                  <a:lnTo>
                    <a:pt x="0" y="985"/>
                  </a:lnTo>
                  <a:lnTo>
                    <a:pt x="0" y="173"/>
                  </a:lnTo>
                  <a:lnTo>
                    <a:pt x="3" y="141"/>
                  </a:lnTo>
                  <a:lnTo>
                    <a:pt x="10" y="112"/>
                  </a:lnTo>
                  <a:lnTo>
                    <a:pt x="24" y="86"/>
                  </a:lnTo>
                  <a:lnTo>
                    <a:pt x="41" y="60"/>
                  </a:lnTo>
                  <a:lnTo>
                    <a:pt x="62" y="40"/>
                  </a:lnTo>
                  <a:lnTo>
                    <a:pt x="86" y="23"/>
                  </a:lnTo>
                  <a:lnTo>
                    <a:pt x="113" y="10"/>
                  </a:lnTo>
                  <a:lnTo>
                    <a:pt x="142" y="2"/>
                  </a:lnTo>
                  <a:lnTo>
                    <a:pt x="173" y="0"/>
                  </a:lnTo>
                  <a:close/>
                </a:path>
              </a:pathLst>
            </a:custGeom>
            <a:grpFill/>
            <a:ln w="9525">
              <a:noFill/>
              <a:round/>
              <a:headEnd/>
              <a:tailEnd/>
            </a:ln>
          </p:spPr>
          <p:txBody>
            <a:bodyPr wrap="none" anchor="ctr"/>
            <a:lstStyle/>
            <a:p>
              <a:endParaRPr lang="en-GB" sz="2200">
                <a:solidFill>
                  <a:srgbClr val="000000"/>
                </a:solidFill>
              </a:endParaRPr>
            </a:p>
          </p:txBody>
        </p:sp>
        <p:sp>
          <p:nvSpPr>
            <p:cNvPr id="149" name="Freeform 124"/>
            <p:cNvSpPr>
              <a:spLocks noChangeArrowheads="1"/>
            </p:cNvSpPr>
            <p:nvPr/>
          </p:nvSpPr>
          <p:spPr bwMode="auto">
            <a:xfrm>
              <a:off x="199" y="2519"/>
              <a:ext cx="62" cy="62"/>
            </a:xfrm>
            <a:custGeom>
              <a:avLst/>
              <a:gdLst>
                <a:gd name="T0" fmla="*/ 0 w 566"/>
                <a:gd name="T1" fmla="*/ 0 h 565"/>
                <a:gd name="T2" fmla="*/ 0 w 566"/>
                <a:gd name="T3" fmla="*/ 0 h 565"/>
                <a:gd name="T4" fmla="*/ 0 w 566"/>
                <a:gd name="T5" fmla="*/ 0 h 565"/>
                <a:gd name="T6" fmla="*/ 0 w 566"/>
                <a:gd name="T7" fmla="*/ 0 h 565"/>
                <a:gd name="T8" fmla="*/ 0 w 566"/>
                <a:gd name="T9" fmla="*/ 0 h 565"/>
                <a:gd name="T10" fmla="*/ 0 w 566"/>
                <a:gd name="T11" fmla="*/ 0 h 565"/>
                <a:gd name="T12" fmla="*/ 0 w 566"/>
                <a:gd name="T13" fmla="*/ 0 h 565"/>
                <a:gd name="T14" fmla="*/ 0 w 566"/>
                <a:gd name="T15" fmla="*/ 0 h 565"/>
                <a:gd name="T16" fmla="*/ 0 w 566"/>
                <a:gd name="T17" fmla="*/ 0 h 565"/>
                <a:gd name="T18" fmla="*/ 0 w 566"/>
                <a:gd name="T19" fmla="*/ 0 h 565"/>
                <a:gd name="T20" fmla="*/ 0 w 566"/>
                <a:gd name="T21" fmla="*/ 0 h 565"/>
                <a:gd name="T22" fmla="*/ 0 w 566"/>
                <a:gd name="T23" fmla="*/ 0 h 565"/>
                <a:gd name="T24" fmla="*/ 0 w 566"/>
                <a:gd name="T25" fmla="*/ 0 h 565"/>
                <a:gd name="T26" fmla="*/ 0 w 566"/>
                <a:gd name="T27" fmla="*/ 0 h 565"/>
                <a:gd name="T28" fmla="*/ 0 w 566"/>
                <a:gd name="T29" fmla="*/ 0 h 565"/>
                <a:gd name="T30" fmla="*/ 0 w 566"/>
                <a:gd name="T31" fmla="*/ 0 h 565"/>
                <a:gd name="T32" fmla="*/ 0 w 566"/>
                <a:gd name="T33" fmla="*/ 0 h 565"/>
                <a:gd name="T34" fmla="*/ 0 w 566"/>
                <a:gd name="T35" fmla="*/ 0 h 565"/>
                <a:gd name="T36" fmla="*/ 0 w 566"/>
                <a:gd name="T37" fmla="*/ 0 h 565"/>
                <a:gd name="T38" fmla="*/ 0 w 566"/>
                <a:gd name="T39" fmla="*/ 0 h 565"/>
                <a:gd name="T40" fmla="*/ 0 w 566"/>
                <a:gd name="T41" fmla="*/ 0 h 565"/>
                <a:gd name="T42" fmla="*/ 0 w 566"/>
                <a:gd name="T43" fmla="*/ 0 h 565"/>
                <a:gd name="T44" fmla="*/ 0 w 566"/>
                <a:gd name="T45" fmla="*/ 0 h 565"/>
                <a:gd name="T46" fmla="*/ 0 w 566"/>
                <a:gd name="T47" fmla="*/ 0 h 565"/>
                <a:gd name="T48" fmla="*/ 0 w 566"/>
                <a:gd name="T49" fmla="*/ 0 h 565"/>
                <a:gd name="T50" fmla="*/ 0 w 566"/>
                <a:gd name="T51" fmla="*/ 0 h 565"/>
                <a:gd name="T52" fmla="*/ 0 w 566"/>
                <a:gd name="T53" fmla="*/ 0 h 565"/>
                <a:gd name="T54" fmla="*/ 0 w 566"/>
                <a:gd name="T55" fmla="*/ 0 h 565"/>
                <a:gd name="T56" fmla="*/ 0 w 566"/>
                <a:gd name="T57" fmla="*/ 0 h 565"/>
                <a:gd name="T58" fmla="*/ 0 w 566"/>
                <a:gd name="T59" fmla="*/ 0 h 565"/>
                <a:gd name="T60" fmla="*/ 0 w 566"/>
                <a:gd name="T61" fmla="*/ 0 h 565"/>
                <a:gd name="T62" fmla="*/ 0 w 566"/>
                <a:gd name="T63" fmla="*/ 0 h 565"/>
                <a:gd name="T64" fmla="*/ 0 w 566"/>
                <a:gd name="T65" fmla="*/ 0 h 565"/>
                <a:gd name="T66" fmla="*/ 0 w 566"/>
                <a:gd name="T67" fmla="*/ 0 h 565"/>
                <a:gd name="T68" fmla="*/ 0 w 566"/>
                <a:gd name="T69" fmla="*/ 0 h 565"/>
                <a:gd name="T70" fmla="*/ 0 w 566"/>
                <a:gd name="T71" fmla="*/ 0 h 565"/>
                <a:gd name="T72" fmla="*/ 0 w 566"/>
                <a:gd name="T73" fmla="*/ 0 h 565"/>
                <a:gd name="T74" fmla="*/ 0 w 566"/>
                <a:gd name="T75" fmla="*/ 0 h 565"/>
                <a:gd name="T76" fmla="*/ 0 w 566"/>
                <a:gd name="T77" fmla="*/ 0 h 565"/>
                <a:gd name="T78" fmla="*/ 0 w 566"/>
                <a:gd name="T79" fmla="*/ 0 h 565"/>
                <a:gd name="T80" fmla="*/ 0 w 566"/>
                <a:gd name="T81" fmla="*/ 0 h 565"/>
                <a:gd name="T82" fmla="*/ 0 w 566"/>
                <a:gd name="T83" fmla="*/ 0 h 565"/>
                <a:gd name="T84" fmla="*/ 0 w 566"/>
                <a:gd name="T85" fmla="*/ 0 h 565"/>
                <a:gd name="T86" fmla="*/ 0 w 566"/>
                <a:gd name="T87" fmla="*/ 0 h 565"/>
                <a:gd name="T88" fmla="*/ 0 w 566"/>
                <a:gd name="T89" fmla="*/ 0 h 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6"/>
                <a:gd name="T136" fmla="*/ 0 h 565"/>
                <a:gd name="T137" fmla="*/ 566 w 566"/>
                <a:gd name="T138" fmla="*/ 565 h 5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6" h="565">
                  <a:moveTo>
                    <a:pt x="283" y="0"/>
                  </a:moveTo>
                  <a:lnTo>
                    <a:pt x="324" y="3"/>
                  </a:lnTo>
                  <a:lnTo>
                    <a:pt x="365" y="12"/>
                  </a:lnTo>
                  <a:lnTo>
                    <a:pt x="402" y="26"/>
                  </a:lnTo>
                  <a:lnTo>
                    <a:pt x="437" y="46"/>
                  </a:lnTo>
                  <a:lnTo>
                    <a:pt x="469" y="69"/>
                  </a:lnTo>
                  <a:lnTo>
                    <a:pt x="496" y="97"/>
                  </a:lnTo>
                  <a:lnTo>
                    <a:pt x="520" y="128"/>
                  </a:lnTo>
                  <a:lnTo>
                    <a:pt x="540" y="163"/>
                  </a:lnTo>
                  <a:lnTo>
                    <a:pt x="554" y="201"/>
                  </a:lnTo>
                  <a:lnTo>
                    <a:pt x="563" y="240"/>
                  </a:lnTo>
                  <a:lnTo>
                    <a:pt x="566" y="282"/>
                  </a:lnTo>
                  <a:lnTo>
                    <a:pt x="563" y="324"/>
                  </a:lnTo>
                  <a:lnTo>
                    <a:pt x="554" y="364"/>
                  </a:lnTo>
                  <a:lnTo>
                    <a:pt x="540" y="402"/>
                  </a:lnTo>
                  <a:lnTo>
                    <a:pt x="520" y="436"/>
                  </a:lnTo>
                  <a:lnTo>
                    <a:pt x="496" y="468"/>
                  </a:lnTo>
                  <a:lnTo>
                    <a:pt x="469" y="496"/>
                  </a:lnTo>
                  <a:lnTo>
                    <a:pt x="437" y="520"/>
                  </a:lnTo>
                  <a:lnTo>
                    <a:pt x="402" y="539"/>
                  </a:lnTo>
                  <a:lnTo>
                    <a:pt x="365" y="554"/>
                  </a:lnTo>
                  <a:lnTo>
                    <a:pt x="324" y="562"/>
                  </a:lnTo>
                  <a:lnTo>
                    <a:pt x="283" y="565"/>
                  </a:lnTo>
                  <a:lnTo>
                    <a:pt x="241" y="562"/>
                  </a:lnTo>
                  <a:lnTo>
                    <a:pt x="202" y="554"/>
                  </a:lnTo>
                  <a:lnTo>
                    <a:pt x="164" y="539"/>
                  </a:lnTo>
                  <a:lnTo>
                    <a:pt x="129" y="520"/>
                  </a:lnTo>
                  <a:lnTo>
                    <a:pt x="97" y="496"/>
                  </a:lnTo>
                  <a:lnTo>
                    <a:pt x="70" y="468"/>
                  </a:lnTo>
                  <a:lnTo>
                    <a:pt x="46" y="436"/>
                  </a:lnTo>
                  <a:lnTo>
                    <a:pt x="27" y="402"/>
                  </a:lnTo>
                  <a:lnTo>
                    <a:pt x="12" y="364"/>
                  </a:lnTo>
                  <a:lnTo>
                    <a:pt x="3" y="324"/>
                  </a:lnTo>
                  <a:lnTo>
                    <a:pt x="0" y="282"/>
                  </a:lnTo>
                  <a:lnTo>
                    <a:pt x="3" y="240"/>
                  </a:lnTo>
                  <a:lnTo>
                    <a:pt x="12" y="201"/>
                  </a:lnTo>
                  <a:lnTo>
                    <a:pt x="27" y="163"/>
                  </a:lnTo>
                  <a:lnTo>
                    <a:pt x="46" y="128"/>
                  </a:lnTo>
                  <a:lnTo>
                    <a:pt x="70" y="97"/>
                  </a:lnTo>
                  <a:lnTo>
                    <a:pt x="97" y="69"/>
                  </a:lnTo>
                  <a:lnTo>
                    <a:pt x="129" y="46"/>
                  </a:lnTo>
                  <a:lnTo>
                    <a:pt x="164" y="26"/>
                  </a:lnTo>
                  <a:lnTo>
                    <a:pt x="202" y="12"/>
                  </a:lnTo>
                  <a:lnTo>
                    <a:pt x="241" y="3"/>
                  </a:lnTo>
                  <a:lnTo>
                    <a:pt x="283" y="0"/>
                  </a:lnTo>
                  <a:close/>
                </a:path>
              </a:pathLst>
            </a:custGeom>
            <a:grpFill/>
            <a:ln w="9525">
              <a:noFill/>
              <a:round/>
              <a:headEnd/>
              <a:tailEnd/>
            </a:ln>
          </p:spPr>
          <p:txBody>
            <a:bodyPr wrap="none" anchor="ctr"/>
            <a:lstStyle/>
            <a:p>
              <a:endParaRPr lang="en-GB" sz="2200">
                <a:solidFill>
                  <a:srgbClr val="000000"/>
                </a:solidFill>
              </a:endParaRPr>
            </a:p>
          </p:txBody>
        </p:sp>
      </p:grpSp>
      <p:graphicFrame>
        <p:nvGraphicFramePr>
          <p:cNvPr id="150" name="Table 149"/>
          <p:cNvGraphicFramePr>
            <a:graphicFrameLocks noGrp="1"/>
          </p:cNvGraphicFramePr>
          <p:nvPr>
            <p:extLst>
              <p:ext uri="{D42A27DB-BD31-4B8C-83A1-F6EECF244321}">
                <p14:modId xmlns:p14="http://schemas.microsoft.com/office/powerpoint/2010/main" val="899633192"/>
              </p:ext>
            </p:extLst>
          </p:nvPr>
        </p:nvGraphicFramePr>
        <p:xfrm>
          <a:off x="287868" y="2063693"/>
          <a:ext cx="4230624" cy="3857729"/>
        </p:xfrm>
        <a:graphic>
          <a:graphicData uri="http://schemas.openxmlformats.org/drawingml/2006/table">
            <a:tbl>
              <a:tblPr firstRow="1" bandRow="1">
                <a:tableStyleId>{3B4B98B0-60AC-42C2-AFA5-B58CD77FA1E5}</a:tableStyleId>
              </a:tblPr>
              <a:tblGrid>
                <a:gridCol w="1410208"/>
                <a:gridCol w="1410208"/>
                <a:gridCol w="1410208"/>
              </a:tblGrid>
              <a:tr h="869288">
                <a:tc>
                  <a:txBody>
                    <a:bodyPr/>
                    <a:lstStyle/>
                    <a:p>
                      <a:pPr algn="ctr"/>
                      <a:endParaRPr lang="en-US" sz="1600" b="0" dirty="0" smtClean="0"/>
                    </a:p>
                    <a:p>
                      <a:pPr algn="ctr"/>
                      <a:r>
                        <a:rPr lang="en-US" sz="1600" b="1" dirty="0" smtClean="0">
                          <a:solidFill>
                            <a:schemeClr val="tx2"/>
                          </a:solidFill>
                        </a:rPr>
                        <a:t>2014</a:t>
                      </a:r>
                      <a:endParaRPr lang="en-US" sz="1600" b="1" dirty="0">
                        <a:solidFill>
                          <a:schemeClr val="tx2"/>
                        </a:solidFill>
                      </a:endParaRPr>
                    </a:p>
                  </a:txBody>
                  <a:tcPr/>
                </a:tc>
                <a:tc>
                  <a:txBody>
                    <a:bodyPr/>
                    <a:lstStyle/>
                    <a:p>
                      <a:endParaRPr lang="en-US" sz="1600" b="0" dirty="0">
                        <a:solidFill>
                          <a:schemeClr val="tx1"/>
                        </a:solidFill>
                      </a:endParaRPr>
                    </a:p>
                  </a:txBody>
                  <a:tcPr/>
                </a:tc>
                <a:tc>
                  <a:txBody>
                    <a:bodyPr/>
                    <a:lstStyle/>
                    <a:p>
                      <a:endParaRPr lang="en-US" sz="1600" b="0" dirty="0">
                        <a:solidFill>
                          <a:schemeClr val="tx1"/>
                        </a:solidFill>
                      </a:endParaRPr>
                    </a:p>
                  </a:txBody>
                  <a:tcPr/>
                </a:tc>
              </a:tr>
              <a:tr h="983880">
                <a:tc>
                  <a:txBody>
                    <a:bodyPr/>
                    <a:lstStyle/>
                    <a:p>
                      <a:pPr algn="ctr"/>
                      <a:r>
                        <a:rPr lang="en-US" sz="1600" b="0" dirty="0" smtClean="0"/>
                        <a:t>Traditional</a:t>
                      </a:r>
                      <a:endParaRPr lang="en-US" sz="1600" b="0" dirty="0"/>
                    </a:p>
                  </a:txBody>
                  <a:tcPr anchor="ctr"/>
                </a:tc>
                <a:tc>
                  <a:txBody>
                    <a:bodyPr/>
                    <a:lstStyle/>
                    <a:p>
                      <a:pPr algn="ctr"/>
                      <a:r>
                        <a:rPr lang="en-US" sz="1600" b="0" dirty="0" smtClean="0"/>
                        <a:t>49,368</a:t>
                      </a:r>
                      <a:endParaRPr lang="en-US" sz="1600" b="0" dirty="0"/>
                    </a:p>
                  </a:txBody>
                  <a:tcPr anchor="ctr"/>
                </a:tc>
                <a:tc>
                  <a:txBody>
                    <a:bodyPr/>
                    <a:lstStyle/>
                    <a:p>
                      <a:pPr algn="ctr"/>
                      <a:r>
                        <a:rPr lang="en-US" sz="1600" b="0" dirty="0" smtClean="0"/>
                        <a:t>2.5</a:t>
                      </a:r>
                      <a:r>
                        <a:rPr lang="en-US" sz="1600" b="0" baseline="0" dirty="0" smtClean="0"/>
                        <a:t> million</a:t>
                      </a:r>
                      <a:endParaRPr lang="en-US" sz="1600" b="0" dirty="0"/>
                    </a:p>
                  </a:txBody>
                  <a:tcPr anchor="ctr"/>
                </a:tc>
              </a:tr>
              <a:tr h="898326">
                <a:tc>
                  <a:txBody>
                    <a:bodyPr/>
                    <a:lstStyle/>
                    <a:p>
                      <a:pPr algn="ctr"/>
                      <a:r>
                        <a:rPr lang="en-US" sz="1600" b="0" dirty="0" smtClean="0"/>
                        <a:t>P2P</a:t>
                      </a:r>
                      <a:endParaRPr lang="en-US" sz="1600" b="0" dirty="0"/>
                    </a:p>
                  </a:txBody>
                  <a:tcPr anchor="ctr"/>
                </a:tc>
                <a:tc>
                  <a:txBody>
                    <a:bodyPr/>
                    <a:lstStyle/>
                    <a:p>
                      <a:pPr algn="ctr"/>
                      <a:r>
                        <a:rPr lang="en-US" sz="1600" b="0" dirty="0" smtClean="0"/>
                        <a:t>81,380</a:t>
                      </a:r>
                      <a:endParaRPr lang="en-US" sz="1600" b="0" dirty="0"/>
                    </a:p>
                  </a:txBody>
                  <a:tcPr anchor="ctr"/>
                </a:tc>
                <a:tc>
                  <a:txBody>
                    <a:bodyPr/>
                    <a:lstStyle/>
                    <a:p>
                      <a:pPr algn="ctr"/>
                      <a:r>
                        <a:rPr lang="en-US" sz="1600" b="0" dirty="0" smtClean="0"/>
                        <a:t>1</a:t>
                      </a:r>
                      <a:r>
                        <a:rPr lang="en-US" sz="1600" b="0" baseline="0" dirty="0" smtClean="0"/>
                        <a:t> million</a:t>
                      </a:r>
                      <a:endParaRPr lang="en-US" sz="1600" b="0" dirty="0"/>
                    </a:p>
                  </a:txBody>
                  <a:tcPr anchor="ctr"/>
                </a:tc>
              </a:tr>
              <a:tr h="1106235">
                <a:tc>
                  <a:txBody>
                    <a:bodyPr/>
                    <a:lstStyle/>
                    <a:p>
                      <a:pPr algn="ctr"/>
                      <a:r>
                        <a:rPr lang="en-US" sz="1600" b="0" dirty="0" smtClean="0"/>
                        <a:t>Corporate</a:t>
                      </a:r>
                      <a:endParaRPr lang="en-US" sz="1600" b="0" dirty="0"/>
                    </a:p>
                  </a:txBody>
                  <a:tcPr anchor="ctr">
                    <a:lnB w="12700" cap="flat" cmpd="sng" algn="ctr">
                      <a:solidFill>
                        <a:schemeClr val="bg1"/>
                      </a:solidFill>
                      <a:prstDash val="solid"/>
                      <a:round/>
                      <a:headEnd type="none" w="med" len="med"/>
                      <a:tailEnd type="none" w="med" len="med"/>
                    </a:lnB>
                  </a:tcPr>
                </a:tc>
                <a:tc>
                  <a:txBody>
                    <a:bodyPr/>
                    <a:lstStyle/>
                    <a:p>
                      <a:pPr algn="ctr"/>
                      <a:r>
                        <a:rPr lang="en-US" sz="1600" b="0" dirty="0" smtClean="0"/>
                        <a:t>2,896</a:t>
                      </a:r>
                      <a:endParaRPr lang="en-US" sz="1600" b="0" dirty="0"/>
                    </a:p>
                  </a:txBody>
                  <a:tcPr anchor="ctr">
                    <a:lnB w="12700" cap="flat" cmpd="sng" algn="ctr">
                      <a:solidFill>
                        <a:schemeClr val="bg1"/>
                      </a:solidFill>
                      <a:prstDash val="solid"/>
                      <a:round/>
                      <a:headEnd type="none" w="med" len="med"/>
                      <a:tailEnd type="none" w="med" len="med"/>
                    </a:lnB>
                  </a:tcPr>
                </a:tc>
                <a:tc>
                  <a:txBody>
                    <a:bodyPr/>
                    <a:lstStyle/>
                    <a:p>
                      <a:pPr algn="ctr"/>
                      <a:r>
                        <a:rPr lang="en-US" sz="1600" b="0" dirty="0" smtClean="0"/>
                        <a:t>250 companies</a:t>
                      </a:r>
                      <a:endParaRPr lang="en-US" sz="1600" b="0" dirty="0"/>
                    </a:p>
                  </a:txBody>
                  <a:tcPr anchor="ctr">
                    <a:lnB w="12700" cap="flat" cmpd="sng" algn="ctr">
                      <a:solidFill>
                        <a:schemeClr val="bg1"/>
                      </a:solidFill>
                      <a:prstDash val="solid"/>
                      <a:round/>
                      <a:headEnd type="none" w="med" len="med"/>
                      <a:tailEnd type="none" w="med" len="med"/>
                    </a:lnB>
                  </a:tcPr>
                </a:tc>
              </a:tr>
            </a:tbl>
          </a:graphicData>
        </a:graphic>
      </p:graphicFrame>
      <p:graphicFrame>
        <p:nvGraphicFramePr>
          <p:cNvPr id="151" name="Table 150"/>
          <p:cNvGraphicFramePr>
            <a:graphicFrameLocks noGrp="1"/>
          </p:cNvGraphicFramePr>
          <p:nvPr>
            <p:extLst>
              <p:ext uri="{D42A27DB-BD31-4B8C-83A1-F6EECF244321}">
                <p14:modId xmlns:p14="http://schemas.microsoft.com/office/powerpoint/2010/main" val="3843434871"/>
              </p:ext>
            </p:extLst>
          </p:nvPr>
        </p:nvGraphicFramePr>
        <p:xfrm>
          <a:off x="4710702" y="2076171"/>
          <a:ext cx="4116042" cy="3802650"/>
        </p:xfrm>
        <a:graphic>
          <a:graphicData uri="http://schemas.openxmlformats.org/drawingml/2006/table">
            <a:tbl>
              <a:tblPr firstRow="1" bandRow="1">
                <a:tableStyleId>{3B4B98B0-60AC-42C2-AFA5-B58CD77FA1E5}</a:tableStyleId>
              </a:tblPr>
              <a:tblGrid>
                <a:gridCol w="1372014"/>
                <a:gridCol w="1270584"/>
                <a:gridCol w="1473444"/>
              </a:tblGrid>
              <a:tr h="857227">
                <a:tc>
                  <a:txBody>
                    <a:bodyPr/>
                    <a:lstStyle/>
                    <a:p>
                      <a:pPr algn="ctr"/>
                      <a:endParaRPr lang="en-US" sz="1600" b="0" dirty="0" smtClean="0"/>
                    </a:p>
                    <a:p>
                      <a:pPr algn="ctr"/>
                      <a:r>
                        <a:rPr lang="en-US" sz="1600" b="1" dirty="0" smtClean="0">
                          <a:solidFill>
                            <a:schemeClr val="tx2"/>
                          </a:solidFill>
                        </a:rPr>
                        <a:t>2020</a:t>
                      </a:r>
                      <a:endParaRPr lang="en-US" sz="1600" b="1" dirty="0">
                        <a:solidFill>
                          <a:schemeClr val="tx2"/>
                        </a:solidFill>
                      </a:endParaRPr>
                    </a:p>
                  </a:txBody>
                  <a:tcPr/>
                </a:tc>
                <a:tc>
                  <a:txBody>
                    <a:bodyPr/>
                    <a:lstStyle/>
                    <a:p>
                      <a:endParaRPr lang="en-US" sz="1600" b="0" dirty="0">
                        <a:solidFill>
                          <a:schemeClr val="tx1"/>
                        </a:solidFill>
                      </a:endParaRPr>
                    </a:p>
                  </a:txBody>
                  <a:tcPr/>
                </a:tc>
                <a:tc>
                  <a:txBody>
                    <a:bodyPr/>
                    <a:lstStyle/>
                    <a:p>
                      <a:endParaRPr lang="en-US" sz="1600" b="0" dirty="0">
                        <a:solidFill>
                          <a:schemeClr val="tx1"/>
                        </a:solidFill>
                      </a:endParaRPr>
                    </a:p>
                  </a:txBody>
                  <a:tcPr/>
                </a:tc>
              </a:tr>
              <a:tr h="939820">
                <a:tc>
                  <a:txBody>
                    <a:bodyPr/>
                    <a:lstStyle/>
                    <a:p>
                      <a:pPr algn="ctr"/>
                      <a:r>
                        <a:rPr lang="en-US" sz="1600" b="0" dirty="0" smtClean="0"/>
                        <a:t>Traditional</a:t>
                      </a:r>
                      <a:endParaRPr lang="en-US" sz="1600" b="0" dirty="0"/>
                    </a:p>
                  </a:txBody>
                  <a:tcPr anchor="ctr"/>
                </a:tc>
                <a:tc>
                  <a:txBody>
                    <a:bodyPr/>
                    <a:lstStyle/>
                    <a:p>
                      <a:pPr algn="ctr"/>
                      <a:r>
                        <a:rPr lang="en-US" sz="1600" b="0" dirty="0" smtClean="0"/>
                        <a:t>236,145</a:t>
                      </a:r>
                      <a:endParaRPr lang="en-US" sz="1600" b="0" dirty="0"/>
                    </a:p>
                  </a:txBody>
                  <a:tcPr anchor="ctr"/>
                </a:tc>
                <a:tc>
                  <a:txBody>
                    <a:bodyPr/>
                    <a:lstStyle/>
                    <a:p>
                      <a:pPr algn="ctr"/>
                      <a:r>
                        <a:rPr lang="en-US" sz="1600" b="0" baseline="0" dirty="0" smtClean="0"/>
                        <a:t>14.9 million</a:t>
                      </a:r>
                      <a:endParaRPr lang="en-US" sz="1600" b="0" dirty="0"/>
                    </a:p>
                  </a:txBody>
                  <a:tcPr anchor="ctr"/>
                </a:tc>
              </a:tr>
              <a:tr h="976641">
                <a:tc>
                  <a:txBody>
                    <a:bodyPr/>
                    <a:lstStyle/>
                    <a:p>
                      <a:pPr algn="ctr"/>
                      <a:r>
                        <a:rPr lang="en-US" sz="1600" b="0" dirty="0" smtClean="0"/>
                        <a:t>P2P</a:t>
                      </a:r>
                      <a:endParaRPr lang="en-US" sz="1600" b="0" dirty="0"/>
                    </a:p>
                  </a:txBody>
                  <a:tcPr anchor="ctr"/>
                </a:tc>
                <a:tc>
                  <a:txBody>
                    <a:bodyPr/>
                    <a:lstStyle/>
                    <a:p>
                      <a:pPr algn="ctr"/>
                      <a:r>
                        <a:rPr lang="en-US" sz="1600" b="0" dirty="0" smtClean="0"/>
                        <a:t>222,210</a:t>
                      </a:r>
                      <a:endParaRPr lang="en-US" sz="1600" b="0" dirty="0"/>
                    </a:p>
                  </a:txBody>
                  <a:tcPr anchor="ctr"/>
                </a:tc>
                <a:tc>
                  <a:txBody>
                    <a:bodyPr/>
                    <a:lstStyle/>
                    <a:p>
                      <a:pPr algn="ctr"/>
                      <a:r>
                        <a:rPr lang="en-US" sz="1600" b="0" baseline="0" dirty="0" smtClean="0"/>
                        <a:t>3.3 million</a:t>
                      </a:r>
                      <a:endParaRPr lang="en-US" sz="1600" b="0" dirty="0"/>
                    </a:p>
                  </a:txBody>
                  <a:tcPr anchor="ctr"/>
                </a:tc>
              </a:tr>
              <a:tr h="1028962">
                <a:tc>
                  <a:txBody>
                    <a:bodyPr/>
                    <a:lstStyle/>
                    <a:p>
                      <a:pPr algn="ctr"/>
                      <a:r>
                        <a:rPr lang="en-US" sz="1600" b="0" dirty="0" smtClean="0"/>
                        <a:t>Corporate</a:t>
                      </a:r>
                      <a:endParaRPr lang="en-US" sz="1600" b="0" dirty="0"/>
                    </a:p>
                  </a:txBody>
                  <a:tcPr anchor="ctr">
                    <a:lnB w="12700" cap="flat" cmpd="sng" algn="ctr">
                      <a:solidFill>
                        <a:schemeClr val="bg1"/>
                      </a:solidFill>
                      <a:prstDash val="solid"/>
                      <a:round/>
                      <a:headEnd type="none" w="med" len="med"/>
                      <a:tailEnd type="none" w="med" len="med"/>
                    </a:lnB>
                  </a:tcPr>
                </a:tc>
                <a:tc>
                  <a:txBody>
                    <a:bodyPr/>
                    <a:lstStyle/>
                    <a:p>
                      <a:pPr algn="ctr"/>
                      <a:r>
                        <a:rPr lang="en-US" sz="1600" b="0" dirty="0" smtClean="0"/>
                        <a:t>84,649</a:t>
                      </a:r>
                      <a:endParaRPr lang="en-US" sz="1600" b="0" dirty="0"/>
                    </a:p>
                  </a:txBody>
                  <a:tcPr anchor="ctr">
                    <a:lnB w="12700" cap="flat" cmpd="sng" algn="ctr">
                      <a:solidFill>
                        <a:schemeClr val="bg1"/>
                      </a:solidFill>
                      <a:prstDash val="solid"/>
                      <a:round/>
                      <a:headEnd type="none" w="med" len="med"/>
                      <a:tailEnd type="none" w="med" len="med"/>
                    </a:lnB>
                  </a:tcPr>
                </a:tc>
                <a:tc>
                  <a:txBody>
                    <a:bodyPr/>
                    <a:lstStyle/>
                    <a:p>
                      <a:pPr algn="ctr"/>
                      <a:r>
                        <a:rPr lang="en-US" sz="1600" b="0" dirty="0" smtClean="0"/>
                        <a:t>4,000 companies</a:t>
                      </a:r>
                      <a:endParaRPr lang="en-US" sz="1600" b="0" dirty="0"/>
                    </a:p>
                  </a:txBody>
                  <a:tcPr anchor="ctr">
                    <a:lnB w="12700" cap="flat" cmpd="sng" algn="ctr">
                      <a:solidFill>
                        <a:schemeClr val="bg1"/>
                      </a:solidFill>
                      <a:prstDash val="solid"/>
                      <a:round/>
                      <a:headEnd type="none" w="med" len="med"/>
                      <a:tailEnd type="none" w="med" len="med"/>
                    </a:lnB>
                  </a:tcPr>
                </a:tc>
              </a:tr>
            </a:tbl>
          </a:graphicData>
        </a:graphic>
      </p:graphicFrame>
      <p:sp>
        <p:nvSpPr>
          <p:cNvPr id="152" name="TextBox 151"/>
          <p:cNvSpPr txBox="1"/>
          <p:nvPr/>
        </p:nvSpPr>
        <p:spPr>
          <a:xfrm>
            <a:off x="5816223" y="1412776"/>
            <a:ext cx="1905000" cy="400110"/>
          </a:xfrm>
          <a:prstGeom prst="rect">
            <a:avLst/>
          </a:prstGeom>
          <a:noFill/>
        </p:spPr>
        <p:txBody>
          <a:bodyPr wrap="square" rtlCol="0">
            <a:spAutoFit/>
          </a:bodyPr>
          <a:lstStyle/>
          <a:p>
            <a:pPr algn="ctr"/>
            <a:r>
              <a:rPr lang="en-US" sz="2000" b="1" dirty="0">
                <a:solidFill>
                  <a:srgbClr val="06325C"/>
                </a:solidFill>
              </a:rPr>
              <a:t>Carpooling</a:t>
            </a:r>
          </a:p>
        </p:txBody>
      </p:sp>
      <p:sp>
        <p:nvSpPr>
          <p:cNvPr id="153" name="TextBox 152"/>
          <p:cNvSpPr txBox="1"/>
          <p:nvPr/>
        </p:nvSpPr>
        <p:spPr>
          <a:xfrm>
            <a:off x="1450680" y="1412776"/>
            <a:ext cx="1905000" cy="400110"/>
          </a:xfrm>
          <a:prstGeom prst="rect">
            <a:avLst/>
          </a:prstGeom>
          <a:noFill/>
        </p:spPr>
        <p:txBody>
          <a:bodyPr wrap="square" rtlCol="0">
            <a:spAutoFit/>
          </a:bodyPr>
          <a:lstStyle/>
          <a:p>
            <a:pPr algn="ctr"/>
            <a:r>
              <a:rPr lang="en-US" sz="2000" b="1" dirty="0">
                <a:solidFill>
                  <a:srgbClr val="06325C"/>
                </a:solidFill>
              </a:rPr>
              <a:t>Carsharing</a:t>
            </a:r>
          </a:p>
        </p:txBody>
      </p:sp>
      <p:sp>
        <p:nvSpPr>
          <p:cNvPr id="154" name="Title 1"/>
          <p:cNvSpPr>
            <a:spLocks noGrp="1"/>
          </p:cNvSpPr>
          <p:nvPr>
            <p:ph type="title"/>
          </p:nvPr>
        </p:nvSpPr>
        <p:spPr>
          <a:xfrm>
            <a:off x="238125" y="241479"/>
            <a:ext cx="8677275" cy="609600"/>
          </a:xfrm>
        </p:spPr>
        <p:txBody>
          <a:bodyPr/>
          <a:lstStyle/>
          <a:p>
            <a:r>
              <a:rPr lang="en-GB" sz="2000" dirty="0" smtClean="0">
                <a:ea typeface="Cambria Math" pitchFamily="18" charset="0"/>
              </a:rPr>
              <a:t>New Business Models - Growth of Car Sharing </a:t>
            </a:r>
            <a:br>
              <a:rPr lang="en-GB" sz="2000" dirty="0" smtClean="0">
                <a:ea typeface="Cambria Math" pitchFamily="18" charset="0"/>
              </a:rPr>
            </a:br>
            <a:r>
              <a:rPr lang="en-GB" sz="1400" b="0" dirty="0" smtClean="0">
                <a:ea typeface="Cambria Math" pitchFamily="18" charset="0"/>
              </a:rPr>
              <a:t>Over </a:t>
            </a:r>
            <a:r>
              <a:rPr lang="en-GB" sz="1400" b="0" dirty="0">
                <a:ea typeface="Cambria Math" pitchFamily="18" charset="0"/>
              </a:rPr>
              <a:t>543,000 vehicles to be </a:t>
            </a:r>
            <a:r>
              <a:rPr lang="en-GB" sz="1400" b="0" dirty="0" smtClean="0">
                <a:ea typeface="Cambria Math" pitchFamily="18" charset="0"/>
              </a:rPr>
              <a:t>shared in Europe by 2020</a:t>
            </a:r>
            <a:endParaRPr lang="en-GB" sz="1400" b="0" dirty="0">
              <a:ea typeface="Cambria Math" pitchFamily="18" charset="0"/>
            </a:endParaRPr>
          </a:p>
        </p:txBody>
      </p:sp>
      <p:sp>
        <p:nvSpPr>
          <p:cNvPr id="79"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Sullivan</a:t>
            </a:r>
          </a:p>
        </p:txBody>
      </p:sp>
    </p:spTree>
    <p:extLst>
      <p:ext uri="{BB962C8B-B14F-4D97-AF65-F5344CB8AC3E}">
        <p14:creationId xmlns:p14="http://schemas.microsoft.com/office/powerpoint/2010/main" val="8904962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37243" y="152936"/>
            <a:ext cx="8669514"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rgbClr val="002060"/>
                </a:solidFill>
                <a:ea typeface="Cambria Math" pitchFamily="18" charset="0"/>
              </a:rPr>
              <a:t>Today’s Agenda</a:t>
            </a:r>
            <a:endParaRPr lang="en-IN" sz="1600" b="0" dirty="0">
              <a:solidFill>
                <a:srgbClr val="002060"/>
              </a:solidFill>
              <a:ea typeface="Cambria Math" pitchFamily="18" charset="0"/>
            </a:endParaRPr>
          </a:p>
        </p:txBody>
      </p:sp>
      <p:sp>
        <p:nvSpPr>
          <p:cNvPr id="5"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a:t>
            </a:r>
            <a:r>
              <a:rPr lang="en-US" sz="900" dirty="0" smtClean="0">
                <a:solidFill>
                  <a:srgbClr val="517496"/>
                </a:solidFill>
              </a:rPr>
              <a:t>Sullivan</a:t>
            </a:r>
            <a:endParaRPr lang="en-US" sz="900" dirty="0">
              <a:solidFill>
                <a:srgbClr val="517496"/>
              </a:solidFill>
            </a:endParaRPr>
          </a:p>
        </p:txBody>
      </p:sp>
      <p:sp>
        <p:nvSpPr>
          <p:cNvPr id="8" name="Rectangle 45"/>
          <p:cNvSpPr>
            <a:spLocks noChangeArrowheads="1"/>
          </p:cNvSpPr>
          <p:nvPr>
            <p:custDataLst>
              <p:tags r:id="rId1"/>
            </p:custDataLst>
          </p:nvPr>
        </p:nvSpPr>
        <p:spPr bwMode="gray">
          <a:xfrm>
            <a:off x="356676" y="1503318"/>
            <a:ext cx="7872924" cy="456618"/>
          </a:xfrm>
          <a:prstGeom prst="rect">
            <a:avLst/>
          </a:prstGeom>
          <a:solidFill>
            <a:schemeClr val="tx2"/>
          </a:solidFill>
          <a:ln>
            <a:noFill/>
          </a:ln>
          <a:effectLst/>
          <a:extLst/>
        </p:spPr>
        <p:txBody>
          <a:bodyPr vert="horz" wrap="none" lIns="91440" tIns="45720" rIns="91440" bIns="45720" numCol="1" anchor="ctr" anchorCtr="0" compatLnSpc="1">
            <a:prstTxWarp prst="textNoShape">
              <a:avLst/>
            </a:prstTxWarp>
          </a:bodyPr>
          <a:lstStyle/>
          <a:p>
            <a:pPr algn="ctr"/>
            <a:r>
              <a:rPr lang="en-US" sz="2000" b="1" dirty="0" smtClean="0">
                <a:solidFill>
                  <a:srgbClr val="FFFFFF"/>
                </a:solidFill>
              </a:rPr>
              <a:t>Agenda</a:t>
            </a:r>
            <a:endParaRPr lang="en-US" sz="2000" b="1" dirty="0">
              <a:solidFill>
                <a:srgbClr val="FFFFFF"/>
              </a:solidFill>
            </a:endParaRPr>
          </a:p>
        </p:txBody>
      </p:sp>
      <p:sp>
        <p:nvSpPr>
          <p:cNvPr id="9" name="Rectangle 46"/>
          <p:cNvSpPr>
            <a:spLocks noChangeArrowheads="1"/>
          </p:cNvSpPr>
          <p:nvPr>
            <p:custDataLst>
              <p:tags r:id="rId2"/>
            </p:custDataLst>
          </p:nvPr>
        </p:nvSpPr>
        <p:spPr bwMode="gray">
          <a:xfrm>
            <a:off x="1497694" y="2352209"/>
            <a:ext cx="5161789" cy="114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defTabSz="914303"/>
            <a:r>
              <a:rPr lang="en-US" sz="1600" b="1" dirty="0" smtClean="0">
                <a:solidFill>
                  <a:srgbClr val="FFFFFF"/>
                </a:solidFill>
              </a:rPr>
              <a:t>Introduction: Transformational Shifts Reshaping the Future of Mobility</a:t>
            </a:r>
            <a:endParaRPr lang="en-US" sz="1600" dirty="0">
              <a:solidFill>
                <a:srgbClr val="000000"/>
              </a:solidFill>
            </a:endParaRPr>
          </a:p>
        </p:txBody>
      </p:sp>
      <p:pic>
        <p:nvPicPr>
          <p:cNvPr id="10" name="Picture 50" descr="Untitled-3"/>
          <p:cNvPicPr>
            <a:picLocks noChangeAspect="1" noChangeArrowheads="1"/>
          </p:cNvPicPr>
          <p:nvPr>
            <p:custDataLst>
              <p:tags r:id="rId3"/>
            </p:custDataLst>
          </p:nvPr>
        </p:nvPicPr>
        <p:blipFill>
          <a:blip r:embed="rId13" cstate="print">
            <a:extLst>
              <a:ext uri="{28A0092B-C50C-407E-A947-70E740481C1C}">
                <a14:useLocalDpi xmlns:a14="http://schemas.microsoft.com/office/drawing/2010/main" val="0"/>
              </a:ext>
            </a:extLst>
          </a:blip>
          <a:srcRect l="6570" t="12384" b="18970"/>
          <a:stretch>
            <a:fillRect/>
          </a:stretch>
        </p:blipFill>
        <p:spPr bwMode="gray">
          <a:xfrm>
            <a:off x="142269" y="1213463"/>
            <a:ext cx="1573237" cy="950208"/>
          </a:xfrm>
          <a:prstGeom prst="rect">
            <a:avLst/>
          </a:prstGeom>
          <a:noFill/>
          <a:extLst>
            <a:ext uri="{909E8E84-426E-40DD-AFC4-6F175D3DCCD1}">
              <a14:hiddenFill xmlns:a14="http://schemas.microsoft.com/office/drawing/2010/main">
                <a:solidFill>
                  <a:srgbClr val="FFFFFF"/>
                </a:solidFill>
              </a14:hiddenFill>
            </a:ext>
          </a:extLst>
        </p:spPr>
      </p:pic>
      <p:grpSp>
        <p:nvGrpSpPr>
          <p:cNvPr id="44" name="Group 43"/>
          <p:cNvGrpSpPr/>
          <p:nvPr/>
        </p:nvGrpSpPr>
        <p:grpSpPr>
          <a:xfrm>
            <a:off x="1419216" y="3068883"/>
            <a:ext cx="5604545" cy="981762"/>
            <a:chOff x="1127760" y="2295778"/>
            <a:chExt cx="7101840" cy="458681"/>
          </a:xfrm>
        </p:grpSpPr>
        <p:sp>
          <p:nvSpPr>
            <p:cNvPr id="21" name="Rectangle 52"/>
            <p:cNvSpPr>
              <a:spLocks noChangeArrowheads="1"/>
            </p:cNvSpPr>
            <p:nvPr>
              <p:custDataLst>
                <p:tags r:id="rId10"/>
              </p:custDataLst>
            </p:nvPr>
          </p:nvSpPr>
          <p:spPr bwMode="gray">
            <a:xfrm>
              <a:off x="1127760" y="2295778"/>
              <a:ext cx="7101840" cy="458681"/>
            </a:xfrm>
            <a:prstGeom prst="rect">
              <a:avLst/>
            </a:prstGeom>
            <a:solidFill>
              <a:srgbClr val="EAEAE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sz="2200" b="1" dirty="0">
                <a:solidFill>
                  <a:srgbClr val="000000"/>
                </a:solidFill>
              </a:endParaRPr>
            </a:p>
          </p:txBody>
        </p:sp>
        <p:sp>
          <p:nvSpPr>
            <p:cNvPr id="22" name="Rectangle 53"/>
            <p:cNvSpPr>
              <a:spLocks noChangeArrowheads="1"/>
            </p:cNvSpPr>
            <p:nvPr>
              <p:custDataLst>
                <p:tags r:id="rId11"/>
              </p:custDataLst>
            </p:nvPr>
          </p:nvSpPr>
          <p:spPr bwMode="gray">
            <a:xfrm>
              <a:off x="1279513" y="2366945"/>
              <a:ext cx="6868800" cy="316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14303"/>
              <a:r>
                <a:rPr lang="en-GB" sz="2200" b="1" dirty="0">
                  <a:solidFill>
                    <a:srgbClr val="000000"/>
                  </a:solidFill>
                </a:rPr>
                <a:t>Transformational Shifts Reshaping the Future of Mobility</a:t>
              </a:r>
            </a:p>
          </p:txBody>
        </p:sp>
      </p:grpSp>
      <p:grpSp>
        <p:nvGrpSpPr>
          <p:cNvPr id="45" name="Group 44"/>
          <p:cNvGrpSpPr/>
          <p:nvPr/>
        </p:nvGrpSpPr>
        <p:grpSpPr>
          <a:xfrm>
            <a:off x="1419216" y="4108513"/>
            <a:ext cx="5604545" cy="981762"/>
            <a:chOff x="1127760" y="2854578"/>
            <a:chExt cx="7101840" cy="458681"/>
          </a:xfrm>
        </p:grpSpPr>
        <p:sp>
          <p:nvSpPr>
            <p:cNvPr id="24" name="Rectangle 52"/>
            <p:cNvSpPr>
              <a:spLocks noChangeArrowheads="1"/>
            </p:cNvSpPr>
            <p:nvPr>
              <p:custDataLst>
                <p:tags r:id="rId8"/>
              </p:custDataLst>
            </p:nvPr>
          </p:nvSpPr>
          <p:spPr bwMode="gray">
            <a:xfrm>
              <a:off x="1127760" y="2854578"/>
              <a:ext cx="7101840" cy="458681"/>
            </a:xfrm>
            <a:prstGeom prst="rect">
              <a:avLst/>
            </a:prstGeom>
            <a:solidFill>
              <a:srgbClr val="EAEAE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sz="2200" b="1" dirty="0">
                <a:solidFill>
                  <a:srgbClr val="000000"/>
                </a:solidFill>
              </a:endParaRPr>
            </a:p>
          </p:txBody>
        </p:sp>
        <p:sp>
          <p:nvSpPr>
            <p:cNvPr id="25" name="Rectangle 53"/>
            <p:cNvSpPr>
              <a:spLocks noChangeArrowheads="1"/>
            </p:cNvSpPr>
            <p:nvPr>
              <p:custDataLst>
                <p:tags r:id="rId9"/>
              </p:custDataLst>
            </p:nvPr>
          </p:nvSpPr>
          <p:spPr bwMode="gray">
            <a:xfrm>
              <a:off x="1279513" y="3004832"/>
              <a:ext cx="6868800" cy="15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14303"/>
              <a:r>
                <a:rPr lang="en-US" sz="2200" b="1" dirty="0">
                  <a:solidFill>
                    <a:srgbClr val="000000"/>
                  </a:solidFill>
                </a:rPr>
                <a:t>Conclusions</a:t>
              </a:r>
            </a:p>
          </p:txBody>
        </p:sp>
      </p:grpSp>
      <p:grpSp>
        <p:nvGrpSpPr>
          <p:cNvPr id="46" name="Group 45"/>
          <p:cNvGrpSpPr/>
          <p:nvPr/>
        </p:nvGrpSpPr>
        <p:grpSpPr>
          <a:xfrm>
            <a:off x="1419216" y="5148141"/>
            <a:ext cx="5604545" cy="981762"/>
            <a:chOff x="1127760" y="3313259"/>
            <a:chExt cx="7101840" cy="458681"/>
          </a:xfrm>
        </p:grpSpPr>
        <p:sp>
          <p:nvSpPr>
            <p:cNvPr id="27" name="Rectangle 52"/>
            <p:cNvSpPr>
              <a:spLocks noChangeArrowheads="1"/>
            </p:cNvSpPr>
            <p:nvPr>
              <p:custDataLst>
                <p:tags r:id="rId6"/>
              </p:custDataLst>
            </p:nvPr>
          </p:nvSpPr>
          <p:spPr bwMode="gray">
            <a:xfrm>
              <a:off x="1127760" y="3313259"/>
              <a:ext cx="7101840" cy="458681"/>
            </a:xfrm>
            <a:prstGeom prst="rect">
              <a:avLst/>
            </a:prstGeom>
            <a:solidFill>
              <a:srgbClr val="EAEAE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sz="2200" b="1" dirty="0">
                <a:solidFill>
                  <a:srgbClr val="000000"/>
                </a:solidFill>
              </a:endParaRPr>
            </a:p>
          </p:txBody>
        </p:sp>
        <p:sp>
          <p:nvSpPr>
            <p:cNvPr id="28" name="Rectangle 53"/>
            <p:cNvSpPr>
              <a:spLocks noChangeArrowheads="1"/>
            </p:cNvSpPr>
            <p:nvPr>
              <p:custDataLst>
                <p:tags r:id="rId7"/>
              </p:custDataLst>
            </p:nvPr>
          </p:nvSpPr>
          <p:spPr bwMode="gray">
            <a:xfrm>
              <a:off x="1279513" y="3463513"/>
              <a:ext cx="6868800" cy="15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14303"/>
              <a:r>
                <a:rPr lang="en-IN" sz="2200" b="1" dirty="0" smtClean="0">
                  <a:solidFill>
                    <a:srgbClr val="000000"/>
                  </a:solidFill>
                </a:rPr>
                <a:t>Contact Us</a:t>
              </a:r>
              <a:endParaRPr lang="en-IN" sz="2200" b="1" dirty="0">
                <a:solidFill>
                  <a:srgbClr val="000000"/>
                </a:solidFill>
              </a:endParaRPr>
            </a:p>
          </p:txBody>
        </p:sp>
      </p:grpSp>
      <p:grpSp>
        <p:nvGrpSpPr>
          <p:cNvPr id="52" name="Group 51"/>
          <p:cNvGrpSpPr/>
          <p:nvPr/>
        </p:nvGrpSpPr>
        <p:grpSpPr>
          <a:xfrm>
            <a:off x="1419216" y="2029253"/>
            <a:ext cx="5604545" cy="981762"/>
            <a:chOff x="1127760" y="2295778"/>
            <a:chExt cx="7101840" cy="458681"/>
          </a:xfrm>
        </p:grpSpPr>
        <p:sp>
          <p:nvSpPr>
            <p:cNvPr id="53" name="Rectangle 52"/>
            <p:cNvSpPr>
              <a:spLocks noChangeArrowheads="1"/>
            </p:cNvSpPr>
            <p:nvPr>
              <p:custDataLst>
                <p:tags r:id="rId4"/>
              </p:custDataLst>
            </p:nvPr>
          </p:nvSpPr>
          <p:spPr bwMode="gray">
            <a:xfrm>
              <a:off x="1127760" y="2295778"/>
              <a:ext cx="7101840" cy="458681"/>
            </a:xfrm>
            <a:prstGeom prst="rect">
              <a:avLst/>
            </a:prstGeom>
            <a:solidFill>
              <a:srgbClr val="EAEAE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sz="2200" b="1" dirty="0">
                <a:solidFill>
                  <a:srgbClr val="000000"/>
                </a:solidFill>
              </a:endParaRPr>
            </a:p>
          </p:txBody>
        </p:sp>
        <p:sp>
          <p:nvSpPr>
            <p:cNvPr id="54" name="Rectangle 53"/>
            <p:cNvSpPr>
              <a:spLocks noChangeArrowheads="1"/>
            </p:cNvSpPr>
            <p:nvPr>
              <p:custDataLst>
                <p:tags r:id="rId5"/>
              </p:custDataLst>
            </p:nvPr>
          </p:nvSpPr>
          <p:spPr bwMode="gray">
            <a:xfrm>
              <a:off x="1279513" y="2446032"/>
              <a:ext cx="6868800" cy="15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914303"/>
              <a:r>
                <a:rPr lang="en-US" sz="2200" b="1" dirty="0" smtClean="0">
                  <a:solidFill>
                    <a:srgbClr val="000000"/>
                  </a:solidFill>
                </a:rPr>
                <a:t>Introduction</a:t>
              </a:r>
              <a:endParaRPr lang="en-US" sz="2200" b="1" dirty="0">
                <a:solidFill>
                  <a:srgbClr val="000000"/>
                </a:solidFill>
              </a:endParaRPr>
            </a:p>
          </p:txBody>
        </p:sp>
      </p:grpSp>
    </p:spTree>
    <p:extLst>
      <p:ext uri="{BB962C8B-B14F-4D97-AF65-F5344CB8AC3E}">
        <p14:creationId xmlns:p14="http://schemas.microsoft.com/office/powerpoint/2010/main" val="24736510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70677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chemeClr val="tx2"/>
                </a:solidFill>
                <a:ea typeface="Cambria Math" pitchFamily="18" charset="0"/>
              </a:rPr>
              <a:t>Top Transformational Shifts Expected to Shape the Future of </a:t>
            </a:r>
            <a:r>
              <a:rPr lang="en-IN" sz="2000" dirty="0" smtClean="0">
                <a:solidFill>
                  <a:schemeClr val="tx2"/>
                </a:solidFill>
                <a:ea typeface="Cambria Math" pitchFamily="18" charset="0"/>
              </a:rPr>
              <a:t>Mobility</a:t>
            </a:r>
          </a:p>
          <a:p>
            <a:r>
              <a:rPr lang="en-IN" sz="2000" b="0" dirty="0" smtClean="0">
                <a:solidFill>
                  <a:schemeClr val="tx2"/>
                </a:solidFill>
                <a:ea typeface="Cambria Math" pitchFamily="18" charset="0"/>
              </a:rPr>
              <a:t>- </a:t>
            </a:r>
            <a:r>
              <a:rPr lang="en-IN" sz="2000" kern="0" dirty="0">
                <a:solidFill>
                  <a:schemeClr val="tx2"/>
                </a:solidFill>
              </a:rPr>
              <a:t>Convergence in Corporate </a:t>
            </a:r>
            <a:r>
              <a:rPr lang="en-IN" sz="2000" kern="0" dirty="0" smtClean="0">
                <a:solidFill>
                  <a:schemeClr val="tx2"/>
                </a:solidFill>
              </a:rPr>
              <a:t>Mobility</a:t>
            </a:r>
            <a:endParaRPr lang="en-IN" sz="2000" kern="0" dirty="0">
              <a:solidFill>
                <a:schemeClr val="tx2"/>
              </a:solidFill>
            </a:endParaRPr>
          </a:p>
        </p:txBody>
      </p:sp>
      <p:pic>
        <p:nvPicPr>
          <p:cNvPr id="54" name="Picture 3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8894" y="3793897"/>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221" name="Picture 2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1355"/>
          <a:stretch/>
        </p:blipFill>
        <p:spPr bwMode="auto">
          <a:xfrm>
            <a:off x="251520" y="1249562"/>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49"/>
          <p:cNvSpPr/>
          <p:nvPr/>
        </p:nvSpPr>
        <p:spPr>
          <a:xfrm>
            <a:off x="3258421" y="1249562"/>
            <a:ext cx="152116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US" sz="1400" b="1" kern="0" dirty="0">
                <a:solidFill>
                  <a:srgbClr val="FFFFFF"/>
                </a:solidFill>
              </a:rPr>
              <a:t>Connected </a:t>
            </a:r>
            <a:r>
              <a:rPr lang="en-US" sz="1400" b="1" kern="0" dirty="0" smtClean="0">
                <a:solidFill>
                  <a:srgbClr val="FFFFFF"/>
                </a:solidFill>
              </a:rPr>
              <a:t>and Automated Mobility </a:t>
            </a:r>
            <a:endParaRPr lang="en-US" sz="1400" b="1" kern="0" dirty="0">
              <a:solidFill>
                <a:srgbClr val="FFFFFF"/>
              </a:solidFill>
            </a:endParaRPr>
          </a:p>
        </p:txBody>
      </p:sp>
      <p:sp>
        <p:nvSpPr>
          <p:cNvPr id="60" name="Rectangle 59"/>
          <p:cNvSpPr/>
          <p:nvPr/>
        </p:nvSpPr>
        <p:spPr>
          <a:xfrm>
            <a:off x="3255641" y="3795724"/>
            <a:ext cx="152394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Convergence in </a:t>
            </a:r>
            <a:r>
              <a:rPr lang="en-IN" sz="1400" b="1" kern="0" dirty="0" smtClean="0">
                <a:solidFill>
                  <a:srgbClr val="FFFFFF"/>
                </a:solidFill>
              </a:rPr>
              <a:t>Corporate Mobility</a:t>
            </a:r>
            <a:endParaRPr lang="en-IN" sz="1400" b="1" kern="0" dirty="0">
              <a:solidFill>
                <a:srgbClr val="FFFFFF"/>
              </a:solidFill>
            </a:endParaRPr>
          </a:p>
        </p:txBody>
      </p:sp>
      <p:grpSp>
        <p:nvGrpSpPr>
          <p:cNvPr id="6" name="Group 5"/>
          <p:cNvGrpSpPr/>
          <p:nvPr/>
        </p:nvGrpSpPr>
        <p:grpSpPr>
          <a:xfrm>
            <a:off x="5394912" y="1397532"/>
            <a:ext cx="1687108" cy="2165616"/>
            <a:chOff x="2962459" y="1354206"/>
            <a:chExt cx="1232348" cy="1459174"/>
          </a:xfrm>
        </p:grpSpPr>
        <p:pic>
          <p:nvPicPr>
            <p:cNvPr id="180245" name="Picture 21" descr="http://cdn.bgr.com/2012/11/mobile-icon.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2446" r="22446"/>
            <a:stretch/>
          </p:blipFill>
          <p:spPr bwMode="auto">
            <a:xfrm>
              <a:off x="2962459" y="1354206"/>
              <a:ext cx="1232348" cy="145917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3155341" y="1499340"/>
              <a:ext cx="846584" cy="1246610"/>
              <a:chOff x="5118447" y="4060031"/>
              <a:chExt cx="846584" cy="1246610"/>
            </a:xfrm>
          </p:grpSpPr>
          <p:pic>
            <p:nvPicPr>
              <p:cNvPr id="180243" name="Picture 19" descr="http://img.click.in/classifieds/images/148/3_9_2011_10_34_9036_air_booking_tour_250x250.gif"/>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13" t="1504" r="1913" b="1504"/>
              <a:stretch/>
            </p:blipFill>
            <p:spPr bwMode="auto">
              <a:xfrm>
                <a:off x="5118447" y="4060031"/>
                <a:ext cx="846584" cy="1075052"/>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flipV="1">
                <a:off x="5487739" y="5198641"/>
                <a:ext cx="108000" cy="108000"/>
              </a:xfrm>
              <a:prstGeom prst="ellipse">
                <a:avLst/>
              </a:prstGeom>
              <a:solidFill>
                <a:schemeClr val="bg1"/>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grpSp>
      </p:grpSp>
      <p:sp>
        <p:nvSpPr>
          <p:cNvPr id="39" name="Snip and Round Single Corner Rectangle 38"/>
          <p:cNvSpPr/>
          <p:nvPr/>
        </p:nvSpPr>
        <p:spPr>
          <a:xfrm>
            <a:off x="4894540" y="3795725"/>
            <a:ext cx="2687852" cy="2459731"/>
          </a:xfrm>
          <a:prstGeom prst="snipRoundRect">
            <a:avLst>
              <a:gd name="adj1" fmla="val 0"/>
              <a:gd name="adj2" fmla="val 0"/>
            </a:avLst>
          </a:prstGeom>
          <a:blipFill dpi="0" rotWithShape="1">
            <a:blip r:embed="rId11"/>
            <a:srcRect/>
            <a:stretch>
              <a:fillRect/>
            </a:stretch>
          </a:blipFill>
          <a:ln w="25400" cap="flat" cmpd="sng" algn="ctr">
            <a:noFill/>
            <a:prstDash val="solid"/>
          </a:ln>
          <a:effectLst>
            <a:outerShdw blurRad="149987" dist="250190" dir="8460000" algn="ctr">
              <a:srgbClr val="000000">
                <a:alpha val="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defRPr/>
            </a:pPr>
            <a:endParaRPr lang="en-US" sz="1200" kern="0" dirty="0">
              <a:solidFill>
                <a:srgbClr val="000000"/>
              </a:solidFill>
              <a:latin typeface="Calibri"/>
              <a:cs typeface="Arial" pitchFamily="34" charset="0"/>
            </a:endParaRPr>
          </a:p>
        </p:txBody>
      </p:sp>
      <p:sp>
        <p:nvSpPr>
          <p:cNvPr id="63" name="Rectangle 62"/>
          <p:cNvSpPr/>
          <p:nvPr/>
        </p:nvSpPr>
        <p:spPr>
          <a:xfrm>
            <a:off x="7565767" y="3795724"/>
            <a:ext cx="1319064" cy="2459732"/>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Automated Driving</a:t>
            </a:r>
          </a:p>
        </p:txBody>
      </p:sp>
      <p:sp>
        <p:nvSpPr>
          <p:cNvPr id="41" name="Rectangle 40"/>
          <p:cNvSpPr/>
          <p:nvPr/>
        </p:nvSpPr>
        <p:spPr>
          <a:xfrm>
            <a:off x="7565767" y="1249562"/>
            <a:ext cx="1319064"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Mobility Integration</a:t>
            </a:r>
          </a:p>
        </p:txBody>
      </p:sp>
      <p:sp>
        <p:nvSpPr>
          <p:cNvPr id="5" name="Rectangle 4"/>
          <p:cNvSpPr/>
          <p:nvPr/>
        </p:nvSpPr>
        <p:spPr>
          <a:xfrm>
            <a:off x="4779588" y="1249562"/>
            <a:ext cx="4135812" cy="2461559"/>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
        <p:nvSpPr>
          <p:cNvPr id="17" name="Rectangle 16"/>
          <p:cNvSpPr/>
          <p:nvPr/>
        </p:nvSpPr>
        <p:spPr>
          <a:xfrm>
            <a:off x="4779588" y="3711121"/>
            <a:ext cx="4135812" cy="2612357"/>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
        <p:nvSpPr>
          <p:cNvPr id="18" name="Rectangle 17"/>
          <p:cNvSpPr/>
          <p:nvPr/>
        </p:nvSpPr>
        <p:spPr>
          <a:xfrm>
            <a:off x="221628" y="1196752"/>
            <a:ext cx="4672912" cy="2545038"/>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Tree>
    <p:extLst>
      <p:ext uri="{BB962C8B-B14F-4D97-AF65-F5344CB8AC3E}">
        <p14:creationId xmlns:p14="http://schemas.microsoft.com/office/powerpoint/2010/main" val="9275075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34353" y="1397001"/>
            <a:ext cx="4940075" cy="4758140"/>
          </a:xfrm>
          <a:prstGeom prst="rect">
            <a:avLst/>
          </a:prstGeom>
          <a:noFill/>
        </p:spPr>
        <p:txBody>
          <a:bodyPr/>
          <a:lstStyle/>
          <a:p>
            <a:endParaRPr lang="en-IN">
              <a:solidFill>
                <a:srgbClr val="000000"/>
              </a:solidFill>
            </a:endParaRPr>
          </a:p>
        </p:txBody>
      </p:sp>
      <p:sp>
        <p:nvSpPr>
          <p:cNvPr id="16" name="Freeform 15"/>
          <p:cNvSpPr/>
          <p:nvPr/>
        </p:nvSpPr>
        <p:spPr>
          <a:xfrm>
            <a:off x="234353" y="1397001"/>
            <a:ext cx="4940075" cy="1486918"/>
          </a:xfrm>
          <a:custGeom>
            <a:avLst/>
            <a:gdLst>
              <a:gd name="connsiteX0" fmla="*/ 0 w 4940075"/>
              <a:gd name="connsiteY0" fmla="*/ 148692 h 1486918"/>
              <a:gd name="connsiteX1" fmla="*/ 148692 w 4940075"/>
              <a:gd name="connsiteY1" fmla="*/ 0 h 1486918"/>
              <a:gd name="connsiteX2" fmla="*/ 4791383 w 4940075"/>
              <a:gd name="connsiteY2" fmla="*/ 0 h 1486918"/>
              <a:gd name="connsiteX3" fmla="*/ 4940075 w 4940075"/>
              <a:gd name="connsiteY3" fmla="*/ 148692 h 1486918"/>
              <a:gd name="connsiteX4" fmla="*/ 4940075 w 4940075"/>
              <a:gd name="connsiteY4" fmla="*/ 1338226 h 1486918"/>
              <a:gd name="connsiteX5" fmla="*/ 4791383 w 4940075"/>
              <a:gd name="connsiteY5" fmla="*/ 1486918 h 1486918"/>
              <a:gd name="connsiteX6" fmla="*/ 148692 w 4940075"/>
              <a:gd name="connsiteY6" fmla="*/ 1486918 h 1486918"/>
              <a:gd name="connsiteX7" fmla="*/ 0 w 4940075"/>
              <a:gd name="connsiteY7" fmla="*/ 1338226 h 1486918"/>
              <a:gd name="connsiteX8" fmla="*/ 0 w 4940075"/>
              <a:gd name="connsiteY8" fmla="*/ 148692 h 148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0075" h="1486918">
                <a:moveTo>
                  <a:pt x="0" y="148692"/>
                </a:moveTo>
                <a:cubicBezTo>
                  <a:pt x="0" y="66572"/>
                  <a:pt x="66572" y="0"/>
                  <a:pt x="148692" y="0"/>
                </a:cubicBezTo>
                <a:lnTo>
                  <a:pt x="4791383" y="0"/>
                </a:lnTo>
                <a:cubicBezTo>
                  <a:pt x="4873503" y="0"/>
                  <a:pt x="4940075" y="66572"/>
                  <a:pt x="4940075" y="148692"/>
                </a:cubicBezTo>
                <a:lnTo>
                  <a:pt x="4940075" y="1338226"/>
                </a:lnTo>
                <a:cubicBezTo>
                  <a:pt x="4940075" y="1420346"/>
                  <a:pt x="4873503" y="1486918"/>
                  <a:pt x="4791383" y="1486918"/>
                </a:cubicBezTo>
                <a:lnTo>
                  <a:pt x="148692" y="1486918"/>
                </a:lnTo>
                <a:cubicBezTo>
                  <a:pt x="66572" y="1486918"/>
                  <a:pt x="0" y="1420346"/>
                  <a:pt x="0" y="1338226"/>
                </a:cubicBezTo>
                <a:lnTo>
                  <a:pt x="0" y="148692"/>
                </a:lnTo>
                <a:close/>
              </a:path>
            </a:pathLst>
          </a:custGeom>
          <a:solidFill>
            <a:schemeClr val="accent1"/>
          </a:solidFill>
        </p:spPr>
        <p:style>
          <a:lnRef idx="1">
            <a:schemeClr val="accent1"/>
          </a:lnRef>
          <a:fillRef idx="3">
            <a:schemeClr val="accent1"/>
          </a:fillRef>
          <a:effectRef idx="2">
            <a:schemeClr val="accent1"/>
          </a:effectRef>
          <a:fontRef idx="minor">
            <a:schemeClr val="lt1"/>
          </a:fontRef>
        </p:style>
        <p:txBody>
          <a:bodyPr spcFirstLastPara="0" vert="horz" wrap="square" lIns="1197666" tIns="60960" rIns="60961" bIns="60960" numCol="1" spcCol="1270" anchor="ctr" anchorCtr="0">
            <a:noAutofit/>
          </a:bodyPr>
          <a:lstStyle/>
          <a:p>
            <a:pPr marL="85725" defTabSz="711200">
              <a:lnSpc>
                <a:spcPct val="90000"/>
              </a:lnSpc>
              <a:spcBef>
                <a:spcPct val="0"/>
              </a:spcBef>
              <a:spcAft>
                <a:spcPct val="35000"/>
              </a:spcAft>
            </a:pPr>
            <a:r>
              <a:rPr lang="en-GB" sz="1600" b="1" dirty="0">
                <a:solidFill>
                  <a:srgbClr val="06325C"/>
                </a:solidFill>
              </a:rPr>
              <a:t>Total Cost of OWNERSHIP</a:t>
            </a:r>
          </a:p>
          <a:p>
            <a:pPr marL="85725" lvl="1" defTabSz="622300">
              <a:spcBef>
                <a:spcPct val="0"/>
              </a:spcBef>
              <a:spcAft>
                <a:spcPct val="15000"/>
              </a:spcAft>
              <a:buFontTx/>
              <a:buChar char="••"/>
            </a:pPr>
            <a:r>
              <a:rPr lang="en-GB" sz="1400" dirty="0">
                <a:solidFill>
                  <a:srgbClr val="000000"/>
                </a:solidFill>
              </a:rPr>
              <a:t>  Running Core Fleet &amp; Keeping Company </a:t>
            </a:r>
            <a:br>
              <a:rPr lang="en-GB" sz="1400" dirty="0">
                <a:solidFill>
                  <a:srgbClr val="000000"/>
                </a:solidFill>
              </a:rPr>
            </a:br>
            <a:r>
              <a:rPr lang="en-GB" sz="1400" dirty="0">
                <a:solidFill>
                  <a:srgbClr val="000000"/>
                </a:solidFill>
              </a:rPr>
              <a:t>   Drivers Informed</a:t>
            </a:r>
          </a:p>
        </p:txBody>
      </p:sp>
      <p:sp>
        <p:nvSpPr>
          <p:cNvPr id="17" name="Rounded Rectangle 16"/>
          <p:cNvSpPr/>
          <p:nvPr/>
        </p:nvSpPr>
        <p:spPr>
          <a:xfrm>
            <a:off x="383044" y="1545692"/>
            <a:ext cx="988015" cy="1189534"/>
          </a:xfrm>
          <a:prstGeom prst="roundRect">
            <a:avLst>
              <a:gd name="adj" fmla="val 10000"/>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18" name="Freeform 17"/>
          <p:cNvSpPr/>
          <p:nvPr/>
        </p:nvSpPr>
        <p:spPr>
          <a:xfrm>
            <a:off x="234353" y="3032611"/>
            <a:ext cx="4940075" cy="1486918"/>
          </a:xfrm>
          <a:custGeom>
            <a:avLst/>
            <a:gdLst>
              <a:gd name="connsiteX0" fmla="*/ 0 w 4940075"/>
              <a:gd name="connsiteY0" fmla="*/ 148692 h 1486918"/>
              <a:gd name="connsiteX1" fmla="*/ 148692 w 4940075"/>
              <a:gd name="connsiteY1" fmla="*/ 0 h 1486918"/>
              <a:gd name="connsiteX2" fmla="*/ 4791383 w 4940075"/>
              <a:gd name="connsiteY2" fmla="*/ 0 h 1486918"/>
              <a:gd name="connsiteX3" fmla="*/ 4940075 w 4940075"/>
              <a:gd name="connsiteY3" fmla="*/ 148692 h 1486918"/>
              <a:gd name="connsiteX4" fmla="*/ 4940075 w 4940075"/>
              <a:gd name="connsiteY4" fmla="*/ 1338226 h 1486918"/>
              <a:gd name="connsiteX5" fmla="*/ 4791383 w 4940075"/>
              <a:gd name="connsiteY5" fmla="*/ 1486918 h 1486918"/>
              <a:gd name="connsiteX6" fmla="*/ 148692 w 4940075"/>
              <a:gd name="connsiteY6" fmla="*/ 1486918 h 1486918"/>
              <a:gd name="connsiteX7" fmla="*/ 0 w 4940075"/>
              <a:gd name="connsiteY7" fmla="*/ 1338226 h 1486918"/>
              <a:gd name="connsiteX8" fmla="*/ 0 w 4940075"/>
              <a:gd name="connsiteY8" fmla="*/ 148692 h 148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0075" h="1486918">
                <a:moveTo>
                  <a:pt x="0" y="148692"/>
                </a:moveTo>
                <a:cubicBezTo>
                  <a:pt x="0" y="66572"/>
                  <a:pt x="66572" y="0"/>
                  <a:pt x="148692" y="0"/>
                </a:cubicBezTo>
                <a:lnTo>
                  <a:pt x="4791383" y="0"/>
                </a:lnTo>
                <a:cubicBezTo>
                  <a:pt x="4873503" y="0"/>
                  <a:pt x="4940075" y="66572"/>
                  <a:pt x="4940075" y="148692"/>
                </a:cubicBezTo>
                <a:lnTo>
                  <a:pt x="4940075" y="1338226"/>
                </a:lnTo>
                <a:cubicBezTo>
                  <a:pt x="4940075" y="1420346"/>
                  <a:pt x="4873503" y="1486918"/>
                  <a:pt x="4791383" y="1486918"/>
                </a:cubicBezTo>
                <a:lnTo>
                  <a:pt x="148692" y="1486918"/>
                </a:lnTo>
                <a:cubicBezTo>
                  <a:pt x="66572" y="1486918"/>
                  <a:pt x="0" y="1420346"/>
                  <a:pt x="0" y="1338226"/>
                </a:cubicBezTo>
                <a:lnTo>
                  <a:pt x="0" y="148692"/>
                </a:lnTo>
                <a:close/>
              </a:path>
            </a:pathLst>
          </a:custGeom>
          <a:solidFill>
            <a:schemeClr val="accent1"/>
          </a:solidFill>
        </p:spPr>
        <p:style>
          <a:lnRef idx="1">
            <a:schemeClr val="accent1"/>
          </a:lnRef>
          <a:fillRef idx="3">
            <a:schemeClr val="accent1"/>
          </a:fillRef>
          <a:effectRef idx="2">
            <a:schemeClr val="accent1"/>
          </a:effectRef>
          <a:fontRef idx="minor">
            <a:schemeClr val="lt1"/>
          </a:fontRef>
        </p:style>
        <p:txBody>
          <a:bodyPr spcFirstLastPara="0" vert="horz" wrap="square" lIns="1197666" tIns="60960" rIns="60961" bIns="60960" numCol="1" spcCol="1270" anchor="ctr" anchorCtr="0">
            <a:noAutofit/>
          </a:bodyPr>
          <a:lstStyle/>
          <a:p>
            <a:pPr marL="85725" defTabSz="711200">
              <a:lnSpc>
                <a:spcPct val="90000"/>
              </a:lnSpc>
              <a:spcBef>
                <a:spcPct val="0"/>
              </a:spcBef>
              <a:spcAft>
                <a:spcPct val="35000"/>
              </a:spcAft>
            </a:pPr>
            <a:r>
              <a:rPr lang="en-GB" sz="1600" b="1" dirty="0">
                <a:solidFill>
                  <a:srgbClr val="06325C"/>
                </a:solidFill>
              </a:rPr>
              <a:t>Total Cost of USERSHIP</a:t>
            </a:r>
          </a:p>
          <a:p>
            <a:pPr marL="85725" lvl="1" defTabSz="622300">
              <a:spcBef>
                <a:spcPct val="0"/>
              </a:spcBef>
              <a:spcAft>
                <a:spcPct val="15000"/>
              </a:spcAft>
              <a:buFontTx/>
              <a:buChar char="••"/>
            </a:pPr>
            <a:r>
              <a:rPr lang="en-GB" sz="1400" dirty="0">
                <a:solidFill>
                  <a:srgbClr val="000000"/>
                </a:solidFill>
              </a:rPr>
              <a:t>  Managing Overall Fleet &amp; Educating All </a:t>
            </a:r>
            <a:br>
              <a:rPr lang="en-GB" sz="1400" dirty="0">
                <a:solidFill>
                  <a:srgbClr val="000000"/>
                </a:solidFill>
              </a:rPr>
            </a:br>
            <a:r>
              <a:rPr lang="en-GB" sz="1400" dirty="0">
                <a:solidFill>
                  <a:srgbClr val="000000"/>
                </a:solidFill>
              </a:rPr>
              <a:t>   Company Drivers </a:t>
            </a:r>
          </a:p>
        </p:txBody>
      </p:sp>
      <p:sp>
        <p:nvSpPr>
          <p:cNvPr id="19" name="Rounded Rectangle 18"/>
          <p:cNvSpPr/>
          <p:nvPr/>
        </p:nvSpPr>
        <p:spPr>
          <a:xfrm>
            <a:off x="383044" y="3181303"/>
            <a:ext cx="988015" cy="1189534"/>
          </a:xfrm>
          <a:prstGeom prst="roundRect">
            <a:avLst>
              <a:gd name="adj" fmla="val 10000"/>
            </a:avLst>
          </a:prstGeom>
          <a:blipFill rotWithShape="0">
            <a:blip r:embed="rId4"/>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20" name="Freeform 19"/>
          <p:cNvSpPr/>
          <p:nvPr/>
        </p:nvSpPr>
        <p:spPr>
          <a:xfrm>
            <a:off x="234353" y="4668222"/>
            <a:ext cx="4940075" cy="1486918"/>
          </a:xfrm>
          <a:custGeom>
            <a:avLst/>
            <a:gdLst>
              <a:gd name="connsiteX0" fmla="*/ 0 w 4940075"/>
              <a:gd name="connsiteY0" fmla="*/ 148692 h 1486918"/>
              <a:gd name="connsiteX1" fmla="*/ 148692 w 4940075"/>
              <a:gd name="connsiteY1" fmla="*/ 0 h 1486918"/>
              <a:gd name="connsiteX2" fmla="*/ 4791383 w 4940075"/>
              <a:gd name="connsiteY2" fmla="*/ 0 h 1486918"/>
              <a:gd name="connsiteX3" fmla="*/ 4940075 w 4940075"/>
              <a:gd name="connsiteY3" fmla="*/ 148692 h 1486918"/>
              <a:gd name="connsiteX4" fmla="*/ 4940075 w 4940075"/>
              <a:gd name="connsiteY4" fmla="*/ 1338226 h 1486918"/>
              <a:gd name="connsiteX5" fmla="*/ 4791383 w 4940075"/>
              <a:gd name="connsiteY5" fmla="*/ 1486918 h 1486918"/>
              <a:gd name="connsiteX6" fmla="*/ 148692 w 4940075"/>
              <a:gd name="connsiteY6" fmla="*/ 1486918 h 1486918"/>
              <a:gd name="connsiteX7" fmla="*/ 0 w 4940075"/>
              <a:gd name="connsiteY7" fmla="*/ 1338226 h 1486918"/>
              <a:gd name="connsiteX8" fmla="*/ 0 w 4940075"/>
              <a:gd name="connsiteY8" fmla="*/ 148692 h 148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0075" h="1486918">
                <a:moveTo>
                  <a:pt x="0" y="148692"/>
                </a:moveTo>
                <a:cubicBezTo>
                  <a:pt x="0" y="66572"/>
                  <a:pt x="66572" y="0"/>
                  <a:pt x="148692" y="0"/>
                </a:cubicBezTo>
                <a:lnTo>
                  <a:pt x="4791383" y="0"/>
                </a:lnTo>
                <a:cubicBezTo>
                  <a:pt x="4873503" y="0"/>
                  <a:pt x="4940075" y="66572"/>
                  <a:pt x="4940075" y="148692"/>
                </a:cubicBezTo>
                <a:lnTo>
                  <a:pt x="4940075" y="1338226"/>
                </a:lnTo>
                <a:cubicBezTo>
                  <a:pt x="4940075" y="1420346"/>
                  <a:pt x="4873503" y="1486918"/>
                  <a:pt x="4791383" y="1486918"/>
                </a:cubicBezTo>
                <a:lnTo>
                  <a:pt x="148692" y="1486918"/>
                </a:lnTo>
                <a:cubicBezTo>
                  <a:pt x="66572" y="1486918"/>
                  <a:pt x="0" y="1420346"/>
                  <a:pt x="0" y="1338226"/>
                </a:cubicBezTo>
                <a:lnTo>
                  <a:pt x="0" y="148692"/>
                </a:lnTo>
                <a:close/>
              </a:path>
            </a:pathLst>
          </a:custGeom>
          <a:solidFill>
            <a:schemeClr val="accent1"/>
          </a:solidFill>
        </p:spPr>
        <p:style>
          <a:lnRef idx="1">
            <a:schemeClr val="accent1"/>
          </a:lnRef>
          <a:fillRef idx="3">
            <a:schemeClr val="accent1"/>
          </a:fillRef>
          <a:effectRef idx="2">
            <a:schemeClr val="accent1"/>
          </a:effectRef>
          <a:fontRef idx="minor">
            <a:schemeClr val="lt1"/>
          </a:fontRef>
        </p:style>
        <p:txBody>
          <a:bodyPr spcFirstLastPara="0" vert="horz" wrap="square" lIns="1197666" tIns="60960" rIns="60961" bIns="60960" numCol="1" spcCol="1270" anchor="ctr" anchorCtr="0">
            <a:noAutofit/>
          </a:bodyPr>
          <a:lstStyle/>
          <a:p>
            <a:pPr marL="85725" defTabSz="711200">
              <a:lnSpc>
                <a:spcPct val="90000"/>
              </a:lnSpc>
              <a:spcBef>
                <a:spcPct val="0"/>
              </a:spcBef>
              <a:spcAft>
                <a:spcPct val="35000"/>
              </a:spcAft>
            </a:pPr>
            <a:r>
              <a:rPr lang="en-GB" sz="1600" b="1" dirty="0">
                <a:solidFill>
                  <a:srgbClr val="06325C"/>
                </a:solidFill>
              </a:rPr>
              <a:t>Total Cost of MOBILITY</a:t>
            </a:r>
          </a:p>
          <a:p>
            <a:pPr marL="85725" lvl="1" defTabSz="622300">
              <a:spcBef>
                <a:spcPct val="0"/>
              </a:spcBef>
              <a:spcAft>
                <a:spcPct val="15000"/>
              </a:spcAft>
              <a:buFontTx/>
              <a:buChar char="••"/>
            </a:pPr>
            <a:r>
              <a:rPr lang="en-GB" sz="1400" dirty="0">
                <a:solidFill>
                  <a:srgbClr val="000000"/>
                </a:solidFill>
              </a:rPr>
              <a:t>  Delivering Integrated Services  &amp;</a:t>
            </a:r>
            <a:br>
              <a:rPr lang="en-GB" sz="1400" dirty="0">
                <a:solidFill>
                  <a:srgbClr val="000000"/>
                </a:solidFill>
              </a:rPr>
            </a:br>
            <a:r>
              <a:rPr lang="en-GB" sz="1400" dirty="0">
                <a:solidFill>
                  <a:srgbClr val="000000"/>
                </a:solidFill>
              </a:rPr>
              <a:t>   Empowering </a:t>
            </a:r>
            <a:br>
              <a:rPr lang="en-GB" sz="1400" dirty="0">
                <a:solidFill>
                  <a:srgbClr val="000000"/>
                </a:solidFill>
              </a:rPr>
            </a:br>
            <a:r>
              <a:rPr lang="en-GB" sz="1400" dirty="0">
                <a:solidFill>
                  <a:srgbClr val="000000"/>
                </a:solidFill>
              </a:rPr>
              <a:t>   All Employees </a:t>
            </a:r>
          </a:p>
        </p:txBody>
      </p:sp>
      <p:sp>
        <p:nvSpPr>
          <p:cNvPr id="21" name="Rounded Rectangle 20"/>
          <p:cNvSpPr/>
          <p:nvPr/>
        </p:nvSpPr>
        <p:spPr>
          <a:xfrm>
            <a:off x="383044" y="4816914"/>
            <a:ext cx="988015" cy="1189534"/>
          </a:xfrm>
          <a:prstGeom prst="roundRect">
            <a:avLst>
              <a:gd name="adj" fmla="val 10000"/>
            </a:avLst>
          </a:prstGeom>
          <a:blipFill rotWithShape="0">
            <a:blip r:embed="rId5"/>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6" name="Title 1"/>
          <p:cNvSpPr txBox="1">
            <a:spLocks/>
          </p:cNvSpPr>
          <p:nvPr/>
        </p:nvSpPr>
        <p:spPr bwMode="auto">
          <a:xfrm>
            <a:off x="238125" y="152936"/>
            <a:ext cx="867275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smtClean="0">
                <a:solidFill>
                  <a:srgbClr val="002060"/>
                </a:solidFill>
                <a:ea typeface="Cambria Math" pitchFamily="18" charset="0"/>
              </a:rPr>
              <a:t>Future </a:t>
            </a:r>
            <a:r>
              <a:rPr lang="en-IN" sz="2000" dirty="0">
                <a:solidFill>
                  <a:srgbClr val="002060"/>
                </a:solidFill>
                <a:ea typeface="Cambria Math" pitchFamily="18" charset="0"/>
              </a:rPr>
              <a:t>of Corporate </a:t>
            </a:r>
            <a:r>
              <a:rPr lang="en-IN" sz="2000" dirty="0" smtClean="0">
                <a:solidFill>
                  <a:srgbClr val="002060"/>
                </a:solidFill>
                <a:ea typeface="Cambria Math" pitchFamily="18" charset="0"/>
              </a:rPr>
              <a:t>Mobility – From </a:t>
            </a:r>
            <a:r>
              <a:rPr lang="en-IN" sz="2000" dirty="0">
                <a:solidFill>
                  <a:srgbClr val="002060"/>
                </a:solidFill>
                <a:ea typeface="Cambria Math" pitchFamily="18" charset="0"/>
              </a:rPr>
              <a:t>TCO to </a:t>
            </a:r>
            <a:r>
              <a:rPr lang="en-IN" sz="2000" dirty="0" smtClean="0">
                <a:solidFill>
                  <a:srgbClr val="002060"/>
                </a:solidFill>
                <a:ea typeface="Cambria Math" pitchFamily="18" charset="0"/>
              </a:rPr>
              <a:t>TCM</a:t>
            </a:r>
            <a:endParaRPr lang="en-IN" sz="2000" dirty="0">
              <a:solidFill>
                <a:srgbClr val="002060"/>
              </a:solidFill>
              <a:ea typeface="Cambria Math" pitchFamily="18" charset="0"/>
            </a:endParaRPr>
          </a:p>
        </p:txBody>
      </p:sp>
      <p:sp>
        <p:nvSpPr>
          <p:cNvPr id="8"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Sullivan</a:t>
            </a:r>
          </a:p>
        </p:txBody>
      </p:sp>
      <p:grpSp>
        <p:nvGrpSpPr>
          <p:cNvPr id="22" name="Group 21"/>
          <p:cNvGrpSpPr/>
          <p:nvPr/>
        </p:nvGrpSpPr>
        <p:grpSpPr>
          <a:xfrm>
            <a:off x="5280517" y="1672495"/>
            <a:ext cx="3556000" cy="4207151"/>
            <a:chOff x="5280517" y="1523994"/>
            <a:chExt cx="3556000" cy="4207151"/>
          </a:xfrm>
        </p:grpSpPr>
        <p:grpSp>
          <p:nvGrpSpPr>
            <p:cNvPr id="4" name="Group 3"/>
            <p:cNvGrpSpPr/>
            <p:nvPr/>
          </p:nvGrpSpPr>
          <p:grpSpPr>
            <a:xfrm>
              <a:off x="5280517" y="1523994"/>
              <a:ext cx="3556000" cy="3338823"/>
              <a:chOff x="9252442" y="2103585"/>
              <a:chExt cx="3556000" cy="3338823"/>
            </a:xfrm>
          </p:grpSpPr>
          <p:sp>
            <p:nvSpPr>
              <p:cNvPr id="9" name="Oval 8"/>
              <p:cNvSpPr/>
              <p:nvPr/>
            </p:nvSpPr>
            <p:spPr>
              <a:xfrm>
                <a:off x="9396095" y="2249628"/>
                <a:ext cx="3276600" cy="1137920"/>
              </a:xfrm>
              <a:prstGeom prst="ellipse">
                <a:avLst/>
              </a:prstGeom>
              <a:ln>
                <a:solidFill>
                  <a:schemeClr val="bg1"/>
                </a:solidFill>
              </a:ln>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10" name="Down Arrow 9"/>
              <p:cNvSpPr/>
              <p:nvPr/>
            </p:nvSpPr>
            <p:spPr>
              <a:xfrm>
                <a:off x="10515600" y="5006022"/>
                <a:ext cx="1047750" cy="436386"/>
              </a:xfrm>
              <a:prstGeom prst="downArrow">
                <a:avLst>
                  <a:gd name="adj1" fmla="val 59091"/>
                  <a:gd name="adj2" fmla="val 40625"/>
                </a:avLst>
              </a:prstGeom>
              <a:solidFill>
                <a:schemeClr val="accent2"/>
              </a:solidFill>
            </p:spPr>
            <p:style>
              <a:lnRef idx="2">
                <a:schemeClr val="lt1">
                  <a:hueOff val="0"/>
                  <a:satOff val="0"/>
                  <a:lumOff val="0"/>
                  <a:alphaOff val="0"/>
                </a:schemeClr>
              </a:lnRef>
              <a:fillRef idx="1">
                <a:scrgbClr r="0" g="0" b="0"/>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en-IN">
                  <a:solidFill>
                    <a:srgbClr val="000000">
                      <a:hueOff val="0"/>
                      <a:satOff val="0"/>
                      <a:lumOff val="0"/>
                      <a:alphaOff val="0"/>
                    </a:srgbClr>
                  </a:solidFill>
                </a:endParaRPr>
              </a:p>
            </p:txBody>
          </p:sp>
          <p:sp>
            <p:nvSpPr>
              <p:cNvPr id="11" name="Freeform 10"/>
              <p:cNvSpPr/>
              <p:nvPr/>
            </p:nvSpPr>
            <p:spPr>
              <a:xfrm>
                <a:off x="10398497" y="3494483"/>
                <a:ext cx="1263891" cy="1143000"/>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80088" rIns="0" bIns="180088" numCol="1" spcCol="1270" anchor="ctr" anchorCtr="0">
                <a:noAutofit/>
              </a:bodyPr>
              <a:lstStyle/>
              <a:p>
                <a:pPr algn="ctr" defTabSz="444500">
                  <a:lnSpc>
                    <a:spcPct val="90000"/>
                  </a:lnSpc>
                  <a:spcBef>
                    <a:spcPct val="0"/>
                  </a:spcBef>
                  <a:spcAft>
                    <a:spcPct val="35000"/>
                  </a:spcAft>
                </a:pPr>
                <a:r>
                  <a:rPr lang="en-GB" sz="1000" b="1" dirty="0">
                    <a:solidFill>
                      <a:srgbClr val="FFFFFF"/>
                    </a:solidFill>
                  </a:rPr>
                  <a:t>EXPENSE MANAGEMENT</a:t>
                </a:r>
              </a:p>
            </p:txBody>
          </p:sp>
          <p:grpSp>
            <p:nvGrpSpPr>
              <p:cNvPr id="3" name="Group 2"/>
              <p:cNvGrpSpPr/>
              <p:nvPr/>
            </p:nvGrpSpPr>
            <p:grpSpPr>
              <a:xfrm>
                <a:off x="9752508" y="2379676"/>
                <a:ext cx="2555868" cy="1143000"/>
                <a:chOff x="9750432" y="2379676"/>
                <a:chExt cx="2555868" cy="1143000"/>
              </a:xfrm>
            </p:grpSpPr>
            <p:sp>
              <p:nvSpPr>
                <p:cNvPr id="12" name="Freeform 11"/>
                <p:cNvSpPr/>
                <p:nvPr/>
              </p:nvSpPr>
              <p:spPr>
                <a:xfrm>
                  <a:off x="9750432" y="2379676"/>
                  <a:ext cx="1263891" cy="1143000"/>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80088" rIns="0" bIns="180088" numCol="1" spcCol="1270" anchor="ctr" anchorCtr="0">
                  <a:noAutofit/>
                </a:bodyPr>
                <a:lstStyle/>
                <a:p>
                  <a:pPr algn="ctr" defTabSz="444500">
                    <a:lnSpc>
                      <a:spcPct val="90000"/>
                    </a:lnSpc>
                    <a:spcBef>
                      <a:spcPct val="0"/>
                    </a:spcBef>
                    <a:spcAft>
                      <a:spcPct val="35000"/>
                    </a:spcAft>
                  </a:pPr>
                  <a:r>
                    <a:rPr lang="en-GB" sz="1000" b="1" dirty="0">
                      <a:solidFill>
                        <a:srgbClr val="FFFFFF"/>
                      </a:solidFill>
                    </a:rPr>
                    <a:t>FLEET MANAGEMTN</a:t>
                  </a:r>
                </a:p>
              </p:txBody>
            </p:sp>
            <p:sp>
              <p:nvSpPr>
                <p:cNvPr id="13" name="Freeform 12"/>
                <p:cNvSpPr/>
                <p:nvPr/>
              </p:nvSpPr>
              <p:spPr>
                <a:xfrm>
                  <a:off x="11042409" y="2379676"/>
                  <a:ext cx="1263891" cy="1143000"/>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180088" rIns="0" bIns="180088" numCol="1" spcCol="1270" anchor="ctr" anchorCtr="0">
                  <a:noAutofit/>
                </a:bodyPr>
                <a:lstStyle/>
                <a:p>
                  <a:pPr algn="ctr" defTabSz="444500">
                    <a:lnSpc>
                      <a:spcPct val="90000"/>
                    </a:lnSpc>
                    <a:spcBef>
                      <a:spcPct val="0"/>
                    </a:spcBef>
                    <a:spcAft>
                      <a:spcPct val="35000"/>
                    </a:spcAft>
                  </a:pPr>
                  <a:r>
                    <a:rPr lang="en-GB" sz="1000" b="1" dirty="0">
                      <a:solidFill>
                        <a:srgbClr val="FFFFFF"/>
                      </a:solidFill>
                    </a:rPr>
                    <a:t>TRAVEL MANAGEMENT</a:t>
                  </a:r>
                </a:p>
              </p:txBody>
            </p:sp>
          </p:grpSp>
          <p:sp>
            <p:nvSpPr>
              <p:cNvPr id="14" name="Shape 13"/>
              <p:cNvSpPr/>
              <p:nvPr/>
            </p:nvSpPr>
            <p:spPr>
              <a:xfrm>
                <a:off x="9252442" y="2103585"/>
                <a:ext cx="3556000" cy="2844800"/>
              </a:xfrm>
              <a:prstGeom prst="funnel">
                <a:avLst/>
              </a:prstGeom>
              <a:solidFill>
                <a:schemeClr val="accent1">
                  <a:lumMod val="75000"/>
                  <a:alpha val="40000"/>
                </a:schemeClr>
              </a:solidFill>
              <a:ln>
                <a:solidFill>
                  <a:schemeClr val="bg1"/>
                </a:solidFill>
              </a:ln>
            </p:spPr>
            <p:style>
              <a:lnRef idx="1">
                <a:schemeClr val="accent1">
                  <a:hueOff val="0"/>
                  <a:satOff val="0"/>
                  <a:lumOff val="0"/>
                  <a:alphaOff val="0"/>
                </a:schemeClr>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IN">
                  <a:solidFill>
                    <a:srgbClr val="000000">
                      <a:hueOff val="0"/>
                      <a:satOff val="0"/>
                      <a:lumOff val="0"/>
                      <a:alphaOff val="0"/>
                    </a:srgbClr>
                  </a:solidFill>
                </a:endParaRPr>
              </a:p>
            </p:txBody>
          </p:sp>
        </p:grpSp>
        <p:sp>
          <p:nvSpPr>
            <p:cNvPr id="23" name="Rectangle 22"/>
            <p:cNvSpPr/>
            <p:nvPr/>
          </p:nvSpPr>
          <p:spPr>
            <a:xfrm>
              <a:off x="5909749" y="4946663"/>
              <a:ext cx="2297536" cy="784482"/>
            </a:xfrm>
            <a:prstGeom prst="rect">
              <a:avLst/>
            </a:prstGeom>
            <a:ln/>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GB" sz="1600" b="1" kern="0" dirty="0">
                  <a:solidFill>
                    <a:srgbClr val="FFFFFF"/>
                  </a:solidFill>
                </a:rPr>
                <a:t>MOBILITY MANAGEMENT</a:t>
              </a:r>
            </a:p>
          </p:txBody>
        </p:sp>
      </p:grpSp>
    </p:spTree>
    <p:extLst>
      <p:ext uri="{BB962C8B-B14F-4D97-AF65-F5344CB8AC3E}">
        <p14:creationId xmlns:p14="http://schemas.microsoft.com/office/powerpoint/2010/main" val="9711707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p:cNvGraphicFramePr/>
          <p:nvPr>
            <p:extLst>
              <p:ext uri="{D42A27DB-BD31-4B8C-83A1-F6EECF244321}">
                <p14:modId xmlns:p14="http://schemas.microsoft.com/office/powerpoint/2010/main" val="1039269812"/>
              </p:ext>
            </p:extLst>
          </p:nvPr>
        </p:nvGraphicFramePr>
        <p:xfrm>
          <a:off x="5941228" y="3279626"/>
          <a:ext cx="2514600" cy="1803400"/>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42"/>
          <p:cNvGrpSpPr/>
          <p:nvPr/>
        </p:nvGrpSpPr>
        <p:grpSpPr>
          <a:xfrm>
            <a:off x="3124200" y="2336908"/>
            <a:ext cx="2904402" cy="3809892"/>
            <a:chOff x="3012603" y="1815253"/>
            <a:chExt cx="3193480" cy="4201753"/>
          </a:xfrm>
        </p:grpSpPr>
        <p:sp>
          <p:nvSpPr>
            <p:cNvPr id="44" name="Freeform 21"/>
            <p:cNvSpPr>
              <a:spLocks/>
            </p:cNvSpPr>
            <p:nvPr/>
          </p:nvSpPr>
          <p:spPr bwMode="auto">
            <a:xfrm>
              <a:off x="4320687" y="3657733"/>
              <a:ext cx="562695" cy="467360"/>
            </a:xfrm>
            <a:custGeom>
              <a:avLst/>
              <a:gdLst/>
              <a:ahLst/>
              <a:cxnLst>
                <a:cxn ang="0">
                  <a:pos x="0" y="38"/>
                </a:cxn>
                <a:cxn ang="0">
                  <a:pos x="4" y="29"/>
                </a:cxn>
                <a:cxn ang="0">
                  <a:pos x="2" y="20"/>
                </a:cxn>
                <a:cxn ang="0">
                  <a:pos x="38" y="0"/>
                </a:cxn>
                <a:cxn ang="0">
                  <a:pos x="40" y="6"/>
                </a:cxn>
                <a:cxn ang="0">
                  <a:pos x="67" y="2"/>
                </a:cxn>
                <a:cxn ang="0">
                  <a:pos x="85" y="4"/>
                </a:cxn>
                <a:cxn ang="0">
                  <a:pos x="78" y="13"/>
                </a:cxn>
                <a:cxn ang="0">
                  <a:pos x="83" y="27"/>
                </a:cxn>
                <a:cxn ang="0">
                  <a:pos x="99" y="34"/>
                </a:cxn>
                <a:cxn ang="0">
                  <a:pos x="117" y="31"/>
                </a:cxn>
                <a:cxn ang="0">
                  <a:pos x="130" y="22"/>
                </a:cxn>
                <a:cxn ang="0">
                  <a:pos x="153" y="20"/>
                </a:cxn>
                <a:cxn ang="0">
                  <a:pos x="159" y="29"/>
                </a:cxn>
                <a:cxn ang="0">
                  <a:pos x="171" y="36"/>
                </a:cxn>
                <a:cxn ang="0">
                  <a:pos x="191" y="38"/>
                </a:cxn>
                <a:cxn ang="0">
                  <a:pos x="186" y="52"/>
                </a:cxn>
                <a:cxn ang="0">
                  <a:pos x="189" y="84"/>
                </a:cxn>
                <a:cxn ang="0">
                  <a:pos x="191" y="104"/>
                </a:cxn>
                <a:cxn ang="0">
                  <a:pos x="213" y="102"/>
                </a:cxn>
                <a:cxn ang="0">
                  <a:pos x="220" y="116"/>
                </a:cxn>
                <a:cxn ang="0">
                  <a:pos x="220" y="125"/>
                </a:cxn>
                <a:cxn ang="0">
                  <a:pos x="232" y="141"/>
                </a:cxn>
                <a:cxn ang="0">
                  <a:pos x="218" y="152"/>
                </a:cxn>
                <a:cxn ang="0">
                  <a:pos x="207" y="161"/>
                </a:cxn>
                <a:cxn ang="0">
                  <a:pos x="193" y="161"/>
                </a:cxn>
                <a:cxn ang="0">
                  <a:pos x="177" y="166"/>
                </a:cxn>
                <a:cxn ang="0">
                  <a:pos x="177" y="184"/>
                </a:cxn>
                <a:cxn ang="0">
                  <a:pos x="171" y="195"/>
                </a:cxn>
                <a:cxn ang="0">
                  <a:pos x="155" y="207"/>
                </a:cxn>
                <a:cxn ang="0">
                  <a:pos x="126" y="186"/>
                </a:cxn>
                <a:cxn ang="0">
                  <a:pos x="119" y="168"/>
                </a:cxn>
                <a:cxn ang="0">
                  <a:pos x="92" y="161"/>
                </a:cxn>
                <a:cxn ang="0">
                  <a:pos x="83" y="136"/>
                </a:cxn>
                <a:cxn ang="0">
                  <a:pos x="67" y="122"/>
                </a:cxn>
                <a:cxn ang="0">
                  <a:pos x="60" y="104"/>
                </a:cxn>
                <a:cxn ang="0">
                  <a:pos x="45" y="86"/>
                </a:cxn>
                <a:cxn ang="0">
                  <a:pos x="36" y="68"/>
                </a:cxn>
                <a:cxn ang="0">
                  <a:pos x="15" y="54"/>
                </a:cxn>
                <a:cxn ang="0">
                  <a:pos x="0" y="38"/>
                </a:cxn>
              </a:cxnLst>
              <a:rect l="0" t="0" r="r" b="b"/>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45" name="Freeform 23"/>
            <p:cNvSpPr>
              <a:spLocks/>
            </p:cNvSpPr>
            <p:nvPr/>
          </p:nvSpPr>
          <p:spPr bwMode="auto">
            <a:xfrm>
              <a:off x="4513124" y="3320694"/>
              <a:ext cx="579747" cy="572966"/>
            </a:xfrm>
            <a:custGeom>
              <a:avLst/>
              <a:gdLst/>
              <a:ahLst/>
              <a:cxnLst>
                <a:cxn ang="0">
                  <a:pos x="97" y="6"/>
                </a:cxn>
                <a:cxn ang="0">
                  <a:pos x="75" y="36"/>
                </a:cxn>
                <a:cxn ang="0">
                  <a:pos x="75" y="45"/>
                </a:cxn>
                <a:cxn ang="0">
                  <a:pos x="59" y="58"/>
                </a:cxn>
                <a:cxn ang="0">
                  <a:pos x="61" y="63"/>
                </a:cxn>
                <a:cxn ang="0">
                  <a:pos x="56" y="72"/>
                </a:cxn>
                <a:cxn ang="0">
                  <a:pos x="43" y="88"/>
                </a:cxn>
                <a:cxn ang="0">
                  <a:pos x="27" y="104"/>
                </a:cxn>
                <a:cxn ang="0">
                  <a:pos x="20" y="113"/>
                </a:cxn>
                <a:cxn ang="0">
                  <a:pos x="27" y="120"/>
                </a:cxn>
                <a:cxn ang="0">
                  <a:pos x="22" y="133"/>
                </a:cxn>
                <a:cxn ang="0">
                  <a:pos x="15" y="142"/>
                </a:cxn>
                <a:cxn ang="0">
                  <a:pos x="9" y="147"/>
                </a:cxn>
                <a:cxn ang="0">
                  <a:pos x="0" y="161"/>
                </a:cxn>
                <a:cxn ang="0">
                  <a:pos x="0" y="172"/>
                </a:cxn>
                <a:cxn ang="0">
                  <a:pos x="11" y="179"/>
                </a:cxn>
                <a:cxn ang="0">
                  <a:pos x="38" y="179"/>
                </a:cxn>
                <a:cxn ang="0">
                  <a:pos x="54" y="170"/>
                </a:cxn>
                <a:cxn ang="0">
                  <a:pos x="70" y="167"/>
                </a:cxn>
                <a:cxn ang="0">
                  <a:pos x="81" y="179"/>
                </a:cxn>
                <a:cxn ang="0">
                  <a:pos x="93" y="185"/>
                </a:cxn>
                <a:cxn ang="0">
                  <a:pos x="111" y="188"/>
                </a:cxn>
                <a:cxn ang="0">
                  <a:pos x="106" y="206"/>
                </a:cxn>
                <a:cxn ang="0">
                  <a:pos x="111" y="254"/>
                </a:cxn>
                <a:cxn ang="0">
                  <a:pos x="127" y="251"/>
                </a:cxn>
                <a:cxn ang="0">
                  <a:pos x="136" y="251"/>
                </a:cxn>
                <a:cxn ang="0">
                  <a:pos x="138" y="238"/>
                </a:cxn>
                <a:cxn ang="0">
                  <a:pos x="141" y="208"/>
                </a:cxn>
                <a:cxn ang="0">
                  <a:pos x="152" y="195"/>
                </a:cxn>
                <a:cxn ang="0">
                  <a:pos x="152" y="170"/>
                </a:cxn>
                <a:cxn ang="0">
                  <a:pos x="161" y="156"/>
                </a:cxn>
                <a:cxn ang="0">
                  <a:pos x="179" y="147"/>
                </a:cxn>
                <a:cxn ang="0">
                  <a:pos x="213" y="108"/>
                </a:cxn>
                <a:cxn ang="0">
                  <a:pos x="218" y="92"/>
                </a:cxn>
                <a:cxn ang="0">
                  <a:pos x="213" y="65"/>
                </a:cxn>
                <a:cxn ang="0">
                  <a:pos x="236" y="47"/>
                </a:cxn>
                <a:cxn ang="0">
                  <a:pos x="239" y="18"/>
                </a:cxn>
                <a:cxn ang="0">
                  <a:pos x="223" y="4"/>
                </a:cxn>
                <a:cxn ang="0">
                  <a:pos x="213" y="2"/>
                </a:cxn>
                <a:cxn ang="0">
                  <a:pos x="193" y="0"/>
                </a:cxn>
                <a:cxn ang="0">
                  <a:pos x="152" y="0"/>
                </a:cxn>
                <a:cxn ang="0">
                  <a:pos x="141" y="9"/>
                </a:cxn>
                <a:cxn ang="0">
                  <a:pos x="129" y="22"/>
                </a:cxn>
                <a:cxn ang="0">
                  <a:pos x="132" y="34"/>
                </a:cxn>
                <a:cxn ang="0">
                  <a:pos x="147" y="43"/>
                </a:cxn>
                <a:cxn ang="0">
                  <a:pos x="157" y="54"/>
                </a:cxn>
                <a:cxn ang="0">
                  <a:pos x="157" y="72"/>
                </a:cxn>
                <a:cxn ang="0">
                  <a:pos x="141" y="83"/>
                </a:cxn>
                <a:cxn ang="0">
                  <a:pos x="122" y="88"/>
                </a:cxn>
                <a:cxn ang="0">
                  <a:pos x="111" y="90"/>
                </a:cxn>
                <a:cxn ang="0">
                  <a:pos x="104" y="79"/>
                </a:cxn>
                <a:cxn ang="0">
                  <a:pos x="100" y="65"/>
                </a:cxn>
                <a:cxn ang="0">
                  <a:pos x="109" y="52"/>
                </a:cxn>
                <a:cxn ang="0">
                  <a:pos x="106" y="38"/>
                </a:cxn>
                <a:cxn ang="0">
                  <a:pos x="104" y="24"/>
                </a:cxn>
                <a:cxn ang="0">
                  <a:pos x="97" y="6"/>
                </a:cxn>
              </a:cxnLst>
              <a:rect l="0" t="0" r="r" b="b"/>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46" name="Freeform 33"/>
            <p:cNvSpPr>
              <a:spLocks/>
            </p:cNvSpPr>
            <p:nvPr/>
          </p:nvSpPr>
          <p:spPr bwMode="auto">
            <a:xfrm>
              <a:off x="4812742" y="3021852"/>
              <a:ext cx="1393341" cy="1732380"/>
            </a:xfrm>
            <a:custGeom>
              <a:avLst/>
              <a:gdLst/>
              <a:ahLst/>
              <a:cxnLst>
                <a:cxn ang="0">
                  <a:pos x="224" y="18"/>
                </a:cxn>
                <a:cxn ang="0">
                  <a:pos x="231" y="54"/>
                </a:cxn>
                <a:cxn ang="0">
                  <a:pos x="226" y="81"/>
                </a:cxn>
                <a:cxn ang="0">
                  <a:pos x="258" y="120"/>
                </a:cxn>
                <a:cxn ang="0">
                  <a:pos x="211" y="106"/>
                </a:cxn>
                <a:cxn ang="0">
                  <a:pos x="177" y="136"/>
                </a:cxn>
                <a:cxn ang="0">
                  <a:pos x="152" y="111"/>
                </a:cxn>
                <a:cxn ang="0">
                  <a:pos x="106" y="136"/>
                </a:cxn>
                <a:cxn ang="0">
                  <a:pos x="115" y="175"/>
                </a:cxn>
                <a:cxn ang="0">
                  <a:pos x="90" y="197"/>
                </a:cxn>
                <a:cxn ang="0">
                  <a:pos x="95" y="234"/>
                </a:cxn>
                <a:cxn ang="0">
                  <a:pos x="63" y="273"/>
                </a:cxn>
                <a:cxn ang="0">
                  <a:pos x="31" y="304"/>
                </a:cxn>
                <a:cxn ang="0">
                  <a:pos x="22" y="366"/>
                </a:cxn>
                <a:cxn ang="0">
                  <a:pos x="18" y="393"/>
                </a:cxn>
                <a:cxn ang="0">
                  <a:pos x="2" y="448"/>
                </a:cxn>
                <a:cxn ang="0">
                  <a:pos x="22" y="475"/>
                </a:cxn>
                <a:cxn ang="0">
                  <a:pos x="0" y="509"/>
                </a:cxn>
                <a:cxn ang="0">
                  <a:pos x="31" y="548"/>
                </a:cxn>
                <a:cxn ang="0">
                  <a:pos x="90" y="555"/>
                </a:cxn>
                <a:cxn ang="0">
                  <a:pos x="99" y="582"/>
                </a:cxn>
                <a:cxn ang="0">
                  <a:pos x="72" y="621"/>
                </a:cxn>
                <a:cxn ang="0">
                  <a:pos x="49" y="682"/>
                </a:cxn>
                <a:cxn ang="0">
                  <a:pos x="81" y="718"/>
                </a:cxn>
                <a:cxn ang="0">
                  <a:pos x="111" y="705"/>
                </a:cxn>
                <a:cxn ang="0">
                  <a:pos x="138" y="716"/>
                </a:cxn>
                <a:cxn ang="0">
                  <a:pos x="165" y="741"/>
                </a:cxn>
                <a:cxn ang="0">
                  <a:pos x="220" y="748"/>
                </a:cxn>
                <a:cxn ang="0">
                  <a:pos x="256" y="755"/>
                </a:cxn>
                <a:cxn ang="0">
                  <a:pos x="308" y="755"/>
                </a:cxn>
                <a:cxn ang="0">
                  <a:pos x="345" y="750"/>
                </a:cxn>
                <a:cxn ang="0">
                  <a:pos x="381" y="750"/>
                </a:cxn>
                <a:cxn ang="0">
                  <a:pos x="426" y="762"/>
                </a:cxn>
                <a:cxn ang="0">
                  <a:pos x="417" y="728"/>
                </a:cxn>
                <a:cxn ang="0">
                  <a:pos x="483" y="666"/>
                </a:cxn>
                <a:cxn ang="0">
                  <a:pos x="449" y="637"/>
                </a:cxn>
                <a:cxn ang="0">
                  <a:pos x="388" y="573"/>
                </a:cxn>
                <a:cxn ang="0">
                  <a:pos x="372" y="516"/>
                </a:cxn>
                <a:cxn ang="0">
                  <a:pos x="392" y="502"/>
                </a:cxn>
                <a:cxn ang="0">
                  <a:pos x="517" y="448"/>
                </a:cxn>
                <a:cxn ang="0">
                  <a:pos x="562" y="445"/>
                </a:cxn>
                <a:cxn ang="0">
                  <a:pos x="572" y="407"/>
                </a:cxn>
                <a:cxn ang="0">
                  <a:pos x="560" y="336"/>
                </a:cxn>
                <a:cxn ang="0">
                  <a:pos x="549" y="286"/>
                </a:cxn>
                <a:cxn ang="0">
                  <a:pos x="535" y="232"/>
                </a:cxn>
                <a:cxn ang="0">
                  <a:pos x="512" y="145"/>
                </a:cxn>
                <a:cxn ang="0">
                  <a:pos x="463" y="95"/>
                </a:cxn>
                <a:cxn ang="0">
                  <a:pos x="424" y="93"/>
                </a:cxn>
                <a:cxn ang="0">
                  <a:pos x="356" y="118"/>
                </a:cxn>
                <a:cxn ang="0">
                  <a:pos x="351" y="97"/>
                </a:cxn>
                <a:cxn ang="0">
                  <a:pos x="317" y="65"/>
                </a:cxn>
                <a:cxn ang="0">
                  <a:pos x="290" y="18"/>
                </a:cxn>
                <a:cxn ang="0">
                  <a:pos x="251" y="2"/>
                </a:cxn>
              </a:cxnLst>
              <a:rect l="0" t="0" r="r" b="b"/>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47" name="Freeform 51"/>
            <p:cNvSpPr>
              <a:spLocks/>
            </p:cNvSpPr>
            <p:nvPr/>
          </p:nvSpPr>
          <p:spPr bwMode="auto">
            <a:xfrm>
              <a:off x="4905306" y="5709177"/>
              <a:ext cx="185129" cy="307829"/>
            </a:xfrm>
            <a:custGeom>
              <a:avLst/>
              <a:gdLst/>
              <a:ahLst/>
              <a:cxnLst>
                <a:cxn ang="0">
                  <a:pos x="76" y="0"/>
                </a:cxn>
                <a:cxn ang="0">
                  <a:pos x="51" y="29"/>
                </a:cxn>
                <a:cxn ang="0">
                  <a:pos x="22" y="29"/>
                </a:cxn>
                <a:cxn ang="0">
                  <a:pos x="0" y="45"/>
                </a:cxn>
                <a:cxn ang="0">
                  <a:pos x="4" y="70"/>
                </a:cxn>
                <a:cxn ang="0">
                  <a:pos x="4" y="108"/>
                </a:cxn>
                <a:cxn ang="0">
                  <a:pos x="22" y="136"/>
                </a:cxn>
                <a:cxn ang="0">
                  <a:pos x="42" y="129"/>
                </a:cxn>
                <a:cxn ang="0">
                  <a:pos x="46" y="113"/>
                </a:cxn>
                <a:cxn ang="0">
                  <a:pos x="67" y="74"/>
                </a:cxn>
                <a:cxn ang="0">
                  <a:pos x="67" y="52"/>
                </a:cxn>
                <a:cxn ang="0">
                  <a:pos x="76" y="0"/>
                </a:cxn>
              </a:cxnLst>
              <a:rect l="0" t="0" r="r" b="b"/>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48" name="Freeform 52"/>
            <p:cNvSpPr>
              <a:spLocks/>
            </p:cNvSpPr>
            <p:nvPr/>
          </p:nvSpPr>
          <p:spPr bwMode="auto">
            <a:xfrm>
              <a:off x="3012603" y="3734129"/>
              <a:ext cx="2077831" cy="1880677"/>
            </a:xfrm>
            <a:custGeom>
              <a:avLst/>
              <a:gdLst/>
              <a:ahLst/>
              <a:cxnLst>
                <a:cxn ang="0">
                  <a:pos x="11" y="161"/>
                </a:cxn>
                <a:cxn ang="0">
                  <a:pos x="13" y="195"/>
                </a:cxn>
                <a:cxn ang="0">
                  <a:pos x="81" y="247"/>
                </a:cxn>
                <a:cxn ang="0">
                  <a:pos x="135" y="279"/>
                </a:cxn>
                <a:cxn ang="0">
                  <a:pos x="131" y="324"/>
                </a:cxn>
                <a:cxn ang="0">
                  <a:pos x="160" y="390"/>
                </a:cxn>
                <a:cxn ang="0">
                  <a:pos x="176" y="481"/>
                </a:cxn>
                <a:cxn ang="0">
                  <a:pos x="147" y="481"/>
                </a:cxn>
                <a:cxn ang="0">
                  <a:pos x="129" y="527"/>
                </a:cxn>
                <a:cxn ang="0">
                  <a:pos x="108" y="572"/>
                </a:cxn>
                <a:cxn ang="0">
                  <a:pos x="63" y="654"/>
                </a:cxn>
                <a:cxn ang="0">
                  <a:pos x="65" y="692"/>
                </a:cxn>
                <a:cxn ang="0">
                  <a:pos x="179" y="767"/>
                </a:cxn>
                <a:cxn ang="0">
                  <a:pos x="276" y="813"/>
                </a:cxn>
                <a:cxn ang="0">
                  <a:pos x="362" y="836"/>
                </a:cxn>
                <a:cxn ang="0">
                  <a:pos x="392" y="772"/>
                </a:cxn>
                <a:cxn ang="0">
                  <a:pos x="469" y="745"/>
                </a:cxn>
                <a:cxn ang="0">
                  <a:pos x="525" y="772"/>
                </a:cxn>
                <a:cxn ang="0">
                  <a:pos x="602" y="813"/>
                </a:cxn>
                <a:cxn ang="0">
                  <a:pos x="672" y="797"/>
                </a:cxn>
                <a:cxn ang="0">
                  <a:pos x="725" y="742"/>
                </a:cxn>
                <a:cxn ang="0">
                  <a:pos x="693" y="720"/>
                </a:cxn>
                <a:cxn ang="0">
                  <a:pos x="688" y="642"/>
                </a:cxn>
                <a:cxn ang="0">
                  <a:pos x="706" y="572"/>
                </a:cxn>
                <a:cxn ang="0">
                  <a:pos x="706" y="508"/>
                </a:cxn>
                <a:cxn ang="0">
                  <a:pos x="670" y="511"/>
                </a:cxn>
                <a:cxn ang="0">
                  <a:pos x="654" y="499"/>
                </a:cxn>
                <a:cxn ang="0">
                  <a:pos x="693" y="454"/>
                </a:cxn>
                <a:cxn ang="0">
                  <a:pos x="754" y="395"/>
                </a:cxn>
                <a:cxn ang="0">
                  <a:pos x="784" y="368"/>
                </a:cxn>
                <a:cxn ang="0">
                  <a:pos x="808" y="311"/>
                </a:cxn>
                <a:cxn ang="0">
                  <a:pos x="852" y="261"/>
                </a:cxn>
                <a:cxn ang="0">
                  <a:pos x="802" y="238"/>
                </a:cxn>
                <a:cxn ang="0">
                  <a:pos x="743" y="218"/>
                </a:cxn>
                <a:cxn ang="0">
                  <a:pos x="702" y="181"/>
                </a:cxn>
                <a:cxn ang="0">
                  <a:pos x="648" y="134"/>
                </a:cxn>
                <a:cxn ang="0">
                  <a:pos x="600" y="84"/>
                </a:cxn>
                <a:cxn ang="0">
                  <a:pos x="566" y="34"/>
                </a:cxn>
                <a:cxn ang="0">
                  <a:pos x="493" y="2"/>
                </a:cxn>
                <a:cxn ang="0">
                  <a:pos x="462" y="38"/>
                </a:cxn>
                <a:cxn ang="0">
                  <a:pos x="353" y="97"/>
                </a:cxn>
                <a:cxn ang="0">
                  <a:pos x="294" y="115"/>
                </a:cxn>
                <a:cxn ang="0">
                  <a:pos x="244" y="86"/>
                </a:cxn>
                <a:cxn ang="0">
                  <a:pos x="219" y="63"/>
                </a:cxn>
                <a:cxn ang="0">
                  <a:pos x="226" y="93"/>
                </a:cxn>
                <a:cxn ang="0">
                  <a:pos x="219" y="127"/>
                </a:cxn>
                <a:cxn ang="0">
                  <a:pos x="203" y="154"/>
                </a:cxn>
                <a:cxn ang="0">
                  <a:pos x="156" y="140"/>
                </a:cxn>
                <a:cxn ang="0">
                  <a:pos x="104" y="106"/>
                </a:cxn>
                <a:cxn ang="0">
                  <a:pos x="65" y="120"/>
                </a:cxn>
              </a:cxnLst>
              <a:rect l="0" t="0" r="r" b="b"/>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0" name="Freeform 54"/>
            <p:cNvSpPr>
              <a:spLocks/>
            </p:cNvSpPr>
            <p:nvPr/>
          </p:nvSpPr>
          <p:spPr bwMode="auto">
            <a:xfrm>
              <a:off x="3034527" y="1837722"/>
              <a:ext cx="1227699" cy="1880677"/>
            </a:xfrm>
            <a:custGeom>
              <a:avLst/>
              <a:gdLst/>
              <a:ahLst/>
              <a:cxnLst>
                <a:cxn ang="0">
                  <a:pos x="163" y="576"/>
                </a:cxn>
                <a:cxn ang="0">
                  <a:pos x="108" y="614"/>
                </a:cxn>
                <a:cxn ang="0">
                  <a:pos x="92" y="648"/>
                </a:cxn>
                <a:cxn ang="0">
                  <a:pos x="126" y="669"/>
                </a:cxn>
                <a:cxn ang="0">
                  <a:pos x="151" y="680"/>
                </a:cxn>
                <a:cxn ang="0">
                  <a:pos x="201" y="692"/>
                </a:cxn>
                <a:cxn ang="0">
                  <a:pos x="169" y="728"/>
                </a:cxn>
                <a:cxn ang="0">
                  <a:pos x="97" y="707"/>
                </a:cxn>
                <a:cxn ang="0">
                  <a:pos x="45" y="751"/>
                </a:cxn>
                <a:cxn ang="0">
                  <a:pos x="2" y="773"/>
                </a:cxn>
                <a:cxn ang="0">
                  <a:pos x="24" y="791"/>
                </a:cxn>
                <a:cxn ang="0">
                  <a:pos x="65" y="785"/>
                </a:cxn>
                <a:cxn ang="0">
                  <a:pos x="122" y="810"/>
                </a:cxn>
                <a:cxn ang="0">
                  <a:pos x="165" y="771"/>
                </a:cxn>
                <a:cxn ang="0">
                  <a:pos x="203" y="794"/>
                </a:cxn>
                <a:cxn ang="0">
                  <a:pos x="256" y="803"/>
                </a:cxn>
                <a:cxn ang="0">
                  <a:pos x="294" y="798"/>
                </a:cxn>
                <a:cxn ang="0">
                  <a:pos x="351" y="821"/>
                </a:cxn>
                <a:cxn ang="0">
                  <a:pos x="396" y="825"/>
                </a:cxn>
                <a:cxn ang="0">
                  <a:pos x="444" y="810"/>
                </a:cxn>
                <a:cxn ang="0">
                  <a:pos x="423" y="771"/>
                </a:cxn>
                <a:cxn ang="0">
                  <a:pos x="425" y="746"/>
                </a:cxn>
                <a:cxn ang="0">
                  <a:pos x="487" y="707"/>
                </a:cxn>
                <a:cxn ang="0">
                  <a:pos x="503" y="653"/>
                </a:cxn>
                <a:cxn ang="0">
                  <a:pos x="459" y="623"/>
                </a:cxn>
                <a:cxn ang="0">
                  <a:pos x="428" y="621"/>
                </a:cxn>
                <a:cxn ang="0">
                  <a:pos x="439" y="571"/>
                </a:cxn>
                <a:cxn ang="0">
                  <a:pos x="439" y="501"/>
                </a:cxn>
                <a:cxn ang="0">
                  <a:pos x="394" y="417"/>
                </a:cxn>
                <a:cxn ang="0">
                  <a:pos x="394" y="353"/>
                </a:cxn>
                <a:cxn ang="0">
                  <a:pos x="378" y="304"/>
                </a:cxn>
                <a:cxn ang="0">
                  <a:pos x="330" y="276"/>
                </a:cxn>
                <a:cxn ang="0">
                  <a:pos x="326" y="256"/>
                </a:cxn>
                <a:cxn ang="0">
                  <a:pos x="367" y="263"/>
                </a:cxn>
                <a:cxn ang="0">
                  <a:pos x="432" y="183"/>
                </a:cxn>
                <a:cxn ang="0">
                  <a:pos x="428" y="133"/>
                </a:cxn>
                <a:cxn ang="0">
                  <a:pos x="367" y="108"/>
                </a:cxn>
                <a:cxn ang="0">
                  <a:pos x="335" y="111"/>
                </a:cxn>
                <a:cxn ang="0">
                  <a:pos x="353" y="81"/>
                </a:cxn>
                <a:cxn ang="0">
                  <a:pos x="419" y="40"/>
                </a:cxn>
                <a:cxn ang="0">
                  <a:pos x="376" y="13"/>
                </a:cxn>
                <a:cxn ang="0">
                  <a:pos x="308" y="24"/>
                </a:cxn>
                <a:cxn ang="0">
                  <a:pos x="278" y="54"/>
                </a:cxn>
                <a:cxn ang="0">
                  <a:pos x="256" y="93"/>
                </a:cxn>
                <a:cxn ang="0">
                  <a:pos x="203" y="161"/>
                </a:cxn>
                <a:cxn ang="0">
                  <a:pos x="237" y="172"/>
                </a:cxn>
                <a:cxn ang="0">
                  <a:pos x="188" y="256"/>
                </a:cxn>
                <a:cxn ang="0">
                  <a:pos x="206" y="270"/>
                </a:cxn>
                <a:cxn ang="0">
                  <a:pos x="235" y="288"/>
                </a:cxn>
                <a:cxn ang="0">
                  <a:pos x="201" y="338"/>
                </a:cxn>
                <a:cxn ang="0">
                  <a:pos x="251" y="369"/>
                </a:cxn>
                <a:cxn ang="0">
                  <a:pos x="280" y="381"/>
                </a:cxn>
                <a:cxn ang="0">
                  <a:pos x="271" y="453"/>
                </a:cxn>
                <a:cxn ang="0">
                  <a:pos x="269" y="503"/>
                </a:cxn>
                <a:cxn ang="0">
                  <a:pos x="246" y="526"/>
                </a:cxn>
              </a:cxnLst>
              <a:rect l="0" t="0" r="r" b="b"/>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1" name="Freeform 55"/>
            <p:cNvSpPr>
              <a:spLocks/>
            </p:cNvSpPr>
            <p:nvPr/>
          </p:nvSpPr>
          <p:spPr bwMode="auto">
            <a:xfrm>
              <a:off x="3475426" y="2747728"/>
              <a:ext cx="102309" cy="87630"/>
            </a:xfrm>
            <a:custGeom>
              <a:avLst/>
              <a:gdLst/>
              <a:ahLst/>
              <a:cxnLst>
                <a:cxn ang="0">
                  <a:pos x="22" y="0"/>
                </a:cxn>
                <a:cxn ang="0">
                  <a:pos x="38" y="2"/>
                </a:cxn>
                <a:cxn ang="0">
                  <a:pos x="41" y="17"/>
                </a:cxn>
                <a:cxn ang="0">
                  <a:pos x="22" y="31"/>
                </a:cxn>
                <a:cxn ang="0">
                  <a:pos x="2" y="37"/>
                </a:cxn>
                <a:cxn ang="0">
                  <a:pos x="0" y="19"/>
                </a:cxn>
                <a:cxn ang="0">
                  <a:pos x="22" y="0"/>
                </a:cxn>
              </a:cxnLst>
              <a:rect l="0" t="0" r="r" b="b"/>
              <a:pathLst>
                <a:path w="42" h="38">
                  <a:moveTo>
                    <a:pt x="22" y="0"/>
                  </a:moveTo>
                  <a:lnTo>
                    <a:pt x="38" y="2"/>
                  </a:lnTo>
                  <a:lnTo>
                    <a:pt x="41" y="17"/>
                  </a:lnTo>
                  <a:lnTo>
                    <a:pt x="22" y="31"/>
                  </a:lnTo>
                  <a:lnTo>
                    <a:pt x="2" y="37"/>
                  </a:lnTo>
                  <a:lnTo>
                    <a:pt x="0" y="19"/>
                  </a:lnTo>
                  <a:lnTo>
                    <a:pt x="22" y="0"/>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2" name="Freeform 56"/>
            <p:cNvSpPr>
              <a:spLocks/>
            </p:cNvSpPr>
            <p:nvPr/>
          </p:nvSpPr>
          <p:spPr bwMode="auto">
            <a:xfrm>
              <a:off x="3402348" y="2307330"/>
              <a:ext cx="104744" cy="85383"/>
            </a:xfrm>
            <a:custGeom>
              <a:avLst/>
              <a:gdLst/>
              <a:ahLst/>
              <a:cxnLst>
                <a:cxn ang="0">
                  <a:pos x="35" y="0"/>
                </a:cxn>
                <a:cxn ang="0">
                  <a:pos x="42" y="17"/>
                </a:cxn>
                <a:cxn ang="0">
                  <a:pos x="22" y="31"/>
                </a:cxn>
                <a:cxn ang="0">
                  <a:pos x="4" y="37"/>
                </a:cxn>
                <a:cxn ang="0">
                  <a:pos x="0" y="19"/>
                </a:cxn>
                <a:cxn ang="0">
                  <a:pos x="8" y="5"/>
                </a:cxn>
                <a:cxn ang="0">
                  <a:pos x="35" y="0"/>
                </a:cxn>
              </a:cxnLst>
              <a:rect l="0" t="0" r="r" b="b"/>
              <a:pathLst>
                <a:path w="43" h="38">
                  <a:moveTo>
                    <a:pt x="35" y="0"/>
                  </a:moveTo>
                  <a:lnTo>
                    <a:pt x="42" y="17"/>
                  </a:lnTo>
                  <a:lnTo>
                    <a:pt x="22" y="31"/>
                  </a:lnTo>
                  <a:lnTo>
                    <a:pt x="4" y="37"/>
                  </a:lnTo>
                  <a:lnTo>
                    <a:pt x="0" y="19"/>
                  </a:lnTo>
                  <a:lnTo>
                    <a:pt x="8" y="5"/>
                  </a:lnTo>
                  <a:lnTo>
                    <a:pt x="35" y="0"/>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3" name="Freeform 57"/>
            <p:cNvSpPr>
              <a:spLocks/>
            </p:cNvSpPr>
            <p:nvPr/>
          </p:nvSpPr>
          <p:spPr bwMode="auto">
            <a:xfrm>
              <a:off x="3558248" y="1965797"/>
              <a:ext cx="87692" cy="130322"/>
            </a:xfrm>
            <a:custGeom>
              <a:avLst/>
              <a:gdLst/>
              <a:ahLst/>
              <a:cxnLst>
                <a:cxn ang="0">
                  <a:pos x="14" y="57"/>
                </a:cxn>
                <a:cxn ang="0">
                  <a:pos x="35" y="43"/>
                </a:cxn>
                <a:cxn ang="0">
                  <a:pos x="28" y="25"/>
                </a:cxn>
                <a:cxn ang="0">
                  <a:pos x="21" y="13"/>
                </a:cxn>
                <a:cxn ang="0">
                  <a:pos x="14" y="0"/>
                </a:cxn>
                <a:cxn ang="0">
                  <a:pos x="0" y="6"/>
                </a:cxn>
                <a:cxn ang="0">
                  <a:pos x="7" y="27"/>
                </a:cxn>
                <a:cxn ang="0">
                  <a:pos x="14" y="57"/>
                </a:cxn>
              </a:cxnLst>
              <a:rect l="0" t="0" r="r" b="b"/>
              <a:pathLst>
                <a:path w="36" h="58">
                  <a:moveTo>
                    <a:pt x="14" y="57"/>
                  </a:moveTo>
                  <a:lnTo>
                    <a:pt x="35" y="43"/>
                  </a:lnTo>
                  <a:lnTo>
                    <a:pt x="28" y="25"/>
                  </a:lnTo>
                  <a:lnTo>
                    <a:pt x="21" y="13"/>
                  </a:lnTo>
                  <a:lnTo>
                    <a:pt x="14" y="0"/>
                  </a:lnTo>
                  <a:lnTo>
                    <a:pt x="0" y="6"/>
                  </a:lnTo>
                  <a:lnTo>
                    <a:pt x="7" y="27"/>
                  </a:lnTo>
                  <a:lnTo>
                    <a:pt x="14" y="57"/>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4" name="Freeform 58"/>
            <p:cNvSpPr>
              <a:spLocks/>
            </p:cNvSpPr>
            <p:nvPr/>
          </p:nvSpPr>
          <p:spPr bwMode="auto">
            <a:xfrm>
              <a:off x="3151451" y="2478096"/>
              <a:ext cx="260642" cy="244915"/>
            </a:xfrm>
            <a:custGeom>
              <a:avLst/>
              <a:gdLst/>
              <a:ahLst/>
              <a:cxnLst>
                <a:cxn ang="0">
                  <a:pos x="38" y="0"/>
                </a:cxn>
                <a:cxn ang="0">
                  <a:pos x="63" y="0"/>
                </a:cxn>
                <a:cxn ang="0">
                  <a:pos x="81" y="4"/>
                </a:cxn>
                <a:cxn ang="0">
                  <a:pos x="94" y="22"/>
                </a:cxn>
                <a:cxn ang="0">
                  <a:pos x="105" y="49"/>
                </a:cxn>
                <a:cxn ang="0">
                  <a:pos x="108" y="74"/>
                </a:cxn>
                <a:cxn ang="0">
                  <a:pos x="96" y="87"/>
                </a:cxn>
                <a:cxn ang="0">
                  <a:pos x="92" y="103"/>
                </a:cxn>
                <a:cxn ang="0">
                  <a:pos x="78" y="108"/>
                </a:cxn>
                <a:cxn ang="0">
                  <a:pos x="67" y="94"/>
                </a:cxn>
                <a:cxn ang="0">
                  <a:pos x="56" y="67"/>
                </a:cxn>
                <a:cxn ang="0">
                  <a:pos x="49" y="58"/>
                </a:cxn>
                <a:cxn ang="0">
                  <a:pos x="27" y="56"/>
                </a:cxn>
                <a:cxn ang="0">
                  <a:pos x="0" y="29"/>
                </a:cxn>
                <a:cxn ang="0">
                  <a:pos x="38" y="0"/>
                </a:cxn>
              </a:cxnLst>
              <a:rect l="0" t="0" r="r" b="b"/>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5" name="Freeform 59"/>
            <p:cNvSpPr>
              <a:spLocks/>
            </p:cNvSpPr>
            <p:nvPr/>
          </p:nvSpPr>
          <p:spPr bwMode="auto">
            <a:xfrm>
              <a:off x="3541196" y="1815253"/>
              <a:ext cx="141283" cy="96618"/>
            </a:xfrm>
            <a:custGeom>
              <a:avLst/>
              <a:gdLst/>
              <a:ahLst/>
              <a:cxnLst>
                <a:cxn ang="0">
                  <a:pos x="50" y="0"/>
                </a:cxn>
                <a:cxn ang="0">
                  <a:pos x="57" y="9"/>
                </a:cxn>
                <a:cxn ang="0">
                  <a:pos x="34" y="21"/>
                </a:cxn>
                <a:cxn ang="0">
                  <a:pos x="13" y="42"/>
                </a:cxn>
                <a:cxn ang="0">
                  <a:pos x="2" y="37"/>
                </a:cxn>
                <a:cxn ang="0">
                  <a:pos x="0" y="14"/>
                </a:cxn>
                <a:cxn ang="0">
                  <a:pos x="0" y="7"/>
                </a:cxn>
                <a:cxn ang="0">
                  <a:pos x="34" y="0"/>
                </a:cxn>
                <a:cxn ang="0">
                  <a:pos x="50" y="0"/>
                </a:cxn>
              </a:cxnLst>
              <a:rect l="0" t="0" r="r" b="b"/>
              <a:pathLst>
                <a:path w="58" h="43">
                  <a:moveTo>
                    <a:pt x="50" y="0"/>
                  </a:moveTo>
                  <a:lnTo>
                    <a:pt x="57" y="9"/>
                  </a:lnTo>
                  <a:lnTo>
                    <a:pt x="34" y="21"/>
                  </a:lnTo>
                  <a:lnTo>
                    <a:pt x="13" y="42"/>
                  </a:lnTo>
                  <a:lnTo>
                    <a:pt x="2" y="37"/>
                  </a:lnTo>
                  <a:lnTo>
                    <a:pt x="0" y="14"/>
                  </a:lnTo>
                  <a:lnTo>
                    <a:pt x="0" y="7"/>
                  </a:lnTo>
                  <a:lnTo>
                    <a:pt x="34" y="0"/>
                  </a:lnTo>
                  <a:lnTo>
                    <a:pt x="50" y="0"/>
                  </a:lnTo>
                </a:path>
              </a:pathLst>
            </a:custGeom>
            <a:ln>
              <a:headEnd/>
              <a:tailEnd/>
            </a:ln>
          </p:spPr>
          <p:style>
            <a:lnRef idx="1">
              <a:schemeClr val="accent2"/>
            </a:lnRef>
            <a:fillRef idx="2">
              <a:schemeClr val="accent2"/>
            </a:fillRef>
            <a:effectRef idx="1">
              <a:schemeClr val="accent2"/>
            </a:effectRef>
            <a:fontRef idx="minor">
              <a:schemeClr val="dk1"/>
            </a:fontRef>
          </p:style>
          <p:txBody>
            <a:bodyPr/>
            <a:lstStyle/>
            <a:p>
              <a:pPr>
                <a:defRPr/>
              </a:pPr>
              <a:endParaRPr lang="en-US" dirty="0">
                <a:solidFill>
                  <a:srgbClr val="000000"/>
                </a:solidFill>
              </a:endParaRPr>
            </a:p>
          </p:txBody>
        </p:sp>
        <p:sp>
          <p:nvSpPr>
            <p:cNvPr id="56" name="Oval 85"/>
            <p:cNvSpPr>
              <a:spLocks noChangeArrowheads="1"/>
            </p:cNvSpPr>
            <p:nvPr/>
          </p:nvSpPr>
          <p:spPr bwMode="auto">
            <a:xfrm>
              <a:off x="3321963" y="3884672"/>
              <a:ext cx="216796" cy="103358"/>
            </a:xfrm>
            <a:prstGeom prst="ellipse">
              <a:avLst/>
            </a:prstGeom>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ctr" eaLnBrk="0" hangingPunct="0">
                <a:spcBef>
                  <a:spcPct val="50000"/>
                </a:spcBef>
                <a:defRPr/>
              </a:pPr>
              <a:endParaRPr lang="de-DE" sz="1200">
                <a:solidFill>
                  <a:srgbClr val="000000"/>
                </a:solidFill>
                <a:latin typeface="Verdana" pitchFamily="34" charset="0"/>
              </a:endParaRPr>
            </a:p>
          </p:txBody>
        </p:sp>
      </p:grpSp>
      <p:graphicFrame>
        <p:nvGraphicFramePr>
          <p:cNvPr id="38" name="Chart 37"/>
          <p:cNvGraphicFramePr/>
          <p:nvPr>
            <p:extLst>
              <p:ext uri="{D42A27DB-BD31-4B8C-83A1-F6EECF244321}">
                <p14:modId xmlns:p14="http://schemas.microsoft.com/office/powerpoint/2010/main" val="1406013606"/>
              </p:ext>
            </p:extLst>
          </p:nvPr>
        </p:nvGraphicFramePr>
        <p:xfrm>
          <a:off x="4313875" y="2246923"/>
          <a:ext cx="2514600" cy="1803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2" name="Chart 41"/>
          <p:cNvGraphicFramePr/>
          <p:nvPr>
            <p:extLst>
              <p:ext uri="{D42A27DB-BD31-4B8C-83A1-F6EECF244321}">
                <p14:modId xmlns:p14="http://schemas.microsoft.com/office/powerpoint/2010/main" val="4091443493"/>
              </p:ext>
            </p:extLst>
          </p:nvPr>
        </p:nvGraphicFramePr>
        <p:xfrm>
          <a:off x="5105400" y="4622800"/>
          <a:ext cx="2514600" cy="1803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279375334"/>
              </p:ext>
            </p:extLst>
          </p:nvPr>
        </p:nvGraphicFramePr>
        <p:xfrm>
          <a:off x="381000" y="1447800"/>
          <a:ext cx="8763000" cy="1276365"/>
        </p:xfrm>
        <a:graphic>
          <a:graphicData uri="http://schemas.openxmlformats.org/drawingml/2006/table">
            <a:tbl>
              <a:tblPr firstRow="1" bandRow="1">
                <a:tableStyleId>{2D5ABB26-0587-4C30-8999-92F81FD0307C}</a:tableStyleId>
              </a:tblPr>
              <a:tblGrid>
                <a:gridCol w="1752600"/>
                <a:gridCol w="1752600"/>
                <a:gridCol w="1752600"/>
                <a:gridCol w="1752600"/>
                <a:gridCol w="1752600"/>
              </a:tblGrid>
              <a:tr h="1276365">
                <a:tc>
                  <a:txBody>
                    <a:bodyPr/>
                    <a:lstStyle/>
                    <a:p>
                      <a:r>
                        <a:rPr lang="en-US" sz="2800" b="1" dirty="0" smtClean="0"/>
                        <a:t>16%</a:t>
                      </a:r>
                    </a:p>
                    <a:p>
                      <a:r>
                        <a:rPr lang="en-US" sz="1100" b="1" dirty="0" smtClean="0">
                          <a:solidFill>
                            <a:srgbClr val="009999"/>
                          </a:solidFill>
                        </a:rPr>
                        <a:t>Very interested In mobility allowance solution</a:t>
                      </a:r>
                    </a:p>
                  </a:txBody>
                  <a:tcPr/>
                </a:tc>
                <a:tc>
                  <a:txBody>
                    <a:bodyPr/>
                    <a:lstStyle/>
                    <a:p>
                      <a:r>
                        <a:rPr lang="en-US" sz="2800" b="1" dirty="0" smtClean="0"/>
                        <a:t>38%</a:t>
                      </a:r>
                    </a:p>
                    <a:p>
                      <a:r>
                        <a:rPr lang="en-US" sz="1100" b="1" dirty="0" smtClean="0">
                          <a:solidFill>
                            <a:srgbClr val="00B0F0"/>
                          </a:solidFill>
                        </a:rPr>
                        <a:t>Somewhat Interested in mobility</a:t>
                      </a:r>
                      <a:r>
                        <a:rPr lang="en-US" sz="1100" b="1" baseline="0" dirty="0" smtClean="0">
                          <a:solidFill>
                            <a:srgbClr val="00B0F0"/>
                          </a:solidFill>
                        </a:rPr>
                        <a:t> allowance solution</a:t>
                      </a:r>
                      <a:endParaRPr lang="en-US" sz="1100" b="1" dirty="0" smtClean="0">
                        <a:solidFill>
                          <a:srgbClr val="00B0F0"/>
                        </a:solidFill>
                      </a:endParaRPr>
                    </a:p>
                  </a:txBody>
                  <a:tcPr/>
                </a:tc>
                <a:tc>
                  <a:txBody>
                    <a:bodyPr/>
                    <a:lstStyle/>
                    <a:p>
                      <a:r>
                        <a:rPr lang="en-US" sz="2800" b="1" dirty="0" smtClean="0"/>
                        <a:t>17%</a:t>
                      </a:r>
                    </a:p>
                    <a:p>
                      <a:r>
                        <a:rPr lang="en-US" sz="1100" b="1" dirty="0" smtClean="0">
                          <a:solidFill>
                            <a:schemeClr val="bg1">
                              <a:lumMod val="50000"/>
                            </a:schemeClr>
                          </a:solidFill>
                        </a:rPr>
                        <a:t>Neither/Nor</a:t>
                      </a:r>
                    </a:p>
                  </a:txBody>
                  <a:tcPr/>
                </a:tc>
                <a:tc>
                  <a:txBody>
                    <a:bodyPr/>
                    <a:lstStyle/>
                    <a:p>
                      <a:r>
                        <a:rPr lang="en-US" sz="2800" b="1" dirty="0" smtClean="0"/>
                        <a:t>16%</a:t>
                      </a:r>
                    </a:p>
                    <a:p>
                      <a:r>
                        <a:rPr lang="en-US" sz="1100" b="1" dirty="0" smtClean="0">
                          <a:solidFill>
                            <a:srgbClr val="E6AF00"/>
                          </a:solidFill>
                        </a:rPr>
                        <a:t> Somewhat not interested in mobility</a:t>
                      </a:r>
                      <a:r>
                        <a:rPr lang="en-US" sz="1100" b="1" baseline="0" dirty="0" smtClean="0">
                          <a:solidFill>
                            <a:srgbClr val="E6AF00"/>
                          </a:solidFill>
                        </a:rPr>
                        <a:t> solution</a:t>
                      </a:r>
                      <a:endParaRPr lang="en-US" sz="1100" b="1" dirty="0" smtClean="0">
                        <a:solidFill>
                          <a:srgbClr val="E6AF00"/>
                        </a:solidFill>
                      </a:endParaRPr>
                    </a:p>
                  </a:txBody>
                  <a:tcPr/>
                </a:tc>
                <a:tc>
                  <a:txBody>
                    <a:bodyPr/>
                    <a:lstStyle/>
                    <a:p>
                      <a:r>
                        <a:rPr lang="en-US" sz="2800" b="1" dirty="0" smtClean="0"/>
                        <a:t>10%</a:t>
                      </a:r>
                    </a:p>
                    <a:p>
                      <a:r>
                        <a:rPr lang="en-US" sz="1100" b="1" dirty="0" smtClean="0">
                          <a:solidFill>
                            <a:srgbClr val="C00000"/>
                          </a:solidFill>
                        </a:rPr>
                        <a:t>Not interested at all in mobility allowance</a:t>
                      </a:r>
                      <a:r>
                        <a:rPr lang="en-US" sz="1100" b="1" baseline="0" dirty="0" smtClean="0">
                          <a:solidFill>
                            <a:srgbClr val="C00000"/>
                          </a:solidFill>
                        </a:rPr>
                        <a:t> solution</a:t>
                      </a:r>
                      <a:endParaRPr lang="en-US" sz="1100" dirty="0"/>
                    </a:p>
                  </a:txBody>
                  <a:tcPr/>
                </a:tc>
              </a:tr>
            </a:tbl>
          </a:graphicData>
        </a:graphic>
      </p:graphicFrame>
      <p:sp>
        <p:nvSpPr>
          <p:cNvPr id="7" name="Title 1"/>
          <p:cNvSpPr>
            <a:spLocks noGrp="1"/>
          </p:cNvSpPr>
          <p:nvPr>
            <p:ph type="title"/>
          </p:nvPr>
        </p:nvSpPr>
        <p:spPr>
          <a:xfrm>
            <a:off x="367352" y="161344"/>
            <a:ext cx="8382000" cy="792162"/>
          </a:xfrm>
        </p:spPr>
        <p:txBody>
          <a:bodyPr>
            <a:normAutofit fontScale="90000"/>
          </a:bodyPr>
          <a:lstStyle/>
          <a:p>
            <a:pPr algn="l"/>
            <a:r>
              <a:rPr lang="en-US" sz="2200" dirty="0" smtClean="0">
                <a:solidFill>
                  <a:schemeClr val="tx2"/>
                </a:solidFill>
              </a:rPr>
              <a:t>Interest Towards Mobility Allowance</a:t>
            </a:r>
            <a:r>
              <a:rPr lang="en-US" sz="2200" dirty="0">
                <a:solidFill>
                  <a:schemeClr val="tx2"/>
                </a:solidFill>
              </a:rPr>
              <a:t/>
            </a:r>
            <a:br>
              <a:rPr lang="en-US" sz="2200" dirty="0">
                <a:solidFill>
                  <a:schemeClr val="tx2"/>
                </a:solidFill>
              </a:rPr>
            </a:br>
            <a:r>
              <a:rPr lang="en-US" sz="1800" b="0" dirty="0" smtClean="0">
                <a:solidFill>
                  <a:schemeClr val="tx2"/>
                </a:solidFill>
              </a:rPr>
              <a:t>54% of the </a:t>
            </a:r>
            <a:r>
              <a:rPr lang="en-US" sz="1800" b="0" dirty="0">
                <a:solidFill>
                  <a:schemeClr val="tx2"/>
                </a:solidFill>
              </a:rPr>
              <a:t>sample </a:t>
            </a:r>
            <a:r>
              <a:rPr lang="en-US" sz="1800" b="0" dirty="0" smtClean="0">
                <a:solidFill>
                  <a:schemeClr val="tx2"/>
                </a:solidFill>
              </a:rPr>
              <a:t>expressed interested </a:t>
            </a:r>
            <a:r>
              <a:rPr lang="en-US" sz="1800" b="0" dirty="0">
                <a:solidFill>
                  <a:schemeClr val="tx2"/>
                </a:solidFill>
              </a:rPr>
              <a:t>in a move to a “Mobility </a:t>
            </a:r>
            <a:r>
              <a:rPr lang="en-US" sz="1800" b="0" dirty="0" smtClean="0">
                <a:solidFill>
                  <a:schemeClr val="tx2"/>
                </a:solidFill>
              </a:rPr>
              <a:t>Allowance”</a:t>
            </a:r>
            <a:br>
              <a:rPr lang="en-US" sz="1800" b="0" dirty="0" smtClean="0">
                <a:solidFill>
                  <a:schemeClr val="tx2"/>
                </a:solidFill>
              </a:rPr>
            </a:br>
            <a:r>
              <a:rPr lang="en-US" sz="1800" b="0" dirty="0" smtClean="0">
                <a:solidFill>
                  <a:schemeClr val="tx2"/>
                </a:solidFill>
              </a:rPr>
              <a:t>As expected Belgium (62%) and Netherlands (59%) expressed greatest interest.</a:t>
            </a:r>
            <a:endParaRPr lang="en-US" dirty="0">
              <a:solidFill>
                <a:schemeClr val="tx2"/>
              </a:solidFill>
            </a:endParaRPr>
          </a:p>
        </p:txBody>
      </p:sp>
      <p:graphicFrame>
        <p:nvGraphicFramePr>
          <p:cNvPr id="28" name="Chart 27"/>
          <p:cNvGraphicFramePr/>
          <p:nvPr>
            <p:extLst>
              <p:ext uri="{D42A27DB-BD31-4B8C-83A1-F6EECF244321}">
                <p14:modId xmlns:p14="http://schemas.microsoft.com/office/powerpoint/2010/main" val="3786233113"/>
              </p:ext>
            </p:extLst>
          </p:nvPr>
        </p:nvGraphicFramePr>
        <p:xfrm>
          <a:off x="838200" y="2768600"/>
          <a:ext cx="2514600" cy="1803400"/>
        </p:xfrm>
        <a:graphic>
          <a:graphicData uri="http://schemas.openxmlformats.org/drawingml/2006/chart">
            <c:chart xmlns:c="http://schemas.openxmlformats.org/drawingml/2006/chart" xmlns:r="http://schemas.openxmlformats.org/officeDocument/2006/relationships" r:id="rId5"/>
          </a:graphicData>
        </a:graphic>
      </p:graphicFrame>
      <p:sp>
        <p:nvSpPr>
          <p:cNvPr id="29" name="TextBox 28"/>
          <p:cNvSpPr txBox="1"/>
          <p:nvPr/>
        </p:nvSpPr>
        <p:spPr>
          <a:xfrm>
            <a:off x="1676400" y="3409890"/>
            <a:ext cx="761999" cy="400110"/>
          </a:xfrm>
          <a:prstGeom prst="rect">
            <a:avLst/>
          </a:prstGeom>
          <a:noFill/>
        </p:spPr>
        <p:txBody>
          <a:bodyPr wrap="square" rtlCol="0">
            <a:spAutoFit/>
          </a:bodyPr>
          <a:lstStyle/>
          <a:p>
            <a:pPr algn="ctr" fontAlgn="base">
              <a:spcBef>
                <a:spcPct val="0"/>
              </a:spcBef>
              <a:spcAft>
                <a:spcPct val="0"/>
              </a:spcAft>
            </a:pPr>
            <a:r>
              <a:rPr lang="en-US" sz="1000" b="1" dirty="0" smtClean="0">
                <a:solidFill>
                  <a:srgbClr val="000000"/>
                </a:solidFill>
                <a:cs typeface="Arial" pitchFamily="34" charset="0"/>
              </a:rPr>
              <a:t>UK</a:t>
            </a:r>
            <a:endParaRPr lang="en-US" sz="1000" b="1" dirty="0">
              <a:solidFill>
                <a:srgbClr val="000000"/>
              </a:solidFill>
              <a:cs typeface="Arial" pitchFamily="34" charset="0"/>
            </a:endParaRPr>
          </a:p>
          <a:p>
            <a:pPr algn="ctr" fontAlgn="base">
              <a:spcBef>
                <a:spcPct val="0"/>
              </a:spcBef>
              <a:spcAft>
                <a:spcPct val="0"/>
              </a:spcAft>
            </a:pPr>
            <a:r>
              <a:rPr lang="en-US" sz="1000" b="1" dirty="0">
                <a:solidFill>
                  <a:srgbClr val="000000"/>
                </a:solidFill>
                <a:cs typeface="Arial" pitchFamily="34" charset="0"/>
              </a:rPr>
              <a:t>(</a:t>
            </a:r>
            <a:r>
              <a:rPr lang="en-US" sz="1000" b="1" dirty="0" smtClean="0">
                <a:solidFill>
                  <a:srgbClr val="000000"/>
                </a:solidFill>
                <a:cs typeface="Arial" pitchFamily="34" charset="0"/>
              </a:rPr>
              <a:t>N=76)</a:t>
            </a:r>
            <a:endParaRPr lang="en-US" sz="1000" b="1" dirty="0">
              <a:solidFill>
                <a:srgbClr val="000000"/>
              </a:solidFill>
              <a:cs typeface="Arial" pitchFamily="34" charset="0"/>
            </a:endParaRPr>
          </a:p>
        </p:txBody>
      </p:sp>
      <p:sp>
        <p:nvSpPr>
          <p:cNvPr id="2" name="Rectangle 1"/>
          <p:cNvSpPr/>
          <p:nvPr/>
        </p:nvSpPr>
        <p:spPr>
          <a:xfrm>
            <a:off x="304800" y="1524000"/>
            <a:ext cx="3505200" cy="990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57" name="Oval 56"/>
          <p:cNvSpPr/>
          <p:nvPr/>
        </p:nvSpPr>
        <p:spPr>
          <a:xfrm>
            <a:off x="3833698" y="3741737"/>
            <a:ext cx="82550" cy="6826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endParaRPr lang="en-GB" dirty="0">
              <a:solidFill>
                <a:srgbClr val="FFFFFF"/>
              </a:solidFill>
              <a:cs typeface="Arial" charset="0"/>
            </a:endParaRPr>
          </a:p>
        </p:txBody>
      </p:sp>
      <p:sp>
        <p:nvSpPr>
          <p:cNvPr id="58" name="Oval 57"/>
          <p:cNvSpPr/>
          <p:nvPr/>
        </p:nvSpPr>
        <p:spPr>
          <a:xfrm>
            <a:off x="4800600" y="3786187"/>
            <a:ext cx="84137" cy="666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endParaRPr lang="en-GB" dirty="0">
              <a:solidFill>
                <a:srgbClr val="FFFFFF"/>
              </a:solidFill>
              <a:cs typeface="Arial" charset="0"/>
            </a:endParaRPr>
          </a:p>
        </p:txBody>
      </p:sp>
      <p:sp>
        <p:nvSpPr>
          <p:cNvPr id="59" name="Oval 58"/>
          <p:cNvSpPr/>
          <p:nvPr/>
        </p:nvSpPr>
        <p:spPr>
          <a:xfrm>
            <a:off x="3962400" y="4556125"/>
            <a:ext cx="84137" cy="6667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endParaRPr lang="en-GB" dirty="0">
              <a:solidFill>
                <a:srgbClr val="FFFFFF"/>
              </a:solidFill>
              <a:cs typeface="Arial" charset="0"/>
            </a:endParaRPr>
          </a:p>
        </p:txBody>
      </p:sp>
      <p:sp>
        <p:nvSpPr>
          <p:cNvPr id="60" name="Oval 59"/>
          <p:cNvSpPr/>
          <p:nvPr/>
        </p:nvSpPr>
        <p:spPr>
          <a:xfrm>
            <a:off x="4572000" y="4100600"/>
            <a:ext cx="82550" cy="6826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endParaRPr lang="en-GB" dirty="0">
              <a:solidFill>
                <a:srgbClr val="FFFFFF"/>
              </a:solidFill>
              <a:cs typeface="Arial" charset="0"/>
            </a:endParaRPr>
          </a:p>
        </p:txBody>
      </p:sp>
      <p:cxnSp>
        <p:nvCxnSpPr>
          <p:cNvPr id="62" name="Straight Connector 61"/>
          <p:cNvCxnSpPr/>
          <p:nvPr/>
        </p:nvCxnSpPr>
        <p:spPr>
          <a:xfrm flipV="1">
            <a:off x="4870218" y="3375055"/>
            <a:ext cx="235182" cy="37085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612131" y="4181326"/>
            <a:ext cx="1104793" cy="10319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2819399" y="4633048"/>
            <a:ext cx="1076153" cy="6247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2819400" y="3805001"/>
            <a:ext cx="972574" cy="499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5410200" y="4021138"/>
            <a:ext cx="82550" cy="6826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base">
              <a:spcBef>
                <a:spcPct val="0"/>
              </a:spcBef>
              <a:spcAft>
                <a:spcPct val="0"/>
              </a:spcAft>
              <a:defRPr/>
            </a:pPr>
            <a:endParaRPr lang="en-GB" dirty="0">
              <a:solidFill>
                <a:srgbClr val="FFFFFF"/>
              </a:solidFill>
              <a:cs typeface="Arial" charset="0"/>
            </a:endParaRPr>
          </a:p>
        </p:txBody>
      </p:sp>
      <p:cxnSp>
        <p:nvCxnSpPr>
          <p:cNvPr id="67" name="Straight Connector 66"/>
          <p:cNvCxnSpPr/>
          <p:nvPr/>
        </p:nvCxnSpPr>
        <p:spPr>
          <a:xfrm flipV="1">
            <a:off x="5568950" y="4021138"/>
            <a:ext cx="984250" cy="3275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6799368" y="4019490"/>
            <a:ext cx="838200" cy="400110"/>
          </a:xfrm>
          <a:prstGeom prst="rect">
            <a:avLst/>
          </a:prstGeom>
          <a:noFill/>
        </p:spPr>
        <p:txBody>
          <a:bodyPr wrap="square" rtlCol="0">
            <a:spAutoFit/>
          </a:bodyPr>
          <a:lstStyle/>
          <a:p>
            <a:pPr algn="ctr" fontAlgn="base">
              <a:spcBef>
                <a:spcPct val="0"/>
              </a:spcBef>
              <a:spcAft>
                <a:spcPct val="0"/>
              </a:spcAft>
            </a:pPr>
            <a:r>
              <a:rPr lang="en-US" sz="1000" b="1" dirty="0" smtClean="0">
                <a:solidFill>
                  <a:srgbClr val="000000"/>
                </a:solidFill>
                <a:cs typeface="Arial" pitchFamily="34" charset="0"/>
              </a:rPr>
              <a:t>Germany</a:t>
            </a:r>
            <a:endParaRPr lang="en-US" sz="1000" b="1" dirty="0">
              <a:solidFill>
                <a:srgbClr val="000000"/>
              </a:solidFill>
              <a:cs typeface="Arial" pitchFamily="34" charset="0"/>
            </a:endParaRPr>
          </a:p>
          <a:p>
            <a:pPr algn="ctr" fontAlgn="base">
              <a:spcBef>
                <a:spcPct val="0"/>
              </a:spcBef>
              <a:spcAft>
                <a:spcPct val="0"/>
              </a:spcAft>
            </a:pPr>
            <a:r>
              <a:rPr lang="en-US" sz="1000" b="1" dirty="0">
                <a:solidFill>
                  <a:srgbClr val="000000"/>
                </a:solidFill>
                <a:cs typeface="Arial" pitchFamily="34" charset="0"/>
              </a:rPr>
              <a:t>(</a:t>
            </a:r>
            <a:r>
              <a:rPr lang="en-US" sz="1000" b="1" dirty="0" smtClean="0">
                <a:solidFill>
                  <a:srgbClr val="000000"/>
                </a:solidFill>
                <a:cs typeface="Arial" pitchFamily="34" charset="0"/>
              </a:rPr>
              <a:t>N=74)</a:t>
            </a:r>
            <a:endParaRPr lang="en-US" sz="1000" b="1" dirty="0">
              <a:solidFill>
                <a:srgbClr val="000000"/>
              </a:solidFill>
              <a:cs typeface="Arial" pitchFamily="34" charset="0"/>
            </a:endParaRPr>
          </a:p>
        </p:txBody>
      </p:sp>
      <p:sp>
        <p:nvSpPr>
          <p:cNvPr id="70" name="TextBox 69"/>
          <p:cNvSpPr txBox="1"/>
          <p:nvPr/>
        </p:nvSpPr>
        <p:spPr>
          <a:xfrm>
            <a:off x="5943600" y="5302851"/>
            <a:ext cx="838200" cy="400110"/>
          </a:xfrm>
          <a:prstGeom prst="rect">
            <a:avLst/>
          </a:prstGeom>
          <a:noFill/>
        </p:spPr>
        <p:txBody>
          <a:bodyPr wrap="square" rtlCol="0">
            <a:spAutoFit/>
          </a:bodyPr>
          <a:lstStyle/>
          <a:p>
            <a:pPr algn="ctr" fontAlgn="base">
              <a:spcBef>
                <a:spcPct val="0"/>
              </a:spcBef>
              <a:spcAft>
                <a:spcPct val="0"/>
              </a:spcAft>
            </a:pPr>
            <a:r>
              <a:rPr lang="en-US" sz="1000" b="1" dirty="0" smtClean="0">
                <a:solidFill>
                  <a:srgbClr val="000000"/>
                </a:solidFill>
                <a:cs typeface="Arial" pitchFamily="34" charset="0"/>
              </a:rPr>
              <a:t>Belgium</a:t>
            </a:r>
            <a:endParaRPr lang="en-US" sz="1000" b="1" dirty="0">
              <a:solidFill>
                <a:srgbClr val="000000"/>
              </a:solidFill>
              <a:cs typeface="Arial" pitchFamily="34" charset="0"/>
            </a:endParaRPr>
          </a:p>
          <a:p>
            <a:pPr algn="ctr" fontAlgn="base">
              <a:spcBef>
                <a:spcPct val="0"/>
              </a:spcBef>
              <a:spcAft>
                <a:spcPct val="0"/>
              </a:spcAft>
            </a:pPr>
            <a:r>
              <a:rPr lang="en-US" sz="1000" b="1" dirty="0">
                <a:solidFill>
                  <a:srgbClr val="000000"/>
                </a:solidFill>
                <a:cs typeface="Arial" pitchFamily="34" charset="0"/>
              </a:rPr>
              <a:t>(</a:t>
            </a:r>
            <a:r>
              <a:rPr lang="en-US" sz="1000" b="1" dirty="0" smtClean="0">
                <a:solidFill>
                  <a:srgbClr val="000000"/>
                </a:solidFill>
                <a:cs typeface="Arial" pitchFamily="34" charset="0"/>
              </a:rPr>
              <a:t>N=54)</a:t>
            </a:r>
            <a:endParaRPr lang="en-US" sz="1000" b="1" dirty="0">
              <a:solidFill>
                <a:srgbClr val="000000"/>
              </a:solidFill>
              <a:cs typeface="Arial" pitchFamily="34" charset="0"/>
            </a:endParaRPr>
          </a:p>
        </p:txBody>
      </p:sp>
      <p:sp>
        <p:nvSpPr>
          <p:cNvPr id="74" name="TextBox 73"/>
          <p:cNvSpPr txBox="1"/>
          <p:nvPr/>
        </p:nvSpPr>
        <p:spPr>
          <a:xfrm>
            <a:off x="304800" y="6211878"/>
            <a:ext cx="8077200" cy="254237"/>
          </a:xfrm>
          <a:prstGeom prst="rect">
            <a:avLst/>
          </a:prstGeom>
          <a:noFill/>
        </p:spPr>
        <p:txBody>
          <a:bodyPr wrap="square" rtlCol="0">
            <a:spAutoFit/>
          </a:bodyPr>
          <a:lstStyle/>
          <a:p>
            <a:pPr marL="342900" indent="-342900" fontAlgn="base">
              <a:lnSpc>
                <a:spcPct val="115000"/>
              </a:lnSpc>
            </a:pPr>
            <a:r>
              <a:rPr lang="en-US" sz="1000" dirty="0" smtClean="0">
                <a:solidFill>
                  <a:schemeClr val="bg1">
                    <a:lumMod val="50000"/>
                  </a:schemeClr>
                </a:solidFill>
                <a:ea typeface="MS Mincho"/>
                <a:cs typeface="Latha"/>
              </a:rPr>
              <a:t>Q10. Interest in mobility allowance solution? Base: those who have corporate car or cash allowance N=310</a:t>
            </a:r>
          </a:p>
        </p:txBody>
      </p:sp>
      <p:graphicFrame>
        <p:nvGraphicFramePr>
          <p:cNvPr id="37" name="Chart 36"/>
          <p:cNvGraphicFramePr/>
          <p:nvPr>
            <p:extLst>
              <p:ext uri="{D42A27DB-BD31-4B8C-83A1-F6EECF244321}">
                <p14:modId xmlns:p14="http://schemas.microsoft.com/office/powerpoint/2010/main" val="1298587110"/>
              </p:ext>
            </p:extLst>
          </p:nvPr>
        </p:nvGraphicFramePr>
        <p:xfrm>
          <a:off x="1157824" y="4263748"/>
          <a:ext cx="2514600" cy="1803400"/>
        </p:xfrm>
        <a:graphic>
          <a:graphicData uri="http://schemas.openxmlformats.org/drawingml/2006/chart">
            <c:chart xmlns:c="http://schemas.openxmlformats.org/drawingml/2006/chart" xmlns:r="http://schemas.openxmlformats.org/officeDocument/2006/relationships" r:id="rId6"/>
          </a:graphicData>
        </a:graphic>
      </p:graphicFrame>
      <p:sp>
        <p:nvSpPr>
          <p:cNvPr id="73" name="TextBox 72"/>
          <p:cNvSpPr txBox="1"/>
          <p:nvPr/>
        </p:nvSpPr>
        <p:spPr>
          <a:xfrm>
            <a:off x="5052212" y="2952690"/>
            <a:ext cx="1119988" cy="400110"/>
          </a:xfrm>
          <a:prstGeom prst="rect">
            <a:avLst/>
          </a:prstGeom>
          <a:noFill/>
        </p:spPr>
        <p:txBody>
          <a:bodyPr wrap="square" rtlCol="0">
            <a:spAutoFit/>
          </a:bodyPr>
          <a:lstStyle/>
          <a:p>
            <a:pPr algn="ctr" fontAlgn="base">
              <a:spcBef>
                <a:spcPct val="0"/>
              </a:spcBef>
              <a:spcAft>
                <a:spcPct val="0"/>
              </a:spcAft>
            </a:pPr>
            <a:r>
              <a:rPr lang="en-US" sz="1000" b="1" dirty="0" smtClean="0">
                <a:solidFill>
                  <a:srgbClr val="000000"/>
                </a:solidFill>
                <a:cs typeface="Arial" pitchFamily="34" charset="0"/>
              </a:rPr>
              <a:t>Netherlands</a:t>
            </a:r>
            <a:endParaRPr lang="en-US" sz="1000" b="1" dirty="0">
              <a:solidFill>
                <a:srgbClr val="000000"/>
              </a:solidFill>
              <a:cs typeface="Arial" pitchFamily="34" charset="0"/>
            </a:endParaRPr>
          </a:p>
          <a:p>
            <a:pPr algn="ctr" fontAlgn="base">
              <a:spcBef>
                <a:spcPct val="0"/>
              </a:spcBef>
              <a:spcAft>
                <a:spcPct val="0"/>
              </a:spcAft>
            </a:pPr>
            <a:r>
              <a:rPr lang="en-US" sz="1000" b="1" dirty="0">
                <a:solidFill>
                  <a:srgbClr val="000000"/>
                </a:solidFill>
                <a:cs typeface="Arial" pitchFamily="34" charset="0"/>
              </a:rPr>
              <a:t>(</a:t>
            </a:r>
            <a:r>
              <a:rPr lang="en-US" sz="1000" b="1" dirty="0" smtClean="0">
                <a:solidFill>
                  <a:srgbClr val="000000"/>
                </a:solidFill>
                <a:cs typeface="Arial" pitchFamily="34" charset="0"/>
              </a:rPr>
              <a:t>N=41)</a:t>
            </a:r>
            <a:endParaRPr lang="en-US" sz="1000" b="1" dirty="0">
              <a:solidFill>
                <a:srgbClr val="000000"/>
              </a:solidFill>
              <a:cs typeface="Arial" pitchFamily="34" charset="0"/>
            </a:endParaRPr>
          </a:p>
        </p:txBody>
      </p:sp>
      <p:sp>
        <p:nvSpPr>
          <p:cNvPr id="68" name="TextBox 67"/>
          <p:cNvSpPr txBox="1"/>
          <p:nvPr/>
        </p:nvSpPr>
        <p:spPr>
          <a:xfrm>
            <a:off x="2057400" y="5003800"/>
            <a:ext cx="761999" cy="400110"/>
          </a:xfrm>
          <a:prstGeom prst="rect">
            <a:avLst/>
          </a:prstGeom>
          <a:noFill/>
        </p:spPr>
        <p:txBody>
          <a:bodyPr wrap="square" rtlCol="0">
            <a:spAutoFit/>
          </a:bodyPr>
          <a:lstStyle/>
          <a:p>
            <a:pPr algn="ctr" fontAlgn="base">
              <a:spcBef>
                <a:spcPct val="0"/>
              </a:spcBef>
              <a:spcAft>
                <a:spcPct val="0"/>
              </a:spcAft>
            </a:pPr>
            <a:r>
              <a:rPr lang="en-US" sz="1000" b="1" dirty="0" smtClean="0">
                <a:solidFill>
                  <a:srgbClr val="000000"/>
                </a:solidFill>
                <a:cs typeface="Arial" pitchFamily="34" charset="0"/>
              </a:rPr>
              <a:t>France</a:t>
            </a:r>
            <a:endParaRPr lang="en-US" sz="1000" b="1" dirty="0">
              <a:solidFill>
                <a:srgbClr val="000000"/>
              </a:solidFill>
              <a:cs typeface="Arial" pitchFamily="34" charset="0"/>
            </a:endParaRPr>
          </a:p>
          <a:p>
            <a:pPr algn="ctr" fontAlgn="base">
              <a:spcBef>
                <a:spcPct val="0"/>
              </a:spcBef>
              <a:spcAft>
                <a:spcPct val="0"/>
              </a:spcAft>
            </a:pPr>
            <a:r>
              <a:rPr lang="en-US" sz="1000" b="1" dirty="0">
                <a:solidFill>
                  <a:srgbClr val="000000"/>
                </a:solidFill>
                <a:cs typeface="Arial" pitchFamily="34" charset="0"/>
              </a:rPr>
              <a:t>(</a:t>
            </a:r>
            <a:r>
              <a:rPr lang="en-US" sz="1000" b="1" dirty="0" smtClean="0">
                <a:solidFill>
                  <a:srgbClr val="000000"/>
                </a:solidFill>
                <a:cs typeface="Arial" pitchFamily="34" charset="0"/>
              </a:rPr>
              <a:t>N=65)</a:t>
            </a:r>
            <a:endParaRPr lang="en-US" sz="1000" b="1" dirty="0">
              <a:solidFill>
                <a:srgbClr val="000000"/>
              </a:solidFill>
              <a:cs typeface="Arial" pitchFamily="34" charset="0"/>
            </a:endParaRPr>
          </a:p>
        </p:txBody>
      </p:sp>
    </p:spTree>
    <p:extLst>
      <p:ext uri="{BB962C8B-B14F-4D97-AF65-F5344CB8AC3E}">
        <p14:creationId xmlns:p14="http://schemas.microsoft.com/office/powerpoint/2010/main" val="3288448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5"/>
          <p:cNvSpPr>
            <a:spLocks noChangeArrowheads="1"/>
          </p:cNvSpPr>
          <p:nvPr/>
        </p:nvSpPr>
        <p:spPr bwMode="gray">
          <a:xfrm>
            <a:off x="457200" y="1522369"/>
            <a:ext cx="8305800" cy="3962400"/>
          </a:xfrm>
          <a:prstGeom prst="rect">
            <a:avLst/>
          </a:prstGeom>
          <a:solidFill>
            <a:srgbClr val="ECEDEF"/>
          </a:solidFill>
          <a:ln w="12700">
            <a:solidFill>
              <a:srgbClr val="ECEDEF"/>
            </a:solidFill>
            <a:miter lim="800000"/>
            <a:headEnd/>
            <a:tailEnd/>
          </a:ln>
          <a:effectLst/>
        </p:spPr>
        <p:txBody>
          <a:bodyPr lIns="108000" tIns="108000" rIns="144000" bIns="72000"/>
          <a:lstStyle/>
          <a:p>
            <a:pPr algn="ctr">
              <a:lnSpc>
                <a:spcPct val="95000"/>
              </a:lnSpc>
              <a:buClr>
                <a:srgbClr val="17426B"/>
              </a:buClr>
              <a:tabLst>
                <a:tab pos="0" algn="l"/>
              </a:tabLst>
            </a:pPr>
            <a:endParaRPr lang="en-US" sz="1400" noProof="1">
              <a:solidFill>
                <a:srgbClr val="17426B"/>
              </a:solidFill>
              <a:cs typeface="Arial" charset="0"/>
            </a:endParaRPr>
          </a:p>
        </p:txBody>
      </p:sp>
      <p:sp>
        <p:nvSpPr>
          <p:cNvPr id="7" name="Title 1"/>
          <p:cNvSpPr>
            <a:spLocks noGrp="1"/>
          </p:cNvSpPr>
          <p:nvPr>
            <p:ph type="title"/>
          </p:nvPr>
        </p:nvSpPr>
        <p:spPr>
          <a:xfrm>
            <a:off x="394647" y="134048"/>
            <a:ext cx="8540931" cy="792162"/>
          </a:xfrm>
        </p:spPr>
        <p:txBody>
          <a:bodyPr>
            <a:normAutofit fontScale="90000"/>
          </a:bodyPr>
          <a:lstStyle/>
          <a:p>
            <a:pPr algn="l"/>
            <a:r>
              <a:rPr lang="en-US" sz="2200" dirty="0" smtClean="0">
                <a:solidFill>
                  <a:schemeClr val="tx2"/>
                </a:solidFill>
              </a:rPr>
              <a:t>Mobility Integration Services</a:t>
            </a:r>
            <a:br>
              <a:rPr lang="en-US" sz="2200" dirty="0" smtClean="0">
                <a:solidFill>
                  <a:schemeClr val="tx2"/>
                </a:solidFill>
              </a:rPr>
            </a:br>
            <a:r>
              <a:rPr lang="en-US" sz="1800" b="0" dirty="0" smtClean="0">
                <a:solidFill>
                  <a:schemeClr val="tx2"/>
                </a:solidFill>
              </a:rPr>
              <a:t>Services typically integrated by a Travel Management Company are the most preferred.</a:t>
            </a:r>
            <a:br>
              <a:rPr lang="en-US" sz="1800" b="0" dirty="0" smtClean="0">
                <a:solidFill>
                  <a:schemeClr val="tx2"/>
                </a:solidFill>
              </a:rPr>
            </a:br>
            <a:r>
              <a:rPr lang="en-US" sz="1800" b="0" dirty="0" smtClean="0">
                <a:solidFill>
                  <a:schemeClr val="tx2"/>
                </a:solidFill>
              </a:rPr>
              <a:t>Payment options feature prominently; an any device strategy is integral to Future Mobility</a:t>
            </a:r>
            <a:endParaRPr lang="en-US" sz="1800" b="0" dirty="0">
              <a:solidFill>
                <a:schemeClr val="tx2"/>
              </a:solidFill>
            </a:endParaRPr>
          </a:p>
        </p:txBody>
      </p:sp>
      <p:sp>
        <p:nvSpPr>
          <p:cNvPr id="8" name="TextBox 7"/>
          <p:cNvSpPr txBox="1"/>
          <p:nvPr/>
        </p:nvSpPr>
        <p:spPr>
          <a:xfrm>
            <a:off x="304800" y="5544039"/>
            <a:ext cx="8077200" cy="800219"/>
          </a:xfrm>
          <a:prstGeom prst="rect">
            <a:avLst/>
          </a:prstGeom>
          <a:noFill/>
        </p:spPr>
        <p:txBody>
          <a:bodyPr wrap="square" rtlCol="0">
            <a:spAutoFit/>
          </a:bodyPr>
          <a:lstStyle/>
          <a:p>
            <a:pPr marL="342900" indent="-342900" fontAlgn="base">
              <a:lnSpc>
                <a:spcPct val="115000"/>
              </a:lnSpc>
            </a:pPr>
            <a:r>
              <a:rPr lang="en-US" sz="1000" dirty="0" smtClean="0">
                <a:solidFill>
                  <a:schemeClr val="bg1">
                    <a:lumMod val="50000"/>
                  </a:schemeClr>
                </a:solidFill>
                <a:ea typeface="MS Mincho"/>
                <a:cs typeface="Latha"/>
              </a:rPr>
              <a:t>Q31. Most preferred services in an integrated solution n=465</a:t>
            </a:r>
          </a:p>
          <a:p>
            <a:pPr marL="342900" indent="-342900" fontAlgn="base">
              <a:lnSpc>
                <a:spcPct val="115000"/>
              </a:lnSpc>
            </a:pPr>
            <a:r>
              <a:rPr lang="en-US" sz="1000" dirty="0" smtClean="0">
                <a:solidFill>
                  <a:schemeClr val="bg1">
                    <a:lumMod val="50000"/>
                  </a:schemeClr>
                </a:solidFill>
                <a:ea typeface="MS Mincho"/>
                <a:cs typeface="Latha"/>
              </a:rPr>
              <a:t>Preferences were selected by respondents from a pre-defined list of services as opposed to a free format / free choice approach</a:t>
            </a:r>
          </a:p>
          <a:p>
            <a:pPr marL="342900" indent="-342900" fontAlgn="base">
              <a:lnSpc>
                <a:spcPct val="115000"/>
              </a:lnSpc>
            </a:pPr>
            <a:r>
              <a:rPr lang="en-US" sz="1000" dirty="0" smtClean="0">
                <a:solidFill>
                  <a:schemeClr val="bg1">
                    <a:lumMod val="50000"/>
                  </a:schemeClr>
                </a:solidFill>
                <a:ea typeface="MS Mincho"/>
                <a:cs typeface="Latha"/>
              </a:rPr>
              <a:t>* Covering payment of traditional fuel, energy and other services available from fuelling / charging stations e.g. cleaning / </a:t>
            </a:r>
            <a:r>
              <a:rPr lang="en-US" sz="1000" dirty="0" err="1" smtClean="0">
                <a:solidFill>
                  <a:schemeClr val="bg1">
                    <a:lumMod val="50000"/>
                  </a:schemeClr>
                </a:solidFill>
                <a:ea typeface="MS Mincho"/>
                <a:cs typeface="Latha"/>
              </a:rPr>
              <a:t>valeting</a:t>
            </a:r>
            <a:endParaRPr lang="en-US" sz="1000" dirty="0" smtClean="0">
              <a:solidFill>
                <a:schemeClr val="bg1">
                  <a:lumMod val="50000"/>
                </a:schemeClr>
              </a:solidFill>
              <a:ea typeface="MS Mincho"/>
              <a:cs typeface="Latha"/>
            </a:endParaRPr>
          </a:p>
          <a:p>
            <a:pPr marL="342900" indent="-342900" fontAlgn="base">
              <a:lnSpc>
                <a:spcPct val="115000"/>
              </a:lnSpc>
            </a:pPr>
            <a:r>
              <a:rPr lang="en-US" sz="1000" dirty="0" smtClean="0">
                <a:solidFill>
                  <a:schemeClr val="bg1">
                    <a:lumMod val="50000"/>
                  </a:schemeClr>
                </a:solidFill>
                <a:ea typeface="MS Mincho"/>
                <a:cs typeface="Latha"/>
              </a:rPr>
              <a:t>+ On-demand access to vehicles through services such as </a:t>
            </a:r>
            <a:r>
              <a:rPr lang="en-US" sz="1000" dirty="0" err="1" smtClean="0">
                <a:solidFill>
                  <a:schemeClr val="bg1">
                    <a:lumMod val="50000"/>
                  </a:schemeClr>
                </a:solidFill>
                <a:ea typeface="MS Mincho"/>
                <a:cs typeface="Latha"/>
              </a:rPr>
              <a:t>DriveNow</a:t>
            </a:r>
            <a:r>
              <a:rPr lang="en-US" sz="1000" dirty="0" smtClean="0">
                <a:solidFill>
                  <a:schemeClr val="bg1">
                    <a:lumMod val="50000"/>
                  </a:schemeClr>
                </a:solidFill>
                <a:ea typeface="MS Mincho"/>
                <a:cs typeface="Latha"/>
              </a:rPr>
              <a:t>, Car2Go, </a:t>
            </a:r>
            <a:r>
              <a:rPr lang="en-US" sz="1000" dirty="0" err="1" smtClean="0">
                <a:solidFill>
                  <a:schemeClr val="bg1">
                    <a:lumMod val="50000"/>
                  </a:schemeClr>
                </a:solidFill>
                <a:ea typeface="MS Mincho"/>
                <a:cs typeface="Latha"/>
              </a:rPr>
              <a:t>Zipcar</a:t>
            </a:r>
            <a:r>
              <a:rPr lang="en-US" sz="1000" dirty="0" smtClean="0">
                <a:solidFill>
                  <a:schemeClr val="bg1">
                    <a:lumMod val="50000"/>
                  </a:schemeClr>
                </a:solidFill>
                <a:ea typeface="MS Mincho"/>
                <a:cs typeface="Latha"/>
              </a:rPr>
              <a:t>, etc.</a:t>
            </a:r>
          </a:p>
        </p:txBody>
      </p:sp>
      <p:sp>
        <p:nvSpPr>
          <p:cNvPr id="29" name="Rounded Rectangle 28"/>
          <p:cNvSpPr/>
          <p:nvPr/>
        </p:nvSpPr>
        <p:spPr bwMode="auto">
          <a:xfrm>
            <a:off x="4724400" y="2100219"/>
            <a:ext cx="787400" cy="1168400"/>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pic>
        <p:nvPicPr>
          <p:cNvPr id="30"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30880" y="2267633"/>
            <a:ext cx="630945" cy="550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ounded Rectangle 30"/>
          <p:cNvSpPr/>
          <p:nvPr/>
        </p:nvSpPr>
        <p:spPr bwMode="auto">
          <a:xfrm>
            <a:off x="4800600" y="2822003"/>
            <a:ext cx="635000" cy="3746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a:solidFill>
                  <a:srgbClr val="000000"/>
                </a:solidFill>
              </a:rPr>
              <a:t>Trip Planner</a:t>
            </a:r>
          </a:p>
        </p:txBody>
      </p:sp>
      <p:grpSp>
        <p:nvGrpSpPr>
          <p:cNvPr id="6" name="Group 248"/>
          <p:cNvGrpSpPr>
            <a:grpSpLocks/>
          </p:cNvGrpSpPr>
          <p:nvPr/>
        </p:nvGrpSpPr>
        <p:grpSpPr bwMode="auto">
          <a:xfrm>
            <a:off x="5715000" y="2100219"/>
            <a:ext cx="787400" cy="1168400"/>
            <a:chOff x="610295" y="2678998"/>
            <a:chExt cx="861044" cy="1187731"/>
          </a:xfrm>
        </p:grpSpPr>
        <p:sp>
          <p:nvSpPr>
            <p:cNvPr id="33" name="Rounded Rectangle 32"/>
            <p:cNvSpPr/>
            <p:nvPr/>
          </p:nvSpPr>
          <p:spPr>
            <a:xfrm>
              <a:off x="610295" y="2678998"/>
              <a:ext cx="861044"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34" name="Rounded Rectangle 33"/>
            <p:cNvSpPr/>
            <p:nvPr/>
          </p:nvSpPr>
          <p:spPr>
            <a:xfrm>
              <a:off x="652503" y="3397661"/>
              <a:ext cx="772510"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Parking Payment</a:t>
              </a:r>
              <a:endParaRPr lang="en-GB" sz="1000" b="1" kern="0" dirty="0">
                <a:solidFill>
                  <a:srgbClr val="000000"/>
                </a:solidFill>
              </a:endParaRPr>
            </a:p>
          </p:txBody>
        </p:sp>
      </p:grpSp>
      <p:pic>
        <p:nvPicPr>
          <p:cNvPr id="35" name="Picture 4"/>
          <p:cNvPicPr>
            <a:picLocks noChangeAspect="1" noChangeArrowheads="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73660" y="2250076"/>
            <a:ext cx="679187" cy="50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244"/>
          <p:cNvGrpSpPr>
            <a:grpSpLocks/>
          </p:cNvGrpSpPr>
          <p:nvPr/>
        </p:nvGrpSpPr>
        <p:grpSpPr bwMode="auto">
          <a:xfrm>
            <a:off x="706929" y="3998869"/>
            <a:ext cx="911666" cy="1168400"/>
            <a:chOff x="525348" y="2679345"/>
            <a:chExt cx="996933" cy="1187731"/>
          </a:xfrm>
        </p:grpSpPr>
        <p:sp>
          <p:nvSpPr>
            <p:cNvPr id="37" name="Rounded Rectangle 36"/>
            <p:cNvSpPr/>
            <p:nvPr/>
          </p:nvSpPr>
          <p:spPr>
            <a:xfrm>
              <a:off x="585570" y="2679345"/>
              <a:ext cx="861043"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38" name="Rounded Rectangle 37"/>
            <p:cNvSpPr/>
            <p:nvPr/>
          </p:nvSpPr>
          <p:spPr>
            <a:xfrm>
              <a:off x="525348" y="3398569"/>
              <a:ext cx="996933"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Car Sharing </a:t>
              </a:r>
              <a:r>
                <a:rPr lang="en-GB" sz="1000" b="1" kern="0" baseline="30000" dirty="0" smtClean="0">
                  <a:solidFill>
                    <a:srgbClr val="000000"/>
                  </a:solidFill>
                </a:rPr>
                <a:t>+</a:t>
              </a:r>
              <a:r>
                <a:rPr lang="en-GB" sz="1000" b="1" kern="0" dirty="0" smtClean="0">
                  <a:solidFill>
                    <a:srgbClr val="000000"/>
                  </a:solidFill>
                </a:rPr>
                <a:t> Membership</a:t>
              </a:r>
              <a:endParaRPr lang="en-GB" sz="1000" b="1" kern="0" dirty="0">
                <a:solidFill>
                  <a:srgbClr val="000000"/>
                </a:solidFill>
              </a:endParaRPr>
            </a:p>
          </p:txBody>
        </p:sp>
      </p:grpSp>
      <p:grpSp>
        <p:nvGrpSpPr>
          <p:cNvPr id="11" name="Group 240"/>
          <p:cNvGrpSpPr>
            <a:grpSpLocks/>
          </p:cNvGrpSpPr>
          <p:nvPr/>
        </p:nvGrpSpPr>
        <p:grpSpPr bwMode="auto">
          <a:xfrm>
            <a:off x="6705600" y="3998869"/>
            <a:ext cx="804365" cy="1168400"/>
            <a:chOff x="609705" y="2678464"/>
            <a:chExt cx="879596" cy="1187731"/>
          </a:xfrm>
        </p:grpSpPr>
        <p:sp>
          <p:nvSpPr>
            <p:cNvPr id="58" name="Rounded Rectangle 57"/>
            <p:cNvSpPr/>
            <p:nvPr/>
          </p:nvSpPr>
          <p:spPr>
            <a:xfrm>
              <a:off x="609705" y="2678464"/>
              <a:ext cx="861044"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59" name="Rounded Rectangle 58"/>
            <p:cNvSpPr/>
            <p:nvPr/>
          </p:nvSpPr>
          <p:spPr>
            <a:xfrm>
              <a:off x="649632" y="3397127"/>
              <a:ext cx="839669"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Navigation Service</a:t>
              </a:r>
              <a:endParaRPr lang="en-GB" sz="1000" b="1" kern="0" dirty="0">
                <a:solidFill>
                  <a:srgbClr val="000000"/>
                </a:solidFill>
              </a:endParaRPr>
            </a:p>
          </p:txBody>
        </p:sp>
      </p:grpSp>
      <p:grpSp>
        <p:nvGrpSpPr>
          <p:cNvPr id="12" name="Group 236"/>
          <p:cNvGrpSpPr>
            <a:grpSpLocks/>
          </p:cNvGrpSpPr>
          <p:nvPr/>
        </p:nvGrpSpPr>
        <p:grpSpPr bwMode="auto">
          <a:xfrm>
            <a:off x="7745412" y="2100898"/>
            <a:ext cx="788988" cy="1168400"/>
            <a:chOff x="609179" y="2679306"/>
            <a:chExt cx="862781" cy="1187731"/>
          </a:xfrm>
        </p:grpSpPr>
        <p:sp>
          <p:nvSpPr>
            <p:cNvPr id="65" name="Rounded Rectangle 64"/>
            <p:cNvSpPr/>
            <p:nvPr/>
          </p:nvSpPr>
          <p:spPr>
            <a:xfrm>
              <a:off x="609179" y="2679306"/>
              <a:ext cx="862781"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66" name="Rounded Rectangle 65"/>
            <p:cNvSpPr/>
            <p:nvPr/>
          </p:nvSpPr>
          <p:spPr>
            <a:xfrm>
              <a:off x="688843" y="3397969"/>
              <a:ext cx="694390"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Taxi Booking</a:t>
              </a:r>
              <a:endParaRPr lang="en-GB" sz="1000" b="1" kern="0" dirty="0">
                <a:solidFill>
                  <a:srgbClr val="000000"/>
                </a:solidFill>
              </a:endParaRPr>
            </a:p>
          </p:txBody>
        </p:sp>
      </p:grpSp>
      <p:pic>
        <p:nvPicPr>
          <p:cNvPr id="67" name="Picture 9"/>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26610" y="2275217"/>
            <a:ext cx="631590" cy="46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232"/>
          <p:cNvGrpSpPr>
            <a:grpSpLocks/>
          </p:cNvGrpSpPr>
          <p:nvPr/>
        </p:nvGrpSpPr>
        <p:grpSpPr bwMode="auto">
          <a:xfrm>
            <a:off x="1676400" y="2100219"/>
            <a:ext cx="962050" cy="1168400"/>
            <a:chOff x="509882" y="2677949"/>
            <a:chExt cx="1052029" cy="1187731"/>
          </a:xfrm>
        </p:grpSpPr>
        <p:sp>
          <p:nvSpPr>
            <p:cNvPr id="69" name="Rounded Rectangle 68"/>
            <p:cNvSpPr/>
            <p:nvPr/>
          </p:nvSpPr>
          <p:spPr>
            <a:xfrm>
              <a:off x="570527" y="2677949"/>
              <a:ext cx="866075"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70" name="Rounded Rectangle 69"/>
            <p:cNvSpPr/>
            <p:nvPr/>
          </p:nvSpPr>
          <p:spPr>
            <a:xfrm>
              <a:off x="509882" y="3394461"/>
              <a:ext cx="1052029" cy="400214"/>
            </a:xfrm>
            <a:prstGeom prst="roundRect">
              <a:avLst/>
            </a:prstGeom>
            <a:noFill/>
            <a:ln w="3175" cap="flat" cmpd="sng" algn="ctr">
              <a:noFill/>
              <a:prstDash val="lgDash"/>
            </a:ln>
            <a:effectLst/>
          </p:spPr>
          <p:txBody>
            <a:bodyPr lIns="36000" tIns="36000" rIns="36000" bIns="36000"/>
            <a:lstStyle/>
            <a:p>
              <a:pPr algn="ctr">
                <a:defRPr/>
              </a:pPr>
              <a:r>
                <a:rPr lang="en-GB" sz="1000" b="1" kern="0" dirty="0" smtClean="0">
                  <a:solidFill>
                    <a:srgbClr val="000000"/>
                  </a:solidFill>
                </a:rPr>
                <a:t>Car </a:t>
              </a:r>
              <a:r>
                <a:rPr lang="en-GB" sz="1000" b="1" kern="0" dirty="0">
                  <a:solidFill>
                    <a:srgbClr val="000000"/>
                  </a:solidFill>
                </a:rPr>
                <a:t>Rental</a:t>
              </a:r>
            </a:p>
          </p:txBody>
        </p:sp>
      </p:grpSp>
      <p:pic>
        <p:nvPicPr>
          <p:cNvPr id="71" name="Picture 11"/>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00883" y="2304980"/>
            <a:ext cx="681919" cy="396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228"/>
          <p:cNvGrpSpPr>
            <a:grpSpLocks/>
          </p:cNvGrpSpPr>
          <p:nvPr/>
        </p:nvGrpSpPr>
        <p:grpSpPr bwMode="auto">
          <a:xfrm>
            <a:off x="5765373" y="3998869"/>
            <a:ext cx="787827" cy="1168753"/>
            <a:chOff x="609600" y="2678437"/>
            <a:chExt cx="861511" cy="1188090"/>
          </a:xfrm>
        </p:grpSpPr>
        <p:sp>
          <p:nvSpPr>
            <p:cNvPr id="73" name="Rounded Rectangle 72"/>
            <p:cNvSpPr/>
            <p:nvPr/>
          </p:nvSpPr>
          <p:spPr>
            <a:xfrm>
              <a:off x="608919" y="2678464"/>
              <a:ext cx="862779"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74" name="Rounded Rectangle 73"/>
            <p:cNvSpPr/>
            <p:nvPr/>
          </p:nvSpPr>
          <p:spPr>
            <a:xfrm>
              <a:off x="697453" y="3397127"/>
              <a:ext cx="696127"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Cycle</a:t>
              </a:r>
            </a:p>
            <a:p>
              <a:pPr algn="ctr">
                <a:defRPr/>
              </a:pPr>
              <a:r>
                <a:rPr lang="en-GB" sz="1000" b="1" kern="0" dirty="0" smtClean="0">
                  <a:solidFill>
                    <a:srgbClr val="000000"/>
                  </a:solidFill>
                </a:rPr>
                <a:t>Rental</a:t>
              </a:r>
              <a:endParaRPr lang="en-GB" sz="1000" b="1" kern="0" dirty="0">
                <a:solidFill>
                  <a:srgbClr val="000000"/>
                </a:solidFill>
              </a:endParaRPr>
            </a:p>
          </p:txBody>
        </p:sp>
      </p:grpSp>
      <p:grpSp>
        <p:nvGrpSpPr>
          <p:cNvPr id="15" name="Group 224"/>
          <p:cNvGrpSpPr>
            <a:grpSpLocks/>
          </p:cNvGrpSpPr>
          <p:nvPr/>
        </p:nvGrpSpPr>
        <p:grpSpPr bwMode="auto">
          <a:xfrm>
            <a:off x="3733800" y="2100219"/>
            <a:ext cx="787400" cy="1168400"/>
            <a:chOff x="610453" y="2678464"/>
            <a:chExt cx="861044" cy="1187731"/>
          </a:xfrm>
        </p:grpSpPr>
        <p:sp>
          <p:nvSpPr>
            <p:cNvPr id="77" name="Rounded Rectangle 76"/>
            <p:cNvSpPr/>
            <p:nvPr/>
          </p:nvSpPr>
          <p:spPr>
            <a:xfrm>
              <a:off x="610453" y="2678464"/>
              <a:ext cx="861044"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78" name="Rounded Rectangle 77"/>
            <p:cNvSpPr/>
            <p:nvPr/>
          </p:nvSpPr>
          <p:spPr>
            <a:xfrm>
              <a:off x="638342" y="3397127"/>
              <a:ext cx="772510" cy="380849"/>
            </a:xfrm>
            <a:prstGeom prst="roundRect">
              <a:avLst/>
            </a:prstGeom>
            <a:noFill/>
            <a:ln w="25400" cap="flat" cmpd="sng" algn="ctr">
              <a:noFill/>
              <a:prstDash val="solid"/>
            </a:ln>
            <a:effectLst/>
          </p:spPr>
          <p:txBody>
            <a:bodyPr lIns="36000" tIns="36000" rIns="36000" bIns="36000" anchor="ctr"/>
            <a:lstStyle/>
            <a:p>
              <a:pPr algn="ctr">
                <a:defRPr/>
              </a:pPr>
              <a:r>
                <a:rPr lang="en-GB" sz="1000" b="1" kern="0" dirty="0" smtClean="0">
                  <a:solidFill>
                    <a:srgbClr val="000000"/>
                  </a:solidFill>
                </a:rPr>
                <a:t>‘Fuel’ Payment*</a:t>
              </a:r>
              <a:endParaRPr lang="en-GB" sz="1000" b="1" kern="0" dirty="0">
                <a:solidFill>
                  <a:srgbClr val="000000"/>
                </a:solidFill>
              </a:endParaRPr>
            </a:p>
          </p:txBody>
        </p:sp>
      </p:grpSp>
      <p:sp>
        <p:nvSpPr>
          <p:cNvPr id="80" name="Rounded Rectangle 79"/>
          <p:cNvSpPr/>
          <p:nvPr/>
        </p:nvSpPr>
        <p:spPr bwMode="auto">
          <a:xfrm>
            <a:off x="2743200" y="2093869"/>
            <a:ext cx="792000" cy="1181100"/>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81" name="Rounded Rectangle 80"/>
          <p:cNvSpPr/>
          <p:nvPr/>
        </p:nvSpPr>
        <p:spPr bwMode="auto">
          <a:xfrm>
            <a:off x="2794817" y="2786192"/>
            <a:ext cx="681037" cy="376766"/>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Train ticketing</a:t>
            </a:r>
            <a:endParaRPr lang="en-GB" sz="1000" b="1" kern="0" dirty="0">
              <a:solidFill>
                <a:srgbClr val="000000"/>
              </a:solidFill>
            </a:endParaRPr>
          </a:p>
        </p:txBody>
      </p:sp>
      <p:grpSp>
        <p:nvGrpSpPr>
          <p:cNvPr id="16" name="Group 216"/>
          <p:cNvGrpSpPr>
            <a:grpSpLocks/>
          </p:cNvGrpSpPr>
          <p:nvPr/>
        </p:nvGrpSpPr>
        <p:grpSpPr bwMode="auto">
          <a:xfrm>
            <a:off x="1752600" y="3998869"/>
            <a:ext cx="792000" cy="1168400"/>
            <a:chOff x="609088" y="2677949"/>
            <a:chExt cx="851420" cy="1187731"/>
          </a:xfrm>
        </p:grpSpPr>
        <p:sp>
          <p:nvSpPr>
            <p:cNvPr id="85" name="Rounded Rectangle 84"/>
            <p:cNvSpPr/>
            <p:nvPr/>
          </p:nvSpPr>
          <p:spPr>
            <a:xfrm>
              <a:off x="609088" y="2677949"/>
              <a:ext cx="851420"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pic>
          <p:nvPicPr>
            <p:cNvPr id="86"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9519" y="2804091"/>
              <a:ext cx="692900" cy="52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 name="Rounded Rectangle 86"/>
            <p:cNvSpPr/>
            <p:nvPr/>
          </p:nvSpPr>
          <p:spPr>
            <a:xfrm>
              <a:off x="697832" y="3396612"/>
              <a:ext cx="694587"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a:solidFill>
                    <a:srgbClr val="000000"/>
                  </a:solidFill>
                </a:rPr>
                <a:t>Airport Lounge</a:t>
              </a:r>
            </a:p>
          </p:txBody>
        </p:sp>
      </p:grpSp>
      <p:grpSp>
        <p:nvGrpSpPr>
          <p:cNvPr id="17" name="Group 248"/>
          <p:cNvGrpSpPr>
            <a:grpSpLocks/>
          </p:cNvGrpSpPr>
          <p:nvPr/>
        </p:nvGrpSpPr>
        <p:grpSpPr bwMode="auto">
          <a:xfrm>
            <a:off x="4761213" y="3998869"/>
            <a:ext cx="801387" cy="1168753"/>
            <a:chOff x="609600" y="2678437"/>
            <a:chExt cx="861511" cy="1188090"/>
          </a:xfrm>
        </p:grpSpPr>
        <p:sp>
          <p:nvSpPr>
            <p:cNvPr id="91" name="Rounded Rectangle 90"/>
            <p:cNvSpPr/>
            <p:nvPr/>
          </p:nvSpPr>
          <p:spPr>
            <a:xfrm>
              <a:off x="610196" y="2678998"/>
              <a:ext cx="860127"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92" name="Rounded Rectangle 91"/>
            <p:cNvSpPr/>
            <p:nvPr/>
          </p:nvSpPr>
          <p:spPr>
            <a:xfrm>
              <a:off x="698939" y="3397661"/>
              <a:ext cx="692880"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Car Pooling</a:t>
              </a:r>
              <a:endParaRPr lang="en-GB" sz="1000" b="1" kern="0" dirty="0">
                <a:solidFill>
                  <a:srgbClr val="000000"/>
                </a:solidFill>
              </a:endParaRPr>
            </a:p>
          </p:txBody>
        </p:sp>
      </p:grpSp>
      <p:grpSp>
        <p:nvGrpSpPr>
          <p:cNvPr id="18" name="Group 240"/>
          <p:cNvGrpSpPr>
            <a:grpSpLocks/>
          </p:cNvGrpSpPr>
          <p:nvPr/>
        </p:nvGrpSpPr>
        <p:grpSpPr bwMode="auto">
          <a:xfrm>
            <a:off x="3616118" y="3998896"/>
            <a:ext cx="941223" cy="1168400"/>
            <a:chOff x="525432" y="2678464"/>
            <a:chExt cx="1011839" cy="1187731"/>
          </a:xfrm>
        </p:grpSpPr>
        <p:sp>
          <p:nvSpPr>
            <p:cNvPr id="101" name="Rounded Rectangle 100"/>
            <p:cNvSpPr/>
            <p:nvPr/>
          </p:nvSpPr>
          <p:spPr>
            <a:xfrm>
              <a:off x="610105" y="2678464"/>
              <a:ext cx="861835"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102" name="Rounded Rectangle 101"/>
            <p:cNvSpPr/>
            <p:nvPr/>
          </p:nvSpPr>
          <p:spPr>
            <a:xfrm>
              <a:off x="525432" y="3397127"/>
              <a:ext cx="1011839"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Hourly Office Rental</a:t>
              </a:r>
              <a:endParaRPr lang="en-GB" sz="1000" b="1" kern="0" dirty="0">
                <a:solidFill>
                  <a:srgbClr val="000000"/>
                </a:solidFill>
              </a:endParaRPr>
            </a:p>
          </p:txBody>
        </p:sp>
      </p:grpSp>
      <p:grpSp>
        <p:nvGrpSpPr>
          <p:cNvPr id="19" name="Group 236"/>
          <p:cNvGrpSpPr>
            <a:grpSpLocks/>
          </p:cNvGrpSpPr>
          <p:nvPr/>
        </p:nvGrpSpPr>
        <p:grpSpPr bwMode="auto">
          <a:xfrm>
            <a:off x="6705600" y="2100219"/>
            <a:ext cx="792000" cy="1168400"/>
            <a:chOff x="609093" y="2679306"/>
            <a:chExt cx="851420" cy="1187731"/>
          </a:xfrm>
        </p:grpSpPr>
        <p:sp>
          <p:nvSpPr>
            <p:cNvPr id="106" name="Rounded Rectangle 105"/>
            <p:cNvSpPr/>
            <p:nvPr/>
          </p:nvSpPr>
          <p:spPr>
            <a:xfrm>
              <a:off x="609093" y="2679306"/>
              <a:ext cx="851420"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107" name="Rounded Rectangle 106"/>
            <p:cNvSpPr/>
            <p:nvPr/>
          </p:nvSpPr>
          <p:spPr>
            <a:xfrm>
              <a:off x="733674" y="3397969"/>
              <a:ext cx="694588"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Taxi Payment</a:t>
              </a:r>
              <a:endParaRPr lang="en-GB" sz="1000" b="1" kern="0" dirty="0">
                <a:solidFill>
                  <a:srgbClr val="000000"/>
                </a:solidFill>
              </a:endParaRPr>
            </a:p>
          </p:txBody>
        </p:sp>
      </p:grpSp>
      <p:sp>
        <p:nvSpPr>
          <p:cNvPr id="108" name="TextBox 107"/>
          <p:cNvSpPr txBox="1"/>
          <p:nvPr/>
        </p:nvSpPr>
        <p:spPr>
          <a:xfrm>
            <a:off x="2571586" y="1138392"/>
            <a:ext cx="4279885" cy="307777"/>
          </a:xfrm>
          <a:prstGeom prst="rect">
            <a:avLst/>
          </a:prstGeom>
          <a:noFill/>
        </p:spPr>
        <p:txBody>
          <a:bodyPr wrap="square" rtlCol="0">
            <a:spAutoFit/>
          </a:bodyPr>
          <a:lstStyle/>
          <a:p>
            <a:pPr algn="ctr"/>
            <a:r>
              <a:rPr lang="en-GB" sz="1400" dirty="0" smtClean="0"/>
              <a:t>Most Preferred Services (top 5 ranking) - </a:t>
            </a:r>
            <a:r>
              <a:rPr lang="en-GB" sz="1400" dirty="0"/>
              <a:t>Europe</a:t>
            </a:r>
          </a:p>
        </p:txBody>
      </p:sp>
      <p:sp>
        <p:nvSpPr>
          <p:cNvPr id="2" name="TextBox 1"/>
          <p:cNvSpPr txBox="1"/>
          <p:nvPr/>
        </p:nvSpPr>
        <p:spPr>
          <a:xfrm>
            <a:off x="4807694" y="1671792"/>
            <a:ext cx="609600" cy="307777"/>
          </a:xfrm>
          <a:prstGeom prst="rect">
            <a:avLst/>
          </a:prstGeom>
          <a:noFill/>
        </p:spPr>
        <p:txBody>
          <a:bodyPr wrap="square" rtlCol="0">
            <a:spAutoFit/>
          </a:bodyPr>
          <a:lstStyle/>
          <a:p>
            <a:pPr algn="ctr"/>
            <a:r>
              <a:rPr lang="en-GB" sz="1400" dirty="0" smtClean="0">
                <a:solidFill>
                  <a:srgbClr val="000000"/>
                </a:solidFill>
              </a:rPr>
              <a:t>38%</a:t>
            </a:r>
            <a:endParaRPr lang="en-GB" sz="1400" dirty="0">
              <a:solidFill>
                <a:srgbClr val="000000"/>
              </a:solidFill>
            </a:endParaRPr>
          </a:p>
        </p:txBody>
      </p:sp>
      <p:sp>
        <p:nvSpPr>
          <p:cNvPr id="109" name="TextBox 108"/>
          <p:cNvSpPr txBox="1"/>
          <p:nvPr/>
        </p:nvSpPr>
        <p:spPr>
          <a:xfrm>
            <a:off x="7786863" y="1671792"/>
            <a:ext cx="609600" cy="307777"/>
          </a:xfrm>
          <a:prstGeom prst="rect">
            <a:avLst/>
          </a:prstGeom>
          <a:noFill/>
        </p:spPr>
        <p:txBody>
          <a:bodyPr wrap="square" rtlCol="0">
            <a:spAutoFit/>
          </a:bodyPr>
          <a:lstStyle/>
          <a:p>
            <a:pPr algn="ctr"/>
            <a:r>
              <a:rPr lang="en-GB" sz="1400" dirty="0" smtClean="0">
                <a:solidFill>
                  <a:srgbClr val="000000"/>
                </a:solidFill>
              </a:rPr>
              <a:t>23%</a:t>
            </a:r>
            <a:endParaRPr lang="en-GB" sz="1400" dirty="0">
              <a:solidFill>
                <a:srgbClr val="000000"/>
              </a:solidFill>
            </a:endParaRPr>
          </a:p>
        </p:txBody>
      </p:sp>
      <p:sp>
        <p:nvSpPr>
          <p:cNvPr id="110" name="Rounded Rectangle 109"/>
          <p:cNvSpPr/>
          <p:nvPr/>
        </p:nvSpPr>
        <p:spPr bwMode="auto">
          <a:xfrm>
            <a:off x="2743200" y="3998869"/>
            <a:ext cx="792000" cy="1181100"/>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111" name="Rounded Rectangle 110"/>
          <p:cNvSpPr/>
          <p:nvPr/>
        </p:nvSpPr>
        <p:spPr bwMode="auto">
          <a:xfrm>
            <a:off x="2748590" y="4694764"/>
            <a:ext cx="773187" cy="376766"/>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Tube/Bus Ticketing</a:t>
            </a:r>
            <a:endParaRPr lang="en-GB" sz="1000" b="1" kern="0" dirty="0">
              <a:solidFill>
                <a:srgbClr val="000000"/>
              </a:solidFill>
            </a:endParaRPr>
          </a:p>
        </p:txBody>
      </p:sp>
      <p:pic>
        <p:nvPicPr>
          <p:cNvPr id="1026" name="Picture 2" descr="https://encrypted-tbn2.gstatic.com/images?q=tbn:ANd9GcQOAqrOpQjDoJlBG5H5WwFmr_lOC9vB7Z0lHdoAE4BA5uJXYPpMKQ"/>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355" t="3785" r="3952" b="34533"/>
          <a:stretch/>
        </p:blipFill>
        <p:spPr bwMode="auto">
          <a:xfrm>
            <a:off x="2793348" y="4185882"/>
            <a:ext cx="710206" cy="394583"/>
          </a:xfrm>
          <a:prstGeom prst="rect">
            <a:avLst/>
          </a:prstGeom>
          <a:solidFill>
            <a:schemeClr val="accent2"/>
          </a:solidFill>
        </p:spPr>
      </p:pic>
      <p:sp>
        <p:nvSpPr>
          <p:cNvPr id="113" name="TextBox 112"/>
          <p:cNvSpPr txBox="1"/>
          <p:nvPr/>
        </p:nvSpPr>
        <p:spPr>
          <a:xfrm>
            <a:off x="1828523" y="1671792"/>
            <a:ext cx="609600" cy="307777"/>
          </a:xfrm>
          <a:prstGeom prst="rect">
            <a:avLst/>
          </a:prstGeom>
          <a:noFill/>
        </p:spPr>
        <p:txBody>
          <a:bodyPr wrap="square" rtlCol="0">
            <a:spAutoFit/>
          </a:bodyPr>
          <a:lstStyle/>
          <a:p>
            <a:pPr algn="ctr"/>
            <a:r>
              <a:rPr lang="en-GB" sz="1400" dirty="0" smtClean="0">
                <a:solidFill>
                  <a:srgbClr val="000000"/>
                </a:solidFill>
              </a:rPr>
              <a:t>53%</a:t>
            </a:r>
            <a:endParaRPr lang="en-GB" sz="1400" dirty="0">
              <a:solidFill>
                <a:srgbClr val="000000"/>
              </a:solidFill>
            </a:endParaRPr>
          </a:p>
        </p:txBody>
      </p:sp>
      <p:sp>
        <p:nvSpPr>
          <p:cNvPr id="114" name="TextBox 113"/>
          <p:cNvSpPr txBox="1"/>
          <p:nvPr/>
        </p:nvSpPr>
        <p:spPr>
          <a:xfrm>
            <a:off x="2819400" y="3586972"/>
            <a:ext cx="609600" cy="307777"/>
          </a:xfrm>
          <a:prstGeom prst="rect">
            <a:avLst/>
          </a:prstGeom>
          <a:noFill/>
        </p:spPr>
        <p:txBody>
          <a:bodyPr wrap="square" rtlCol="0">
            <a:spAutoFit/>
          </a:bodyPr>
          <a:lstStyle/>
          <a:p>
            <a:pPr algn="ctr"/>
            <a:r>
              <a:rPr lang="en-GB" sz="1400" dirty="0" smtClean="0">
                <a:solidFill>
                  <a:srgbClr val="000000"/>
                </a:solidFill>
              </a:rPr>
              <a:t>22%</a:t>
            </a:r>
            <a:endParaRPr lang="en-GB" sz="1400" dirty="0">
              <a:solidFill>
                <a:srgbClr val="000000"/>
              </a:solidFill>
            </a:endParaRPr>
          </a:p>
        </p:txBody>
      </p:sp>
      <p:sp>
        <p:nvSpPr>
          <p:cNvPr id="115" name="TextBox 114"/>
          <p:cNvSpPr txBox="1"/>
          <p:nvPr/>
        </p:nvSpPr>
        <p:spPr>
          <a:xfrm>
            <a:off x="2821580" y="1671792"/>
            <a:ext cx="609600" cy="307777"/>
          </a:xfrm>
          <a:prstGeom prst="rect">
            <a:avLst/>
          </a:prstGeom>
          <a:noFill/>
        </p:spPr>
        <p:txBody>
          <a:bodyPr wrap="square" rtlCol="0">
            <a:spAutoFit/>
          </a:bodyPr>
          <a:lstStyle/>
          <a:p>
            <a:pPr algn="ctr"/>
            <a:r>
              <a:rPr lang="en-GB" sz="1400" dirty="0" smtClean="0">
                <a:solidFill>
                  <a:srgbClr val="000000"/>
                </a:solidFill>
              </a:rPr>
              <a:t>44%</a:t>
            </a:r>
            <a:endParaRPr lang="en-GB" sz="1400" dirty="0">
              <a:solidFill>
                <a:srgbClr val="000000"/>
              </a:solidFill>
            </a:endParaRPr>
          </a:p>
        </p:txBody>
      </p:sp>
      <p:pic>
        <p:nvPicPr>
          <p:cNvPr id="1030" name="Picture 6" descr="https://encrypted-tbn0.gstatic.com/images?q=tbn:ANd9GcT3cQYYZgEeY87u4n1d-vAhBQs5Sns1r-8ht6Fj86DrPmZY9WL_B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09660" y="2303652"/>
            <a:ext cx="677283" cy="398873"/>
          </a:xfrm>
          <a:prstGeom prst="rect">
            <a:avLst/>
          </a:prstGeom>
          <a:noFill/>
          <a:extLst>
            <a:ext uri="{909E8E84-426E-40DD-AFC4-6F175D3DCCD1}">
              <a14:hiddenFill xmlns:a14="http://schemas.microsoft.com/office/drawing/2010/main">
                <a:solidFill>
                  <a:srgbClr val="FFFFFF"/>
                </a:solidFill>
              </a14:hiddenFill>
            </a:ext>
          </a:extLst>
        </p:spPr>
      </p:pic>
      <p:sp>
        <p:nvSpPr>
          <p:cNvPr id="116" name="TextBox 115"/>
          <p:cNvSpPr txBox="1"/>
          <p:nvPr/>
        </p:nvSpPr>
        <p:spPr>
          <a:xfrm>
            <a:off x="5800751" y="1671792"/>
            <a:ext cx="609600" cy="307777"/>
          </a:xfrm>
          <a:prstGeom prst="rect">
            <a:avLst/>
          </a:prstGeom>
          <a:noFill/>
        </p:spPr>
        <p:txBody>
          <a:bodyPr wrap="square" rtlCol="0">
            <a:spAutoFit/>
          </a:bodyPr>
          <a:lstStyle/>
          <a:p>
            <a:pPr algn="ctr"/>
            <a:r>
              <a:rPr lang="en-GB" sz="1400" dirty="0" smtClean="0">
                <a:solidFill>
                  <a:srgbClr val="000000"/>
                </a:solidFill>
              </a:rPr>
              <a:t>29%</a:t>
            </a:r>
            <a:endParaRPr lang="en-GB" sz="1400" dirty="0">
              <a:solidFill>
                <a:srgbClr val="000000"/>
              </a:solidFill>
            </a:endParaRPr>
          </a:p>
        </p:txBody>
      </p:sp>
      <p:sp>
        <p:nvSpPr>
          <p:cNvPr id="117" name="TextBox 116"/>
          <p:cNvSpPr txBox="1"/>
          <p:nvPr/>
        </p:nvSpPr>
        <p:spPr>
          <a:xfrm>
            <a:off x="1833526" y="3586972"/>
            <a:ext cx="609600" cy="307777"/>
          </a:xfrm>
          <a:prstGeom prst="rect">
            <a:avLst/>
          </a:prstGeom>
          <a:noFill/>
        </p:spPr>
        <p:txBody>
          <a:bodyPr wrap="square" rtlCol="0">
            <a:spAutoFit/>
          </a:bodyPr>
          <a:lstStyle/>
          <a:p>
            <a:pPr algn="ctr"/>
            <a:r>
              <a:rPr lang="en-GB" sz="1400" dirty="0" smtClean="0">
                <a:solidFill>
                  <a:srgbClr val="000000"/>
                </a:solidFill>
              </a:rPr>
              <a:t>22%</a:t>
            </a:r>
            <a:endParaRPr lang="en-GB" sz="1400" dirty="0">
              <a:solidFill>
                <a:srgbClr val="000000"/>
              </a:solidFill>
            </a:endParaRPr>
          </a:p>
        </p:txBody>
      </p:sp>
      <p:pic>
        <p:nvPicPr>
          <p:cNvPr id="1034" name="Picture 10" descr="https://encrypted-tbn3.gstatic.com/images?q=tbn:ANd9GcSYOdQp9bdB4AUb0LfENylqqV-OgcPr2pwSmZEiR1EeGWeXK4q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15533" y="4123638"/>
            <a:ext cx="550049" cy="444459"/>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p:cNvSpPr txBox="1"/>
          <p:nvPr/>
        </p:nvSpPr>
        <p:spPr>
          <a:xfrm>
            <a:off x="3793846" y="3586972"/>
            <a:ext cx="609600" cy="307777"/>
          </a:xfrm>
          <a:prstGeom prst="rect">
            <a:avLst/>
          </a:prstGeom>
          <a:noFill/>
        </p:spPr>
        <p:txBody>
          <a:bodyPr wrap="square" rtlCol="0">
            <a:spAutoFit/>
          </a:bodyPr>
          <a:lstStyle/>
          <a:p>
            <a:pPr algn="ctr"/>
            <a:r>
              <a:rPr lang="en-GB" sz="1400" dirty="0" smtClean="0">
                <a:solidFill>
                  <a:srgbClr val="000000"/>
                </a:solidFill>
              </a:rPr>
              <a:t>17%</a:t>
            </a:r>
            <a:endParaRPr lang="en-GB" sz="1400" dirty="0">
              <a:solidFill>
                <a:srgbClr val="000000"/>
              </a:solidFill>
            </a:endParaRPr>
          </a:p>
        </p:txBody>
      </p:sp>
      <p:sp>
        <p:nvSpPr>
          <p:cNvPr id="119" name="TextBox 118"/>
          <p:cNvSpPr txBox="1"/>
          <p:nvPr/>
        </p:nvSpPr>
        <p:spPr>
          <a:xfrm>
            <a:off x="5867400" y="3586972"/>
            <a:ext cx="609600" cy="307777"/>
          </a:xfrm>
          <a:prstGeom prst="rect">
            <a:avLst/>
          </a:prstGeom>
          <a:noFill/>
        </p:spPr>
        <p:txBody>
          <a:bodyPr wrap="square" rtlCol="0">
            <a:spAutoFit/>
          </a:bodyPr>
          <a:lstStyle/>
          <a:p>
            <a:pPr algn="ctr"/>
            <a:r>
              <a:rPr lang="en-GB" sz="1400" dirty="0" smtClean="0">
                <a:solidFill>
                  <a:srgbClr val="000000"/>
                </a:solidFill>
              </a:rPr>
              <a:t>11%</a:t>
            </a:r>
            <a:endParaRPr lang="en-GB" sz="1400" dirty="0">
              <a:solidFill>
                <a:srgbClr val="000000"/>
              </a:solidFill>
            </a:endParaRPr>
          </a:p>
        </p:txBody>
      </p:sp>
      <p:sp>
        <p:nvSpPr>
          <p:cNvPr id="3" name="AutoShape 12" descr="data:image/jpeg;base64,/9j/4AAQSkZJRgABAQAAAQABAAD/2wCEAAkGBxMTEhUSExMTFhQVFxkWGRgYGBwWGhkiHRcaGSAYHh4YHCggGhomGxodIjEhJSorLi4uHB8zODMsNygtLisBCgoKBQUFDgUFDisZExkrKysrKysrKysrKysrKysrKysrKysrKysrKysrKysrKysrKysrKysrKysrKysrKysrK//AABEIANwA5QMBIgACEQEDEQH/xAAcAAEAAwACAwAAAAAAAAAAAAAABgcIBAUBAgP/xABNEAABAwICBgYDDAcGBQUAAAABAAIDBBEFIQYHEjFBURMiYXGBkSMy0wgUF0JSU1RicoKSoRUYM0OTsdIkosHC0fA0g7Kz4RYlc6Px/8QAFAEBAAAAAAAAAAAAAAAAAAAAAP/EABQRAQAAAAAAAAAAAAAAAAAAAAD/2gAMAwEAAhEDEQA/ALxREQEREBRHTbWHR4aNmVxfMRcQx2L+93Bg78+QKjWt7Wb7yBpKVwNU4dd28QgjLvkIzA4DM8FnOonc9xe9znvcbuc4lziTxJOZKCxdI9dGI1BIhLaaPgIxtPt2vcN/a0NUGrsdqpv2tTPJnfryOd/Mrr0QfaCqkYbse9p33a4tPfkpLgusbE6Ygsq5XD5Mp6Vp7OvcjwIUURBoHQ7XlDKWxV8fQuOXSsu6P7zT1mDt63grep52vaHsc1zHAFrmkEEHiCMiFiBTzVnrHmw2QRvLpKRx60e/Yuc3s5HmNx780Gp0XHoK2OaNk0Tw+ORoc1w3EFchAREQEREBERAREQEREBERAREQEREBERAUa1haUNw6ikqMjJ6kTT8Z7r27wLFx7GlSVZ390VjZkrIqQHqwR7bhfe6TPMdjA232igqqsqnyyPlkcXPe4uc47ySbkr4ouTS0EslzHFI8DfsNLrd9gg4yL2ewgkEEEbwcivVAREQEREFmaq9aAw2OSnqGSywE7UYZYljj6w6xA2Tv7+8qe/D5Q/R6vyj9os7Ig0T8PlD9Hq/KP2ifD5Q/R6vyj9os7Ig0T8PlD9Hq/KP2ifD5Q/R6vyj9os7Ig0T8PlD9Hq/KP2ifD5Q/R6vyj9os7Ig0T8PlD9Hq/KP2ifD5Q/R6vyj9os7Ig0U3X3QfR6seEftFZuE4nFUwsngeHxSC7XD+XYQciDmCCFihTXVprAlwyWxu+lkPpI+I4bbL7njyIFuRAauRcXDMQiqImTQvD43jaa4bj/oeFuC5SAiIgIiICIiAshay6wy4rWvPCd7PCM9GPyaterHWnsRbiVa0/Spj5yOIPkUHe6odDG4lVkTX97wAPkAJG1c2ay4zANiSRwB71qGio44mCOJjI2NFg1oDWjuAVD+5txNjKiqp3EB8rGPZ29GXbQ7TZ4Nuwq/0EM1kaBwYjTvIY1tU1pMcoFnEjMMcR6zDuz3XuFlB7SCQQQRkQciOxbaxCsZDE+aRwayNpe4ngALlYrr5+klkktbbe51uVyTb80HwREQEREBERAREQEREBERAREQEReQEFg6n9N5qKqjps309RI1jmb9lziGiRvI3IuOI7QFqFVDqd1Y+9g2urG/2g5xRn90D8Zw+cPL4vfut5AREQEREBERAWYde+EmHFXyW6tQxkoPaBsOHm2/itPKttemipq6ETxtvNSkvAGZcwjrtHaLB33SOKDNlDWSQyMlie5kjCHNc02II4q3cJ1+zsYG1FJHM8D12SGG/aRsOF+6yptEE4081m1eJN6JwbDT3v0TCTtEZjbcc3WOYGQvna4Cg6IgIiICIiAi7rRrRWrr3PbSQmUxgF3WYwC5sM3uAubHLfkeS7/4IsZ+h/wD3Qe1QQZSbQPQyfE5+ii6sbbGWU7mD/Fxzs3j2C5Xe4XqaxWSVjJYBDGT1pDJE8NHE7LHlxPAADfbcM1onRbRyCgp209O2zRm5x9Z7uL3Hi4/kLAWAAQQPTDU5Sy0bI6NoiqIW9Vx/fcSJDxcTudw3bt2dq2jkikdFKxzJGEtc0ixBHBbcXRYjohRz1UVbLA108XquO48i4bnFvAnd4CwVfqu1RMMJqMRju6VpEcJuCxrhbbdbMSHgPi5HfkK51jaBzYXPY3fTvJ6KW2/6jrbnj8944gazXAxvB4auF9POwPjeLEHhyIPBw3ghBlLQLQufE5xFGNmNtjLKR1WD/Fx4N/kLlW5p5qZhdSsOHt2Z4GW2Sf24GfWJ3S3vZ247jYWIszRrAIKGBlPTs2WN3n4zjxe48XH/AMCwAC7RBiCSFzXFjmuDgS0tIIIINiCDmDfKyv3U/qt6DYrq1npsnRROH7Lk9w+c5D4vfun9RoPRPrm4g6EdO0W+qXZWkLeMjQLA9vMAiRoCIiAiIgIiICIiAvBC8ogzTri1dOoZXVVOy9JI65AH7Fx+KbbmE+qeF9nleslt+ogbI1zHta5jgWua4XBByIIO8KjdPtSTg50+GkFpzNO42I+w4mxH1XWtzO5BSSLk4hQSwPMc0b43je17S0+RXGQEREBdhgODTVk7KeBhfI82A4AcXE8GjiVJdDtWNfXlrhGYYDvllBaLfVb6zzytl2haJ0J0KpcMi2IG3e63SSu9d9v+lvJoy7zmg9tAtEosNpW07Os89aWS1i9x3n7I3AchzuVI0RAREQEREBERAREQEREBERAREQEREBERAREQEREHCxTCKepbsVEMUreAkYH27RtDI9oUPrdT+ESG4p3MJzOxI8DyLiB4AKdSyNaNpxDQN5JsPMrj/pOH56L8bf8AVBBY9S2Eg3Mcx7DK7/CykWDaCYbSkGGjha5uYc4dI8dzpCXDzXcfpOH56L8bf9U/ScPz0X42/wCqDlouJ+k4fnovxt/1XvFXROOy2SNxPAOBPkCg5CIiAiIgLotM9KocNp/fM7ZHML2x2jDS65BPxnAWy5rvVXmvahfNhZbGx8jxNGQ1jS4/GF7AXtYoOs+HrDvmK38EXtk+HrDvmK38EXtlQ3/pus+iVP8ABf8A0r0nwKqY0vfTVDWtFy50T2gdpJFgg0ngGt/DKp7Y+kkhe42aJm7IJ5bTS5o8SFP1hxaY1DaRSVVA6OZxc+mf0YccyWFoLQeZGYvyAQWWiIgIiICIiAiIgIiICIiAiIg6rSvCPfdHUU1wDLG5oJ3A26p8HWKxziFDJBK+GVhZJG4tc07wR/vettqO6UaEUNfY1MDXPAsJGkskHZtNsSMzkbjsQY+RS7WfokMNrXQM2jC5okiLszY5EEgAEhwI7rL6apZ6YYlDHVQxSxTXitK0Pa1zvUdZwIvtAN+8UEZw3Cp6h2zBDLK7kxhf52GSs7QDVJiIqYKmbZpmRSMkzdeQ7JDrBrchfd1iLX3HctCwQNY0NY1rWjcGgNA8AvogIiICIiAiIgKi9autp4fPQUjWbIDoZZndYk2LXNYNwtu2jfjkN6vRYx0ro3w1tTE++0yaQG/HrnPxGfig6pah1I6MSUVBeYFstQ/pS0ixY3ZAa09tgXdm1bgoN7nfCqOYzySxNfUwuY5hf1g1pBzaDltBzd+8ZblfaAiIgIiICIiAiIgIiICIiAiIgIi9ZHhoLiQABck5AAcSgp33SUUBp6ZznAVAkcGDi5haNu/YHBm/meZVBxSFpDmkhzSCCN4IzBUn1laVHEa6ScE9E30cIPBjSbG3AuJLvG3BRYhBdMHugJA1odQtc4AAu6Yi5tmbdHlc8F7/AKwT/oDf459mqu0Q0XlxGf3vA+JsmyXjpHFoIFrgWabnO9uQKnDdQ2JfPUQ/5kn+EKDuf1gn/QG/xz7NeD7oJ/CgZ/HPs11HwC4l89Rfjl9inwC4l89Rfjl9ig7b9YKT6Az+MfZp+sFJ9AZ/GPs11PwC4l89Rfjl9inwC4l89Rfjl9ig7b9YKT6Az+MfZrx+sDL9Bj/jH+hdV8AuJfPUX45fYp8AuJfPUX45fYoO1/WBl+gx/wAY/wBCrLTXSEV9W+r6IRGQN2mhxcLtaG3uQN4AU+bqDrrZ1NLfvkP+RdNphqlq8PpnVT5YJGMLQ4M2rjaNr9ZoyuR5oONqXxr3tisNyAye8Dr/AF/V8ekDPzWqliCnncx7XtNnMcHA8iDcHzW0MBxJtTTQ1Dd0sbJO7aaDbwOSDnoiICIiAiIgIiICIiAi9JZWtBc4hrQLkk2AHMk7goBpBrjwymJayR1Q8cIRdv43ENPgSgsJFRVV7oF1z0dCLcNuUk+QYvWm90C+426FhHHZlI8rsKC91VmvrS33tSCjjd6aqBDrb2x7nfiPV7trkuRgeuzDZspelp3fXbtN7g5l/wAwFQmm2kT6+tlqnXs51mN+SwZNb5ZntJPFB8tEsAkrquKlj3yO6zvktGbnHuF/Gw4qxtfWh8dKKWogZsxbDaZw7WN6hPMlgIv9VSr3P+iXQU7q+RvpKgbMd97Ywb3++7Pua1TrT7ABXUE9N8ZzdpnY9vWb5kWPYSgyjoxjLqOrhqmb4nhxHMbnN8WkjxWyaSpbKxkjCHMe0PaRuIcLg+RWI3tIJBBBGRByI7FpTUHpH74oDTON5KU7HbsOuWHw6zfuhBZyIiAiIgIiICj2n/QHD6llTIyON8Tm7TjaxI6tubtqxAFzkul0/wBZ9LhwMbSJqn5ppyZlvkPxe7f2cVnLSrSuqxCXpamQut6rBkxg5Nbw78yeJKDpFpX3PuL9LhphJ61NK5gzv1XekB83OHgs2vic21wRtC4uLXFyLjmLg59in+prTOHDaic1BcIZYs9lpcS5pu0WHY5wzQahRUdi+v8AzIpqPLg6Z/8AlZ/Uo+7XviV79HRjs6OT/GVBpFFQOF6/qgf8RSQvHOJzo/ydt3PirC0Y1s4bWEMMhgkPxJrMB7A++wewXBPJBPEXgFeUBERAUZ0601p8Mh6SY7UjriOJp6zz/laOLju7TYHs9JccioqaWqmPUjbew3uO4NF+JNgsi6UaQTV1S+pncS55yHBjeDG8mgeeZOZKDsdM9O6zEn3mfsxA3bCy4jbyuPjO+sfyUYUi0J0NqcSm6KAWa2xkld6kY7ebjwaMz3AkaP0Q1aUFA0FsTZZhvmlAc6/NoOTPDPmSgzDRaO1cw2oqWoe3m2J7h5gWXvVaM1sY2pKSpa0byYngDxtZbNXDxnE46aCSolNo4mF7j3cBzJ3AcygxQvLTnuv2f/i7DSHF31dTLUyWDpXl1huaODR2AWHguXjeidXSwwVE0RbFUNDmO32vmGu+S4ts4A8DzBADSOrTT2lxGIRxtEM0TQDBfc0WG0z5TNw5jjwJmyxRhOJy00zJ4Xlkkbtprh/I8wRkRxBIWtdA9Ko8So2VLAGu9WRl77DxvHcciOwhBnzXXo970xORzRaOoHTtyyuTZ7e/bBPc4L5amtIveeJxbRtHP6B/LrEbJ8HgZ8iVcOvjR33zhxna28lKekHPYNg8dwFnfdWZgbZjeg3EijOrzSD39h0FQTeQs2JPts6rj4kbXc4LPOlGC4xRM6epdPFE5+y0mpa4km5ADWSl24ckGqY5WuvsuBsSDY3sRvGXFe6yng2r7GZYWzU8MnRSgPaRPHHtA7nWdIDmOYV5aX6x6bDIWsk9JV7DfQMIJB2R67hcMF+8ngCgmOI18UEbpZpGxxtFy5xsB/vkqF1g66ZJtqDD9qKLMGY5SP8AsD923t9b7KgGmGmVViMm3USHZB6kTco2dw4n6xzK52guryrxJwMbejgBs6d46vc0b3u7BlzIQRmjpJZ5WxxtfJLIbBoBc5xP+73V56v9S7IrVGJbL3AbQg3sbxvI7c89gy7XcLC0M0IpMNj2YGXkI68rs5HePxW/VFh45qutfenRYP0ZA6znAGocDmAcxF4jM9hA4lBB9c+ktJW1bPererAzoTILBr7G4DAB6jbkA8b5C2Zr5EQc7CsGqKl2zTwSynjsMLrd9hl4qQs1YYsRcUUviWA+RddaB1P4kyfCaYtDQY29E4AAZs6tzbiRZ3ipmgxti2iddTDanpZ42je4sOyO9wyHmulW4iFXWnmqSkrWukp2tp6neHNFo3nfZ7Rlc/KGfO+5BUGr7WjU4eWxyF09LkDG49Zg5xk7vsnI9m9aWwPGIauFlRTvD43i4I4cwRvDgd4KxzjWETUsz6edhZIw2IP5EHi0jMEb1LtUmnLsOqgyRx96zENkHBh3CUd3G28c7BBqdF4BvmNyIKC90XpGXzRUDD1Ih0sna9wIaD3MufvqqcCwmSqqIqaIXfK4NHIc3HsAuT2ArnadYiajEKuYm+1M8D7LXbLf7oCsT3OGEB9TUVTh+xjDG98hNz37LbfeQXVono5DQUzKaEZNzc74z3cXu7T+QsOC7hEQFRfuh9LLlmGxOyFpZ7c97Gf5iO1it/SnHI6KllqpN0bSQL22nbmtHaXEBY7xXEJKiaSeU7Ukri9x7Sb+XABBJ9VWin6Qr2RuF4IvSzci0HJn3nWFuW0eC1JjOEQ1UD6aZgdE9uyW8uRHIg2IPAgKsdUWI4Zh9C0PraYVE9pJbyNu246sf3RvHMuU3/8AX+F/T6b+IEGXtNdG34fWSUr8w03Y75bD6rvLI9oKl+oXSQ0+ICmcfRVQ2M9we0EsPec2/eHJdtr8xKhqm009NUwyysLo3NY4OOyRtAm3AEH8aqXDqx0MsczfWje2Qd7XBw/MINr1ELXtcx4Ba4FrgdxBFiPJY10pwg0lXPS32uikc0G4NxfIm3HZtccDdaJ011n0kVBK+lqYZKhzQ2NrHAuaXZbVvqgk58QAs2Ppy6IzmRhcZNgsLryG7S4yEfJ4bXMoJDodrBrMNY+OnMZY9weQ9u1na1xYi1wB5Bc/HNNH4xU0bK50dPAxwa8s2tkbTus+xuQS0Bo3gb9xKh2F4g+nmZPGQHxuDhcXGXAg7wdxC473Ekk7zmguXTzXKdn3rhfo42gM6e1iQMrRtPqi2W0c+QG9U/GySaSzQ+WWR24Ave9xPiXOJXdaEaIT4nP0EJY3ZG097jYNbcC9t7jnuH5b1pbQbQCkw1nom7cxFnTPA2zzA+Q3sHiTvQV5q+1KAbM+JZnItp2nL/mOG/7LfEncrrggaxoYxrWtaLBrQAABwAGQC+iIOFjeJNpqeWof6sUbpD27IJsO07ljTFcQkqJpJ5TeSV5e49pN8uzgAtI6/MQ6LCnMBsZpY4/AEyEeTFmNBcGobQdlQ51fUMDo4yWRNIyc62byDvDQbDtP1VWmlOEmkrJ6Y/upHNHa2/VPi2x8VrDQPChS4dSwWALYWF1vlOG2/wDvuKq33QehxJbiULb2AjnAHLJsp8OqT2M7UHE9zlpEGSTUDz+09NF9pos9veW7J+45X2sSYfWyQSMmieWSRuDmuG8Ef73LS+rTWhDiDWwzbMVXa2zubLYb2X48dneO1BYiIiCu9c2hTa6kdPG3+007S5hG97Rm6M88rlvblxKzAtxrHmn+FimxGqgaLNbK4tHJruu0eTgg0HqS0iNXhrGPN5KY9C7mQBdh/Dlf6pRUPoLptLhvTdG3a6XYvna2xtf1IgjFRfadffc377q+/c1/8NV//Kz/AKFT2neHGnxGrhItszPI+y5203+6QrD9zhi4ZU1FK4/tmB7e0xk3A7dlxP3UGgkREFXe6BwypmoYzA172Ry7UrWC5tskB9hmQDv5XvwuM5Gnf8h3kVt5evRjkPJBiP3u/wCS7yKe93/Jd5Fbb6Mch5J0Y5DyQYifE4ZlpHeLL0V7+6RxRojpaRttpznTutvAaCxvgS534VSOG0bppo4W+tK9sY73ODR+ZQfF0ZAuQQOdkbE45hpI7AteaY6KsrMPkowGtOwOjPyXMtsnuuLHsJWftBtNajBZZ6eaEuabh0TsnMkAsHDs3A8xYjdmEGgpnveI2Mc55Ng1rSXE8gBndW7ofqdLYn1eKXjYxjniAOs6waTeRw9UZX2RnztuXnUpiVFC+pxCuq4W1Eri0B7gHWJ23vsPlONvunmvOtjWzHUxOo6EuMb8pZiC3aHyGg5gHiTbkg6/3ObHfpKUjcKV9/GWKw8/5FaPVaajdD30VI6eZpbPU7Ltk5FjBfZBHBxuSe8DgrLQEREFS+6QB94QcvfI/wC1J/5WdlqXXhhpmwmYgXdC5ko7g6zvJrifBZaQbcoT6Nlt2w3+QX0nha9rmPaHNcC1zXC4IIsQQciCOCjOrDGRVYZSyXu5sYifz2oxsG/abbXiFKUFAawNSsrHumw4dJGbkwE2ez7Bdk9vYTfvVZUuAVvTNjZTVLZw4bIEb2vBvkdwLbHO/BbMRBx8PD+ij6W3SbDdu27a2RtW7L3XIREBZT10n/3qr74v+xGtVSyBoLnEAAEkncAMyVjXS3FvfVbUVPCWVzm/ZvZv90BB1CKwdVegTcSbUOftBsRjDSDYEuDyR4Wb5ogkvui9HCyaKvaOrKBDJ2OaCWnxbcfcVT4HislLURVMRtJE8PHI23g9hFwewlbC0kwSKtppKWYXZI21+LTvDh2g2PgsjaVaPTUFS+mnFnMOTuD2nc9vNpHkbg5goNZaI6Sw4hTMqYDkcnN+NG4DNju0X8QQeK7pY90K0wqcNm6WB12usJI3epIBwPIi5s7eO64OjtENZtBXAASiGY74pSGm/wBVx6r/AAN+YCCaIvAK8oC4ON4tDSwPqJ3hkcYuSfyA5uJyA4krpNKtYNBQA9NM10g3RR2fIeywyb3uICzprB0+qMTl63o4GH0cINwPrO+U/t4cONw6zTPSOTEKuSqfltGzG/IaMmt8t54klTHUJo2aiv8AfLh6KlG3fgXuBDG+Gbvujmq+wfC5amZkEDC+SQ2aB/M8gBmTwC1toJotHh1IymZYu9aR9rbbzvd3cB2AIJCqF11tZXYpS4fTxsNRk2SQAbXXsQ1xGeyxl3/eXWaU1OkLaqqMRxEQCaYsLQ/ZDA92zaw9XZtZQ/BsPxaZ/vymZWve4kdOzpC4ncfSDM8jmgsmX3Prtrq142e2DMeUlj+SmWhuqOhoXNlfepnbYh8gAa0j4zWDIG+dyXEcFKtDmzChpRUbfTCFgk6Qkv2tkX2icy6/NdwgIiICIiD41tK2WN8TxdkjXMcOYcCCPIrG+lOBvoqqWlk3xuIBtbabva4dhbYrZyrLXToAa+IVNO29TA0jZG+Vm/Z+003I53I4hBWGpjTsUFQYJ3WpZyNon92/cJPskZO8Dwz021wIBBuDmCOKw8RbIqytXGtmaga2nqGunpRk2x9JGOTb5Ob9UkdhCDTCKPaP6bUFYAYKmNzj8Rx2Hj7r7HxGSkAcEHlF12KY7TUzdqeeKIfXeG37gTc+CqHTzXe3ZdDhoJJFjUPbs2+wxwuT2uAtyO9B2GvTT1sUTsOgdeaUWmI/dsI9T7Thw4NPaFnte80rnuL3OLnOJc5xNySTckk5kk8Va2pDQA1Mra+oZ/Z4nXjBH7V4O/tY0+ZsOBQW3qq0aNBh0UTxaV/pZcrEOdbqnta0BveCil6ICjWnOhVNicPRzAte3OOVttth8d7Txad/YQCJKiDIumegdZhzz00ZdFfqzMBMZzyufiO+qfC6iy3DJGHAtcAQRYgi4PYQd6rrSzVLhkrXStidA4C/oXBjT91wLR4AIM60WP1cI2YqqojG6zJXsHk1y96nSStkFpKuqeOTppHD83L4Y3RthnkiaSWsdYE7/GwC49JEHPa07nOAy7Sg+K73RXRGrxCTYpoi4A2dIerGz7TtwPYLk8AVeWheqTDRGyeRkkzjnsyvuwZfJYG38bqzqSlZEwRxsaxjRYNaA1o7gMggierzV7T4WwlvpKh4s+YjO2/YYPisvnzOV9wtMkRAXhrQMhkvKICIiAiIgIiICIiCr9ZeqWKtLqmlLYak5uByjl7Tb1X/AFhv4jO6z7jmBVFHJ0VTC+J/DaGTu1p3OHaCVtJcXEcOinYY5omSMO9r2hw8igxMuSyvlAsJZAOQeQP5rRWkmpzDHNMjGzQnlHJ1T4SB1vCyqbEtDYI5TGHy2BtmW33X+SggznEm5JJPEr6U9O+RwYxrnvcbBrQXOJ5ADMlXtolqgw+UB8rql/HZL2hpz+qwO/NWjgGjFHRi1NTxx5WLgLvPe49Y+JQUzq81LSPLZ8RBZHvFOD13fbI9Rv1Rn9lXzTwNY1rGNDWtADWgWAA3AAbgvoiAiIg//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4" name="AutoShape 14" descr="data:image/jpeg;base64,/9j/4AAQSkZJRgABAQAAAQABAAD/2wCEAAkGBxMTEhUSExMTFhQVFxkWGRgYGBwWGhkiHRcaGSAYHh4YHCggGhomGxodIjEhJSorLi4uHB8zODMsNygtLisBCgoKBQUFDgUFDisZExkrKysrKysrKysrKysrKysrKysrKysrKysrKysrKysrKysrKysrKysrKysrKysrKysrK//AABEIANwA5QMBIgACEQEDEQH/xAAcAAEAAwACAwAAAAAAAAAAAAAABgcIBAUBAgP/xABNEAABAwICBgYDDAcGBQUAAAABAAIDBBEFIQYHEjFBURMiYXGBkSMy0wgUF0JSU1RicoKSoRUYM0OTsdIkosHC0fA0g7Kz4RYlc6Px/8QAFAEBAAAAAAAAAAAAAAAAAAAAAP/EABQRAQAAAAAAAAAAAAAAAAAAAAD/2gAMAwEAAhEDEQA/ALxREQEREBRHTbWHR4aNmVxfMRcQx2L+93Bg78+QKjWt7Wb7yBpKVwNU4dd28QgjLvkIzA4DM8FnOonc9xe9znvcbuc4lziTxJOZKCxdI9dGI1BIhLaaPgIxtPt2vcN/a0NUGrsdqpv2tTPJnfryOd/Mrr0QfaCqkYbse9p33a4tPfkpLgusbE6Ygsq5XD5Mp6Vp7OvcjwIUURBoHQ7XlDKWxV8fQuOXSsu6P7zT1mDt63grep52vaHsc1zHAFrmkEEHiCMiFiBTzVnrHmw2QRvLpKRx60e/Yuc3s5HmNx780Gp0XHoK2OaNk0Tw+ORoc1w3EFchAREQEREBERAREQEREBERAREQEREBERAUa1haUNw6ikqMjJ6kTT8Z7r27wLFx7GlSVZ390VjZkrIqQHqwR7bhfe6TPMdjA232igqqsqnyyPlkcXPe4uc47ySbkr4ouTS0EslzHFI8DfsNLrd9gg4yL2ewgkEEEbwcivVAREQEREFmaq9aAw2OSnqGSywE7UYZYljj6w6xA2Tv7+8qe/D5Q/R6vyj9os7Ig0T8PlD9Hq/KP2ifD5Q/R6vyj9os7Ig0T8PlD9Hq/KP2ifD5Q/R6vyj9os7Ig0T8PlD9Hq/KP2ifD5Q/R6vyj9os7Ig0T8PlD9Hq/KP2ifD5Q/R6vyj9os7Ig0U3X3QfR6seEftFZuE4nFUwsngeHxSC7XD+XYQciDmCCFihTXVprAlwyWxu+lkPpI+I4bbL7njyIFuRAauRcXDMQiqImTQvD43jaa4bj/oeFuC5SAiIgIiICIiAshay6wy4rWvPCd7PCM9GPyaterHWnsRbiVa0/Spj5yOIPkUHe6odDG4lVkTX97wAPkAJG1c2ay4zANiSRwB71qGio44mCOJjI2NFg1oDWjuAVD+5txNjKiqp3EB8rGPZ29GXbQ7TZ4Nuwq/0EM1kaBwYjTvIY1tU1pMcoFnEjMMcR6zDuz3XuFlB7SCQQQRkQciOxbaxCsZDE+aRwayNpe4ngALlYrr5+klkktbbe51uVyTb80HwREQEREBERAREQEREBERAREQEReQEFg6n9N5qKqjps309RI1jmb9lziGiRvI3IuOI7QFqFVDqd1Y+9g2urG/2g5xRn90D8Zw+cPL4vfut5AREQEREBERAWYde+EmHFXyW6tQxkoPaBsOHm2/itPKttemipq6ETxtvNSkvAGZcwjrtHaLB33SOKDNlDWSQyMlie5kjCHNc02II4q3cJ1+zsYG1FJHM8D12SGG/aRsOF+6yptEE4081m1eJN6JwbDT3v0TCTtEZjbcc3WOYGQvna4Cg6IgIiICIiAi7rRrRWrr3PbSQmUxgF3WYwC5sM3uAubHLfkeS7/4IsZ+h/wD3Qe1QQZSbQPQyfE5+ii6sbbGWU7mD/Fxzs3j2C5Xe4XqaxWSVjJYBDGT1pDJE8NHE7LHlxPAADfbcM1onRbRyCgp209O2zRm5x9Z7uL3Hi4/kLAWAAQQPTDU5Sy0bI6NoiqIW9Vx/fcSJDxcTudw3bt2dq2jkikdFKxzJGEtc0ixBHBbcXRYjohRz1UVbLA108XquO48i4bnFvAnd4CwVfqu1RMMJqMRju6VpEcJuCxrhbbdbMSHgPi5HfkK51jaBzYXPY3fTvJ6KW2/6jrbnj8944gazXAxvB4auF9POwPjeLEHhyIPBw3ghBlLQLQufE5xFGNmNtjLKR1WD/Fx4N/kLlW5p5qZhdSsOHt2Z4GW2Sf24GfWJ3S3vZ247jYWIszRrAIKGBlPTs2WN3n4zjxe48XH/AMCwAC7RBiCSFzXFjmuDgS0tIIIINiCDmDfKyv3U/qt6DYrq1npsnRROH7Lk9w+c5D4vfun9RoPRPrm4g6EdO0W+qXZWkLeMjQLA9vMAiRoCIiAiIgIiICIiAvBC8ogzTri1dOoZXVVOy9JI65AH7Fx+KbbmE+qeF9nleslt+ogbI1zHta5jgWua4XBByIIO8KjdPtSTg50+GkFpzNO42I+w4mxH1XWtzO5BSSLk4hQSwPMc0b43je17S0+RXGQEREBdhgODTVk7KeBhfI82A4AcXE8GjiVJdDtWNfXlrhGYYDvllBaLfVb6zzytl2haJ0J0KpcMi2IG3e63SSu9d9v+lvJoy7zmg9tAtEosNpW07Os89aWS1i9x3n7I3AchzuVI0RAREQEREBERAREQEREBERAREQEREBERAREQEREHCxTCKepbsVEMUreAkYH27RtDI9oUPrdT+ESG4p3MJzOxI8DyLiB4AKdSyNaNpxDQN5JsPMrj/pOH56L8bf8AVBBY9S2Eg3Mcx7DK7/CykWDaCYbSkGGjha5uYc4dI8dzpCXDzXcfpOH56L8bf9U/ScPz0X42/wCqDlouJ+k4fnovxt/1XvFXROOy2SNxPAOBPkCg5CIiAiIgLotM9KocNp/fM7ZHML2x2jDS65BPxnAWy5rvVXmvahfNhZbGx8jxNGQ1jS4/GF7AXtYoOs+HrDvmK38EXtk+HrDvmK38EXtlQ3/pus+iVP8ABf8A0r0nwKqY0vfTVDWtFy50T2gdpJFgg0ngGt/DKp7Y+kkhe42aJm7IJ5bTS5o8SFP1hxaY1DaRSVVA6OZxc+mf0YccyWFoLQeZGYvyAQWWiIgIiICIiAiIgIiICIiAiIg6rSvCPfdHUU1wDLG5oJ3A26p8HWKxziFDJBK+GVhZJG4tc07wR/vettqO6UaEUNfY1MDXPAsJGkskHZtNsSMzkbjsQY+RS7WfokMNrXQM2jC5okiLszY5EEgAEhwI7rL6apZ6YYlDHVQxSxTXitK0Pa1zvUdZwIvtAN+8UEZw3Cp6h2zBDLK7kxhf52GSs7QDVJiIqYKmbZpmRSMkzdeQ7JDrBrchfd1iLX3HctCwQNY0NY1rWjcGgNA8AvogIiICIiAiIgKi9autp4fPQUjWbIDoZZndYk2LXNYNwtu2jfjkN6vRYx0ro3w1tTE++0yaQG/HrnPxGfig6pah1I6MSUVBeYFstQ/pS0ixY3ZAa09tgXdm1bgoN7nfCqOYzySxNfUwuY5hf1g1pBzaDltBzd+8ZblfaAiIgIiICIiAiIgIiICIiAiIgIi9ZHhoLiQABck5AAcSgp33SUUBp6ZznAVAkcGDi5haNu/YHBm/meZVBxSFpDmkhzSCCN4IzBUn1laVHEa6ScE9E30cIPBjSbG3AuJLvG3BRYhBdMHugJA1odQtc4AAu6Yi5tmbdHlc8F7/AKwT/oDf459mqu0Q0XlxGf3vA+JsmyXjpHFoIFrgWabnO9uQKnDdQ2JfPUQ/5kn+EKDuf1gn/QG/xz7NeD7oJ/CgZ/HPs11HwC4l89Rfjl9inwC4l89Rfjl9ig7b9YKT6Az+MfZp+sFJ9AZ/GPs11PwC4l89Rfjl9inwC4l89Rfjl9ig7b9YKT6Az+MfZrx+sDL9Bj/jH+hdV8AuJfPUX45fYp8AuJfPUX45fYoO1/WBl+gx/wAY/wBCrLTXSEV9W+r6IRGQN2mhxcLtaG3uQN4AU+bqDrrZ1NLfvkP+RdNphqlq8PpnVT5YJGMLQ4M2rjaNr9ZoyuR5oONqXxr3tisNyAye8Dr/AF/V8ekDPzWqliCnncx7XtNnMcHA8iDcHzW0MBxJtTTQ1Dd0sbJO7aaDbwOSDnoiICIiAiIgIiICIiAi9JZWtBc4hrQLkk2AHMk7goBpBrjwymJayR1Q8cIRdv43ENPgSgsJFRVV7oF1z0dCLcNuUk+QYvWm90C+426FhHHZlI8rsKC91VmvrS33tSCjjd6aqBDrb2x7nfiPV7trkuRgeuzDZspelp3fXbtN7g5l/wAwFQmm2kT6+tlqnXs51mN+SwZNb5ZntJPFB8tEsAkrquKlj3yO6zvktGbnHuF/Gw4qxtfWh8dKKWogZsxbDaZw7WN6hPMlgIv9VSr3P+iXQU7q+RvpKgbMd97Ywb3++7Pua1TrT7ABXUE9N8ZzdpnY9vWb5kWPYSgyjoxjLqOrhqmb4nhxHMbnN8WkjxWyaSpbKxkjCHMe0PaRuIcLg+RWI3tIJBBBGRByI7FpTUHpH74oDTON5KU7HbsOuWHw6zfuhBZyIiAiIgIiICj2n/QHD6llTIyON8Tm7TjaxI6tubtqxAFzkul0/wBZ9LhwMbSJqn5ppyZlvkPxe7f2cVnLSrSuqxCXpamQut6rBkxg5Nbw78yeJKDpFpX3PuL9LhphJ61NK5gzv1XekB83OHgs2vic21wRtC4uLXFyLjmLg59in+prTOHDaic1BcIZYs9lpcS5pu0WHY5wzQahRUdi+v8AzIpqPLg6Z/8AlZ/Uo+7XviV79HRjs6OT/GVBpFFQOF6/qgf8RSQvHOJzo/ydt3PirC0Y1s4bWEMMhgkPxJrMB7A++wewXBPJBPEXgFeUBERAUZ0601p8Mh6SY7UjriOJp6zz/laOLju7TYHs9JccioqaWqmPUjbew3uO4NF+JNgsi6UaQTV1S+pncS55yHBjeDG8mgeeZOZKDsdM9O6zEn3mfsxA3bCy4jbyuPjO+sfyUYUi0J0NqcSm6KAWa2xkld6kY7ebjwaMz3AkaP0Q1aUFA0FsTZZhvmlAc6/NoOTPDPmSgzDRaO1cw2oqWoe3m2J7h5gWXvVaM1sY2pKSpa0byYngDxtZbNXDxnE46aCSolNo4mF7j3cBzJ3AcygxQvLTnuv2f/i7DSHF31dTLUyWDpXl1huaODR2AWHguXjeidXSwwVE0RbFUNDmO32vmGu+S4ts4A8DzBADSOrTT2lxGIRxtEM0TQDBfc0WG0z5TNw5jjwJmyxRhOJy00zJ4Xlkkbtprh/I8wRkRxBIWtdA9Ko8So2VLAGu9WRl77DxvHcciOwhBnzXXo970xORzRaOoHTtyyuTZ7e/bBPc4L5amtIveeJxbRtHP6B/LrEbJ8HgZ8iVcOvjR33zhxna28lKekHPYNg8dwFnfdWZgbZjeg3EijOrzSD39h0FQTeQs2JPts6rj4kbXc4LPOlGC4xRM6epdPFE5+y0mpa4km5ADWSl24ckGqY5WuvsuBsSDY3sRvGXFe6yng2r7GZYWzU8MnRSgPaRPHHtA7nWdIDmOYV5aX6x6bDIWsk9JV7DfQMIJB2R67hcMF+8ngCgmOI18UEbpZpGxxtFy5xsB/vkqF1g66ZJtqDD9qKLMGY5SP8AsD923t9b7KgGmGmVViMm3USHZB6kTco2dw4n6xzK52guryrxJwMbejgBs6d46vc0b3u7BlzIQRmjpJZ5WxxtfJLIbBoBc5xP+73V56v9S7IrVGJbL3AbQg3sbxvI7c89gy7XcLC0M0IpMNj2YGXkI68rs5HePxW/VFh45qutfenRYP0ZA6znAGocDmAcxF4jM9hA4lBB9c+ktJW1bPererAzoTILBr7G4DAB6jbkA8b5C2Zr5EQc7CsGqKl2zTwSynjsMLrd9hl4qQs1YYsRcUUviWA+RddaB1P4kyfCaYtDQY29E4AAZs6tzbiRZ3ipmgxti2iddTDanpZ42je4sOyO9wyHmulW4iFXWnmqSkrWukp2tp6neHNFo3nfZ7Rlc/KGfO+5BUGr7WjU4eWxyF09LkDG49Zg5xk7vsnI9m9aWwPGIauFlRTvD43i4I4cwRvDgd4KxzjWETUsz6edhZIw2IP5EHi0jMEb1LtUmnLsOqgyRx96zENkHBh3CUd3G28c7BBqdF4BvmNyIKC90XpGXzRUDD1Ih0sna9wIaD3MufvqqcCwmSqqIqaIXfK4NHIc3HsAuT2ArnadYiajEKuYm+1M8D7LXbLf7oCsT3OGEB9TUVTh+xjDG98hNz37LbfeQXVono5DQUzKaEZNzc74z3cXu7T+QsOC7hEQFRfuh9LLlmGxOyFpZ7c97Gf5iO1it/SnHI6KllqpN0bSQL22nbmtHaXEBY7xXEJKiaSeU7Ukri9x7Sb+XABBJ9VWin6Qr2RuF4IvSzci0HJn3nWFuW0eC1JjOEQ1UD6aZgdE9uyW8uRHIg2IPAgKsdUWI4Zh9C0PraYVE9pJbyNu246sf3RvHMuU3/8AX+F/T6b+IEGXtNdG34fWSUr8w03Y75bD6rvLI9oKl+oXSQ0+ICmcfRVQ2M9we0EsPec2/eHJdtr8xKhqm009NUwyysLo3NY4OOyRtAm3AEH8aqXDqx0MsczfWje2Qd7XBw/MINr1ELXtcx4Ba4FrgdxBFiPJY10pwg0lXPS32uikc0G4NxfIm3HZtccDdaJ011n0kVBK+lqYZKhzQ2NrHAuaXZbVvqgk58QAs2Ppy6IzmRhcZNgsLryG7S4yEfJ4bXMoJDodrBrMNY+OnMZY9weQ9u1na1xYi1wB5Bc/HNNH4xU0bK50dPAxwa8s2tkbTus+xuQS0Bo3gb9xKh2F4g+nmZPGQHxuDhcXGXAg7wdxC473Ekk7zmguXTzXKdn3rhfo42gM6e1iQMrRtPqi2W0c+QG9U/GySaSzQ+WWR24Ave9xPiXOJXdaEaIT4nP0EJY3ZG097jYNbcC9t7jnuH5b1pbQbQCkw1nom7cxFnTPA2zzA+Q3sHiTvQV5q+1KAbM+JZnItp2nL/mOG/7LfEncrrggaxoYxrWtaLBrQAABwAGQC+iIOFjeJNpqeWof6sUbpD27IJsO07ljTFcQkqJpJ5TeSV5e49pN8uzgAtI6/MQ6LCnMBsZpY4/AEyEeTFmNBcGobQdlQ51fUMDo4yWRNIyc62byDvDQbDtP1VWmlOEmkrJ6Y/upHNHa2/VPi2x8VrDQPChS4dSwWALYWF1vlOG2/wDvuKq33QehxJbiULb2AjnAHLJsp8OqT2M7UHE9zlpEGSTUDz+09NF9pos9veW7J+45X2sSYfWyQSMmieWSRuDmuG8Ef73LS+rTWhDiDWwzbMVXa2zubLYb2X48dneO1BYiIiCu9c2hTa6kdPG3+007S5hG97Rm6M88rlvblxKzAtxrHmn+FimxGqgaLNbK4tHJruu0eTgg0HqS0iNXhrGPN5KY9C7mQBdh/Dlf6pRUPoLptLhvTdG3a6XYvna2xtf1IgjFRfadffc377q+/c1/8NV//Kz/AKFT2neHGnxGrhItszPI+y5203+6QrD9zhi4ZU1FK4/tmB7e0xk3A7dlxP3UGgkREFXe6BwypmoYzA172Ry7UrWC5tskB9hmQDv5XvwuM5Gnf8h3kVt5evRjkPJBiP3u/wCS7yKe93/Jd5Fbb6Mch5J0Y5DyQYifE4ZlpHeLL0V7+6RxRojpaRttpznTutvAaCxvgS534VSOG0bppo4W+tK9sY73ODR+ZQfF0ZAuQQOdkbE45hpI7AteaY6KsrMPkowGtOwOjPyXMtsnuuLHsJWftBtNajBZZ6eaEuabh0TsnMkAsHDs3A8xYjdmEGgpnveI2Mc55Ng1rSXE8gBndW7ofqdLYn1eKXjYxjniAOs6waTeRw9UZX2RnztuXnUpiVFC+pxCuq4W1Eri0B7gHWJ23vsPlONvunmvOtjWzHUxOo6EuMb8pZiC3aHyGg5gHiTbkg6/3ObHfpKUjcKV9/GWKw8/5FaPVaajdD30VI6eZpbPU7Ltk5FjBfZBHBxuSe8DgrLQEREFS+6QB94QcvfI/wC1J/5WdlqXXhhpmwmYgXdC5ko7g6zvJrifBZaQbcoT6Nlt2w3+QX0nha9rmPaHNcC1zXC4IIsQQciCOCjOrDGRVYZSyXu5sYifz2oxsG/abbXiFKUFAawNSsrHumw4dJGbkwE2ez7Bdk9vYTfvVZUuAVvTNjZTVLZw4bIEb2vBvkdwLbHO/BbMRBx8PD+ij6W3SbDdu27a2RtW7L3XIREBZT10n/3qr74v+xGtVSyBoLnEAAEkncAMyVjXS3FvfVbUVPCWVzm/ZvZv90BB1CKwdVegTcSbUOftBsRjDSDYEuDyR4Wb5ogkvui9HCyaKvaOrKBDJ2OaCWnxbcfcVT4HislLURVMRtJE8PHI23g9hFwewlbC0kwSKtppKWYXZI21+LTvDh2g2PgsjaVaPTUFS+mnFnMOTuD2nc9vNpHkbg5goNZaI6Sw4hTMqYDkcnN+NG4DNju0X8QQeK7pY90K0wqcNm6WB12usJI3epIBwPIi5s7eO64OjtENZtBXAASiGY74pSGm/wBVx6r/AAN+YCCaIvAK8oC4ON4tDSwPqJ3hkcYuSfyA5uJyA4krpNKtYNBQA9NM10g3RR2fIeywyb3uICzprB0+qMTl63o4GH0cINwPrO+U/t4cONw6zTPSOTEKuSqfltGzG/IaMmt8t54klTHUJo2aiv8AfLh6KlG3fgXuBDG+Gbvujmq+wfC5amZkEDC+SQ2aB/M8gBmTwC1toJotHh1IymZYu9aR9rbbzvd3cB2AIJCqF11tZXYpS4fTxsNRk2SQAbXXsQ1xGeyxl3/eXWaU1OkLaqqMRxEQCaYsLQ/ZDA92zaw9XZtZQ/BsPxaZ/vymZWve4kdOzpC4ncfSDM8jmgsmX3Prtrq142e2DMeUlj+SmWhuqOhoXNlfepnbYh8gAa0j4zWDIG+dyXEcFKtDmzChpRUbfTCFgk6Qkv2tkX2icy6/NdwgIiICIiD41tK2WN8TxdkjXMcOYcCCPIrG+lOBvoqqWlk3xuIBtbabva4dhbYrZyrLXToAa+IVNO29TA0jZG+Vm/Z+003I53I4hBWGpjTsUFQYJ3WpZyNon92/cJPskZO8Dwz021wIBBuDmCOKw8RbIqytXGtmaga2nqGunpRk2x9JGOTb5Ob9UkdhCDTCKPaP6bUFYAYKmNzj8Rx2Hj7r7HxGSkAcEHlF12KY7TUzdqeeKIfXeG37gTc+CqHTzXe3ZdDhoJJFjUPbs2+wxwuT2uAtyO9B2GvTT1sUTsOgdeaUWmI/dsI9T7Thw4NPaFnte80rnuL3OLnOJc5xNySTckk5kk8Va2pDQA1Mra+oZ/Z4nXjBH7V4O/tY0+ZsOBQW3qq0aNBh0UTxaV/pZcrEOdbqnta0BveCil6ICjWnOhVNicPRzAte3OOVttth8d7Txad/YQCJKiDIumegdZhzz00ZdFfqzMBMZzyufiO+qfC6iy3DJGHAtcAQRYgi4PYQd6rrSzVLhkrXStidA4C/oXBjT91wLR4AIM60WP1cI2YqqojG6zJXsHk1y96nSStkFpKuqeOTppHD83L4Y3RthnkiaSWsdYE7/GwC49JEHPa07nOAy7Sg+K73RXRGrxCTYpoi4A2dIerGz7TtwPYLk8AVeWheqTDRGyeRkkzjnsyvuwZfJYG38bqzqSlZEwRxsaxjRYNaA1o7gMggierzV7T4WwlvpKh4s+YjO2/YYPisvnzOV9wtMkRAXhrQMhkvKICIiAiIgIiICIiCr9ZeqWKtLqmlLYak5uByjl7Tb1X/AFhv4jO6z7jmBVFHJ0VTC+J/DaGTu1p3OHaCVtJcXEcOinYY5omSMO9r2hw8igxMuSyvlAsJZAOQeQP5rRWkmpzDHNMjGzQnlHJ1T4SB1vCyqbEtDYI5TGHy2BtmW33X+SggznEm5JJPEr6U9O+RwYxrnvcbBrQXOJ5ADMlXtolqgw+UB8rql/HZL2hpz+qwO/NWjgGjFHRi1NTxx5WLgLvPe49Y+JQUzq81LSPLZ8RBZHvFOD13fbI9Rv1Rn9lXzTwNY1rGNDWtADWgWAA3AAbgvoiAiIg//9k="/>
          <p:cNvSpPr>
            <a:spLocks noChangeAspect="1" noChangeArrowheads="1"/>
          </p:cNvSpPr>
          <p:nvPr/>
        </p:nvSpPr>
        <p:spPr bwMode="auto">
          <a:xfrm>
            <a:off x="2159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 name="AutoShape 16" descr="data:image/jpeg;base64,/9j/4AAQSkZJRgABAQAAAQABAAD/2wCEAAkGBxMTEhUSExMTFhQVFxkWGRgYGBwWGhkiHRcaGSAYHh4YHCggGhomGxodIjEhJSorLi4uHB8zODMsNygtLisBCgoKBQUFDgUFDisZExkrKysrKysrKysrKysrKysrKysrKysrKysrKysrKysrKysrKysrKysrKysrKysrKysrK//AABEIANwA5QMBIgACEQEDEQH/xAAcAAEAAwACAwAAAAAAAAAAAAAABgcIBAUBAgP/xABNEAABAwICBgYDDAcGBQUAAAABAAIDBBEFIQYHEjFBURMiYXGBkSMy0wgUF0JSU1RicoKSoRUYM0OTsdIkosHC0fA0g7Kz4RYlc6Px/8QAFAEBAAAAAAAAAAAAAAAAAAAAAP/EABQRAQAAAAAAAAAAAAAAAAAAAAD/2gAMAwEAAhEDEQA/ALxREQEREBRHTbWHR4aNmVxfMRcQx2L+93Bg78+QKjWt7Wb7yBpKVwNU4dd28QgjLvkIzA4DM8FnOonc9xe9znvcbuc4lziTxJOZKCxdI9dGI1BIhLaaPgIxtPt2vcN/a0NUGrsdqpv2tTPJnfryOd/Mrr0QfaCqkYbse9p33a4tPfkpLgusbE6Ygsq5XD5Mp6Vp7OvcjwIUURBoHQ7XlDKWxV8fQuOXSsu6P7zT1mDt63grep52vaHsc1zHAFrmkEEHiCMiFiBTzVnrHmw2QRvLpKRx60e/Yuc3s5HmNx780Gp0XHoK2OaNk0Tw+ORoc1w3EFchAREQEREBERAREQEREBERAREQEREBERAUa1haUNw6ikqMjJ6kTT8Z7r27wLFx7GlSVZ390VjZkrIqQHqwR7bhfe6TPMdjA232igqqsqnyyPlkcXPe4uc47ySbkr4ouTS0EslzHFI8DfsNLrd9gg4yL2ewgkEEEbwcivVAREQEREFmaq9aAw2OSnqGSywE7UYZYljj6w6xA2Tv7+8qe/D5Q/R6vyj9os7Ig0T8PlD9Hq/KP2ifD5Q/R6vyj9os7Ig0T8PlD9Hq/KP2ifD5Q/R6vyj9os7Ig0T8PlD9Hq/KP2ifD5Q/R6vyj9os7Ig0T8PlD9Hq/KP2ifD5Q/R6vyj9os7Ig0U3X3QfR6seEftFZuE4nFUwsngeHxSC7XD+XYQciDmCCFihTXVprAlwyWxu+lkPpI+I4bbL7njyIFuRAauRcXDMQiqImTQvD43jaa4bj/oeFuC5SAiIgIiICIiAshay6wy4rWvPCd7PCM9GPyaterHWnsRbiVa0/Spj5yOIPkUHe6odDG4lVkTX97wAPkAJG1c2ay4zANiSRwB71qGio44mCOJjI2NFg1oDWjuAVD+5txNjKiqp3EB8rGPZ29GXbQ7TZ4Nuwq/0EM1kaBwYjTvIY1tU1pMcoFnEjMMcR6zDuz3XuFlB7SCQQQRkQciOxbaxCsZDE+aRwayNpe4ngALlYrr5+klkktbbe51uVyTb80HwREQEREBERAREQEREBERAREQEReQEFg6n9N5qKqjps309RI1jmb9lziGiRvI3IuOI7QFqFVDqd1Y+9g2urG/2g5xRn90D8Zw+cPL4vfut5AREQEREBERAWYde+EmHFXyW6tQxkoPaBsOHm2/itPKttemipq6ETxtvNSkvAGZcwjrtHaLB33SOKDNlDWSQyMlie5kjCHNc02II4q3cJ1+zsYG1FJHM8D12SGG/aRsOF+6yptEE4081m1eJN6JwbDT3v0TCTtEZjbcc3WOYGQvna4Cg6IgIiICIiAi7rRrRWrr3PbSQmUxgF3WYwC5sM3uAubHLfkeS7/4IsZ+h/wD3Qe1QQZSbQPQyfE5+ii6sbbGWU7mD/Fxzs3j2C5Xe4XqaxWSVjJYBDGT1pDJE8NHE7LHlxPAADfbcM1onRbRyCgp209O2zRm5x9Z7uL3Hi4/kLAWAAQQPTDU5Sy0bI6NoiqIW9Vx/fcSJDxcTudw3bt2dq2jkikdFKxzJGEtc0ixBHBbcXRYjohRz1UVbLA108XquO48i4bnFvAnd4CwVfqu1RMMJqMRju6VpEcJuCxrhbbdbMSHgPi5HfkK51jaBzYXPY3fTvJ6KW2/6jrbnj8944gazXAxvB4auF9POwPjeLEHhyIPBw3ghBlLQLQufE5xFGNmNtjLKR1WD/Fx4N/kLlW5p5qZhdSsOHt2Z4GW2Sf24GfWJ3S3vZ247jYWIszRrAIKGBlPTs2WN3n4zjxe48XH/AMCwAC7RBiCSFzXFjmuDgS0tIIIINiCDmDfKyv3U/qt6DYrq1npsnRROH7Lk9w+c5D4vfun9RoPRPrm4g6EdO0W+qXZWkLeMjQLA9vMAiRoCIiAiIgIiICIiAvBC8ogzTri1dOoZXVVOy9JI65AH7Fx+KbbmE+qeF9nleslt+ogbI1zHta5jgWua4XBByIIO8KjdPtSTg50+GkFpzNO42I+w4mxH1XWtzO5BSSLk4hQSwPMc0b43je17S0+RXGQEREBdhgODTVk7KeBhfI82A4AcXE8GjiVJdDtWNfXlrhGYYDvllBaLfVb6zzytl2haJ0J0KpcMi2IG3e63SSu9d9v+lvJoy7zmg9tAtEosNpW07Os89aWS1i9x3n7I3AchzuVI0RAREQEREBERAREQEREBERAREQEREBERAREQEREHCxTCKepbsVEMUreAkYH27RtDI9oUPrdT+ESG4p3MJzOxI8DyLiB4AKdSyNaNpxDQN5JsPMrj/pOH56L8bf8AVBBY9S2Eg3Mcx7DK7/CykWDaCYbSkGGjha5uYc4dI8dzpCXDzXcfpOH56L8bf9U/ScPz0X42/wCqDlouJ+k4fnovxt/1XvFXROOy2SNxPAOBPkCg5CIiAiIgLotM9KocNp/fM7ZHML2x2jDS65BPxnAWy5rvVXmvahfNhZbGx8jxNGQ1jS4/GF7AXtYoOs+HrDvmK38EXtk+HrDvmK38EXtlQ3/pus+iVP8ABf8A0r0nwKqY0vfTVDWtFy50T2gdpJFgg0ngGt/DKp7Y+kkhe42aJm7IJ5bTS5o8SFP1hxaY1DaRSVVA6OZxc+mf0YccyWFoLQeZGYvyAQWWiIgIiICIiAiIgIiICIiAiIg6rSvCPfdHUU1wDLG5oJ3A26p8HWKxziFDJBK+GVhZJG4tc07wR/vettqO6UaEUNfY1MDXPAsJGkskHZtNsSMzkbjsQY+RS7WfokMNrXQM2jC5okiLszY5EEgAEhwI7rL6apZ6YYlDHVQxSxTXitK0Pa1zvUdZwIvtAN+8UEZw3Cp6h2zBDLK7kxhf52GSs7QDVJiIqYKmbZpmRSMkzdeQ7JDrBrchfd1iLX3HctCwQNY0NY1rWjcGgNA8AvogIiICIiAiIgKi9autp4fPQUjWbIDoZZndYk2LXNYNwtu2jfjkN6vRYx0ro3w1tTE++0yaQG/HrnPxGfig6pah1I6MSUVBeYFstQ/pS0ixY3ZAa09tgXdm1bgoN7nfCqOYzySxNfUwuY5hf1g1pBzaDltBzd+8ZblfaAiIgIiICIiAiIgIiICIiAiIgIi9ZHhoLiQABck5AAcSgp33SUUBp6ZznAVAkcGDi5haNu/YHBm/meZVBxSFpDmkhzSCCN4IzBUn1laVHEa6ScE9E30cIPBjSbG3AuJLvG3BRYhBdMHugJA1odQtc4AAu6Yi5tmbdHlc8F7/AKwT/oDf459mqu0Q0XlxGf3vA+JsmyXjpHFoIFrgWabnO9uQKnDdQ2JfPUQ/5kn+EKDuf1gn/QG/xz7NeD7oJ/CgZ/HPs11HwC4l89Rfjl9inwC4l89Rfjl9ig7b9YKT6Az+MfZp+sFJ9AZ/GPs11PwC4l89Rfjl9inwC4l89Rfjl9ig7b9YKT6Az+MfZrx+sDL9Bj/jH+hdV8AuJfPUX45fYp8AuJfPUX45fYoO1/WBl+gx/wAY/wBCrLTXSEV9W+r6IRGQN2mhxcLtaG3uQN4AU+bqDrrZ1NLfvkP+RdNphqlq8PpnVT5YJGMLQ4M2rjaNr9ZoyuR5oONqXxr3tisNyAye8Dr/AF/V8ekDPzWqliCnncx7XtNnMcHA8iDcHzW0MBxJtTTQ1Dd0sbJO7aaDbwOSDnoiICIiAiIgIiICIiAi9JZWtBc4hrQLkk2AHMk7goBpBrjwymJayR1Q8cIRdv43ENPgSgsJFRVV7oF1z0dCLcNuUk+QYvWm90C+426FhHHZlI8rsKC91VmvrS33tSCjjd6aqBDrb2x7nfiPV7trkuRgeuzDZspelp3fXbtN7g5l/wAwFQmm2kT6+tlqnXs51mN+SwZNb5ZntJPFB8tEsAkrquKlj3yO6zvktGbnHuF/Gw4qxtfWh8dKKWogZsxbDaZw7WN6hPMlgIv9VSr3P+iXQU7q+RvpKgbMd97Ywb3++7Pua1TrT7ABXUE9N8ZzdpnY9vWb5kWPYSgyjoxjLqOrhqmb4nhxHMbnN8WkjxWyaSpbKxkjCHMe0PaRuIcLg+RWI3tIJBBBGRByI7FpTUHpH74oDTON5KU7HbsOuWHw6zfuhBZyIiAiIgIiICj2n/QHD6llTIyON8Tm7TjaxI6tubtqxAFzkul0/wBZ9LhwMbSJqn5ppyZlvkPxe7f2cVnLSrSuqxCXpamQut6rBkxg5Nbw78yeJKDpFpX3PuL9LhphJ61NK5gzv1XekB83OHgs2vic21wRtC4uLXFyLjmLg59in+prTOHDaic1BcIZYs9lpcS5pu0WHY5wzQahRUdi+v8AzIpqPLg6Z/8AlZ/Uo+7XviV79HRjs6OT/GVBpFFQOF6/qgf8RSQvHOJzo/ydt3PirC0Y1s4bWEMMhgkPxJrMB7A++wewXBPJBPEXgFeUBERAUZ0601p8Mh6SY7UjriOJp6zz/laOLju7TYHs9JccioqaWqmPUjbew3uO4NF+JNgsi6UaQTV1S+pncS55yHBjeDG8mgeeZOZKDsdM9O6zEn3mfsxA3bCy4jbyuPjO+sfyUYUi0J0NqcSm6KAWa2xkld6kY7ebjwaMz3AkaP0Q1aUFA0FsTZZhvmlAc6/NoOTPDPmSgzDRaO1cw2oqWoe3m2J7h5gWXvVaM1sY2pKSpa0byYngDxtZbNXDxnE46aCSolNo4mF7j3cBzJ3AcygxQvLTnuv2f/i7DSHF31dTLUyWDpXl1huaODR2AWHguXjeidXSwwVE0RbFUNDmO32vmGu+S4ts4A8DzBADSOrTT2lxGIRxtEM0TQDBfc0WG0z5TNw5jjwJmyxRhOJy00zJ4Xlkkbtprh/I8wRkRxBIWtdA9Ko8So2VLAGu9WRl77DxvHcciOwhBnzXXo970xORzRaOoHTtyyuTZ7e/bBPc4L5amtIveeJxbRtHP6B/LrEbJ8HgZ8iVcOvjR33zhxna28lKekHPYNg8dwFnfdWZgbZjeg3EijOrzSD39h0FQTeQs2JPts6rj4kbXc4LPOlGC4xRM6epdPFE5+y0mpa4km5ADWSl24ckGqY5WuvsuBsSDY3sRvGXFe6yng2r7GZYWzU8MnRSgPaRPHHtA7nWdIDmOYV5aX6x6bDIWsk9JV7DfQMIJB2R67hcMF+8ngCgmOI18UEbpZpGxxtFy5xsB/vkqF1g66ZJtqDD9qKLMGY5SP8AsD923t9b7KgGmGmVViMm3USHZB6kTco2dw4n6xzK52guryrxJwMbejgBs6d46vc0b3u7BlzIQRmjpJZ5WxxtfJLIbBoBc5xP+73V56v9S7IrVGJbL3AbQg3sbxvI7c89gy7XcLC0M0IpMNj2YGXkI68rs5HePxW/VFh45qutfenRYP0ZA6znAGocDmAcxF4jM9hA4lBB9c+ktJW1bPererAzoTILBr7G4DAB6jbkA8b5C2Zr5EQc7CsGqKl2zTwSynjsMLrd9hl4qQs1YYsRcUUviWA+RddaB1P4kyfCaYtDQY29E4AAZs6tzbiRZ3ipmgxti2iddTDanpZ42je4sOyO9wyHmulW4iFXWnmqSkrWukp2tp6neHNFo3nfZ7Rlc/KGfO+5BUGr7WjU4eWxyF09LkDG49Zg5xk7vsnI9m9aWwPGIauFlRTvD43i4I4cwRvDgd4KxzjWETUsz6edhZIw2IP5EHi0jMEb1LtUmnLsOqgyRx96zENkHBh3CUd3G28c7BBqdF4BvmNyIKC90XpGXzRUDD1Ih0sna9wIaD3MufvqqcCwmSqqIqaIXfK4NHIc3HsAuT2ArnadYiajEKuYm+1M8D7LXbLf7oCsT3OGEB9TUVTh+xjDG98hNz37LbfeQXVono5DQUzKaEZNzc74z3cXu7T+QsOC7hEQFRfuh9LLlmGxOyFpZ7c97Gf5iO1it/SnHI6KllqpN0bSQL22nbmtHaXEBY7xXEJKiaSeU7Ukri9x7Sb+XABBJ9VWin6Qr2RuF4IvSzci0HJn3nWFuW0eC1JjOEQ1UD6aZgdE9uyW8uRHIg2IPAgKsdUWI4Zh9C0PraYVE9pJbyNu246sf3RvHMuU3/8AX+F/T6b+IEGXtNdG34fWSUr8w03Y75bD6rvLI9oKl+oXSQ0+ICmcfRVQ2M9we0EsPec2/eHJdtr8xKhqm009NUwyysLo3NY4OOyRtAm3AEH8aqXDqx0MsczfWje2Qd7XBw/MINr1ELXtcx4Ba4FrgdxBFiPJY10pwg0lXPS32uikc0G4NxfIm3HZtccDdaJ011n0kVBK+lqYZKhzQ2NrHAuaXZbVvqgk58QAs2Ppy6IzmRhcZNgsLryG7S4yEfJ4bXMoJDodrBrMNY+OnMZY9weQ9u1na1xYi1wB5Bc/HNNH4xU0bK50dPAxwa8s2tkbTus+xuQS0Bo3gb9xKh2F4g+nmZPGQHxuDhcXGXAg7wdxC473Ekk7zmguXTzXKdn3rhfo42gM6e1iQMrRtPqi2W0c+QG9U/GySaSzQ+WWR24Ave9xPiXOJXdaEaIT4nP0EJY3ZG097jYNbcC9t7jnuH5b1pbQbQCkw1nom7cxFnTPA2zzA+Q3sHiTvQV5q+1KAbM+JZnItp2nL/mOG/7LfEncrrggaxoYxrWtaLBrQAABwAGQC+iIOFjeJNpqeWof6sUbpD27IJsO07ljTFcQkqJpJ5TeSV5e49pN8uzgAtI6/MQ6LCnMBsZpY4/AEyEeTFmNBcGobQdlQ51fUMDo4yWRNIyc62byDvDQbDtP1VWmlOEmkrJ6Y/upHNHa2/VPi2x8VrDQPChS4dSwWALYWF1vlOG2/wDvuKq33QehxJbiULb2AjnAHLJsp8OqT2M7UHE9zlpEGSTUDz+09NF9pos9veW7J+45X2sSYfWyQSMmieWSRuDmuG8Ef73LS+rTWhDiDWwzbMVXa2zubLYb2X48dneO1BYiIiCu9c2hTa6kdPG3+007S5hG97Rm6M88rlvblxKzAtxrHmn+FimxGqgaLNbK4tHJruu0eTgg0HqS0iNXhrGPN5KY9C7mQBdh/Dlf6pRUPoLptLhvTdG3a6XYvna2xtf1IgjFRfadffc377q+/c1/8NV//Kz/AKFT2neHGnxGrhItszPI+y5203+6QrD9zhi4ZU1FK4/tmB7e0xk3A7dlxP3UGgkREFXe6BwypmoYzA172Ry7UrWC5tskB9hmQDv5XvwuM5Gnf8h3kVt5evRjkPJBiP3u/wCS7yKe93/Jd5Fbb6Mch5J0Y5DyQYifE4ZlpHeLL0V7+6RxRojpaRttpznTutvAaCxvgS534VSOG0bppo4W+tK9sY73ODR+ZQfF0ZAuQQOdkbE45hpI7AteaY6KsrMPkowGtOwOjPyXMtsnuuLHsJWftBtNajBZZ6eaEuabh0TsnMkAsHDs3A8xYjdmEGgpnveI2Mc55Ng1rSXE8gBndW7ofqdLYn1eKXjYxjniAOs6waTeRw9UZX2RnztuXnUpiVFC+pxCuq4W1Eri0B7gHWJ23vsPlONvunmvOtjWzHUxOo6EuMb8pZiC3aHyGg5gHiTbkg6/3ObHfpKUjcKV9/GWKw8/5FaPVaajdD30VI6eZpbPU7Ltk5FjBfZBHBxuSe8DgrLQEREFS+6QB94QcvfI/wC1J/5WdlqXXhhpmwmYgXdC5ko7g6zvJrifBZaQbcoT6Nlt2w3+QX0nha9rmPaHNcC1zXC4IIsQQciCOCjOrDGRVYZSyXu5sYifz2oxsG/abbXiFKUFAawNSsrHumw4dJGbkwE2ez7Bdk9vYTfvVZUuAVvTNjZTVLZw4bIEb2vBvkdwLbHO/BbMRBx8PD+ij6W3SbDdu27a2RtW7L3XIREBZT10n/3qr74v+xGtVSyBoLnEAAEkncAMyVjXS3FvfVbUVPCWVzm/ZvZv90BB1CKwdVegTcSbUOftBsRjDSDYEuDyR4Wb5ogkvui9HCyaKvaOrKBDJ2OaCWnxbcfcVT4HislLURVMRtJE8PHI23g9hFwewlbC0kwSKtppKWYXZI21+LTvDh2g2PgsjaVaPTUFS+mnFnMOTuD2nc9vNpHkbg5goNZaI6Sw4hTMqYDkcnN+NG4DNju0X8QQeK7pY90K0wqcNm6WB12usJI3epIBwPIi5s7eO64OjtENZtBXAASiGY74pSGm/wBVx6r/AAN+YCCaIvAK8oC4ON4tDSwPqJ3hkcYuSfyA5uJyA4krpNKtYNBQA9NM10g3RR2fIeywyb3uICzprB0+qMTl63o4GH0cINwPrO+U/t4cONw6zTPSOTEKuSqfltGzG/IaMmt8t54klTHUJo2aiv8AfLh6KlG3fgXuBDG+Gbvujmq+wfC5amZkEDC+SQ2aB/M8gBmTwC1toJotHh1IymZYu9aR9rbbzvd3cB2AIJCqF11tZXYpS4fTxsNRk2SQAbXXsQ1xGeyxl3/eXWaU1OkLaqqMRxEQCaYsLQ/ZDA92zaw9XZtZQ/BsPxaZ/vymZWve4kdOzpC4ncfSDM8jmgsmX3Prtrq142e2DMeUlj+SmWhuqOhoXNlfepnbYh8gAa0j4zWDIG+dyXEcFKtDmzChpRUbfTCFgk6Qkv2tkX2icy6/NdwgIiICIiD41tK2WN8TxdkjXMcOYcCCPIrG+lOBvoqqWlk3xuIBtbabva4dhbYrZyrLXToAa+IVNO29TA0jZG+Vm/Z+003I53I4hBWGpjTsUFQYJ3WpZyNon92/cJPskZO8Dwz021wIBBuDmCOKw8RbIqytXGtmaga2nqGunpRk2x9JGOTb5Ob9UkdhCDTCKPaP6bUFYAYKmNzj8Rx2Hj7r7HxGSkAcEHlF12KY7TUzdqeeKIfXeG37gTc+CqHTzXe3ZdDhoJJFjUPbs2+wxwuT2uAtyO9B2GvTT1sUTsOgdeaUWmI/dsI9T7Thw4NPaFnte80rnuL3OLnOJc5xNySTckk5kk8Va2pDQA1Mra+oZ/Z4nXjBH7V4O/tY0+ZsOBQW3qq0aNBh0UTxaV/pZcrEOdbqnta0BveCil6ICjWnOhVNicPRzAte3OOVttth8d7Txad/YQCJKiDIumegdZhzz00ZdFfqzMBMZzyufiO+qfC6iy3DJGHAtcAQRYgi4PYQd6rrSzVLhkrXStidA4C/oXBjT91wLR4AIM60WP1cI2YqqojG6zJXsHk1y96nSStkFpKuqeOTppHD83L4Y3RthnkiaSWsdYE7/GwC49JEHPa07nOAy7Sg+K73RXRGrxCTYpoi4A2dIerGz7TtwPYLk8AVeWheqTDRGyeRkkzjnsyvuwZfJYG38bqzqSlZEwRxsaxjRYNaA1o7gMggierzV7T4WwlvpKh4s+YjO2/YYPisvnzOV9wtMkRAXhrQMhkvKICIiAiIgIiICIiCr9ZeqWKtLqmlLYak5uByjl7Tb1X/AFhv4jO6z7jmBVFHJ0VTC+J/DaGTu1p3OHaCVtJcXEcOinYY5omSMO9r2hw8igxMuSyvlAsJZAOQeQP5rRWkmpzDHNMjGzQnlHJ1T4SB1vCyqbEtDYI5TGHy2BtmW33X+SggznEm5JJPEr6U9O+RwYxrnvcbBrQXOJ5ADMlXtolqgw+UB8rql/HZL2hpz+qwO/NWjgGjFHRi1NTxx5WLgLvPe49Y+JQUzq81LSPLZ8RBZHvFOD13fbI9Rv1Rn9lXzTwNY1rGNDWtADWgWAA3AAbgvoiAiIg//9k="/>
          <p:cNvSpPr>
            <a:spLocks noChangeAspect="1" noChangeArrowheads="1"/>
          </p:cNvSpPr>
          <p:nvPr/>
        </p:nvSpPr>
        <p:spPr bwMode="auto">
          <a:xfrm>
            <a:off x="368300"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1043" name="Picture 19" descr="C:\Users\XingR\Desktop\untitled.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42980" y="4151438"/>
            <a:ext cx="509703" cy="454928"/>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https://encrypted-tbn1.gstatic.com/images?q=tbn:ANd9GcRHDzNnI_6i7Dv9BB0WtHw9iMqs5Xb9Q1g2e7cDiT2c4hdAicRrow"/>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16725" y="2215751"/>
            <a:ext cx="574675" cy="574675"/>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p:cNvSpPr txBox="1"/>
          <p:nvPr/>
        </p:nvSpPr>
        <p:spPr>
          <a:xfrm>
            <a:off x="6793808" y="1671792"/>
            <a:ext cx="609600" cy="307777"/>
          </a:xfrm>
          <a:prstGeom prst="rect">
            <a:avLst/>
          </a:prstGeom>
          <a:noFill/>
        </p:spPr>
        <p:txBody>
          <a:bodyPr wrap="square" rtlCol="0">
            <a:spAutoFit/>
          </a:bodyPr>
          <a:lstStyle/>
          <a:p>
            <a:pPr algn="ctr"/>
            <a:r>
              <a:rPr lang="en-GB" sz="1400" dirty="0" smtClean="0">
                <a:solidFill>
                  <a:srgbClr val="000000"/>
                </a:solidFill>
              </a:rPr>
              <a:t>23%</a:t>
            </a:r>
            <a:endParaRPr lang="en-GB" sz="1400" dirty="0">
              <a:solidFill>
                <a:srgbClr val="000000"/>
              </a:solidFill>
            </a:endParaRPr>
          </a:p>
        </p:txBody>
      </p:sp>
      <p:sp>
        <p:nvSpPr>
          <p:cNvPr id="121" name="TextBox 120"/>
          <p:cNvSpPr txBox="1"/>
          <p:nvPr/>
        </p:nvSpPr>
        <p:spPr>
          <a:xfrm>
            <a:off x="3814637" y="1671792"/>
            <a:ext cx="609600" cy="307777"/>
          </a:xfrm>
          <a:prstGeom prst="rect">
            <a:avLst/>
          </a:prstGeom>
          <a:noFill/>
        </p:spPr>
        <p:txBody>
          <a:bodyPr wrap="square" rtlCol="0">
            <a:spAutoFit/>
          </a:bodyPr>
          <a:lstStyle/>
          <a:p>
            <a:pPr algn="ctr"/>
            <a:r>
              <a:rPr lang="en-GB" sz="1400" dirty="0" smtClean="0">
                <a:solidFill>
                  <a:srgbClr val="000000"/>
                </a:solidFill>
              </a:rPr>
              <a:t>41%</a:t>
            </a:r>
            <a:endParaRPr lang="en-GB" sz="1400" dirty="0">
              <a:solidFill>
                <a:srgbClr val="000000"/>
              </a:solidFill>
            </a:endParaRPr>
          </a:p>
        </p:txBody>
      </p:sp>
      <p:sp>
        <p:nvSpPr>
          <p:cNvPr id="9" name="AutoShape 23" descr="data:image/jpeg;base64,/9j/4AAQSkZJRgABAQAAAQABAAD/2wCEAAkGBwwMEBMQEhQQDw8UEBIQEBYRFRcOEBMSFRIWFxUWFBcZHCggGBwmGxgWITEhJSorLi4uFx80ODMsNygtLisBCgoKBQUFDgUFDisZExkrKysrKysrKysrKysrKysrKysrKysrKysrKysrKysrKysrKysrKysrKysrKysrKysrK//AABEIAMwAzAMBIgACEQEDEQH/xAAcAAEAAwADAQEAAAAAAAAAAAAAAwYHAgQFAQj/xABHEAACAQICAwgOCAUEAwAAAAAAAQIDEgQRBQYhByMxQXFzkbITFCIyM1FSYXKBkqGx0RUWF1NUlMHjJGKCs8KDw+HwQmOi/8QAFAEBAAAAAAAAAAAAAAAAAAAAAP/EABQRAQAAAAAAAAAAAAAAAAAAAAD/2gAMAwEAAhEDEQA/ANxAAAHXxuLhQjdL1LjbPAxGlq1Tgdi8UfmBZwVDtqr5c/aY7aq+XP2mBbwVDtqr5c/aY7aq+XP2mBbwVDtqr5c/aY7aq+XP2mBbwVDtqr5c/aY7aq+XP2mBbwVKGOrR4Jy9bz+J62jtL3tQnkm+B8CfL4gPXAAAAAAAAAAAAAAAAAAFS0rinVqyfEnbHkR1qUJTajFNyfAkQX5nuarwTdSXGlFL155/ADjHQVZrbKC6X+hy+ga3lQ9/yLCAK99A1vKh7/kPoGt5UPf8iwgCvfQNbyoe/wCQ+ga3lQ9/yLCAK99A1vKh7/kPoGt5UPf8iwgCpY3R9Whtltj41tXrOncXPF01OnKL4HF/ApFwFv0PiXVpJvvl3L9X/B3imYDSNTDvNbYvvovgfyZacDjqeIWcXt40+FAdoAAAAAAAAAAAAAAAGeqRYtU34X+j/IrCkWTVB+F/o/yAsYAAAAAAAAAA4Vu9l6L+BQFIv9fvZei/gZ4pAS7cs9uXBnxZnKjXlTkpRbjJcDR7mq9KFWnVjJKUXJZp8h1NNaHlh85wzlS4/HHl83nA9XRenIVco1MoT8fBGXyZ7JnNxNTxlWGyM5peZvIDQAUP6TxP3k+k9/VzSk611ObukldFvha4/wBAPdAAAAAAAAAAGaRlsLNqa/C/6f8AkVSMthadSn4b/T/zAs4AAAAAAAAAAjr97L0X8DOFI0ev3kvRfwM0UgLdqc+4qemvge/Ugppxe1NZPkZXtS33FT011SbWXS7oR7FDwkltfkx+bAqlXKMmlwJtL1M43EVwuAluPR0BGq68HBN5PunxKL4c2eTcWnU3FRanS4JZ3rzrgfRs6QLMAAAAAAAAAAMrjLYWnUeazrLj7h+pXfNFRjLYjtYDH1MNNVIPatjT2prxMDTwVanrlTy7qlLP+WSa95y+uVH7up0oCzgrH1yo/d1OlD65Ufu6nSgLOCsfXKj93U6UPrlR+7qdKAs4Kx9cqP3dTpQ+uVH7up0oCw4uajTm3wKEm+gzFSPY0zrJUxUexxj2Om++25yl5m+JHh3AXPUh73V9OPVPO1xpuOIUuKUFl6tj/wC+c7+or3ur6ceqSa7Ye6jGpxwnk+SWz45dIFPuFxFcLgJbjsaOxrw9WNRcT2+ePGug6VwuA1alUjOKknnFpST8aazRyK3qZpDslN0W+6htj54N/o/iiyAAAAAAAAAZFGWxch9uIYy2LkPtwEtwuIrhcBLcLiK4XAS3C4iuFwEtwuIrhcBLcLiK4XAXjUJ73V9OPVPd0vhuz0KlPxweXKtq96R4G5+97q85HqlrAyPMXHf1i0fPC15rJqnKTlB8WT25Z+bgPLvQEtwuIr0LgPW1exTo4mm1xysfJLYaWZNo579S52n10ayAAAAAAAABjMZbFyH24hjLYuQ+3AS3C4iuFwEtwuIrhcBLcLiK4XAS3C4iuFwEtwuIrhcBfdzx73W5yPVLaZvqtrFTwEZxnCUr5KWcctmSy4GXzRek6GMh2Sk81nk01lKL8TQHalBS4Uny7Th2vT8mHsolAEXa9PyYeyika/xjGrSySW9vgWX/AJF8KFuivfqXNPrAV/R0t+pc7T66NdMe0a9/pc9T66NhAAAAAAAAAw+Eti5D7cRQlsXIfbgJLhcR3C4CS4XEdwuAkuFxHcLgJLhcR3C4CS4XEdwuAkuLFqvrJDR8JxlCU7pKWaaWWSy4ys3C4DScLr1g5tKcalJPjaU4rly2+4tFOpGaUotOLSaa2pp8DRh1xpu59inUwlrefY5yivNF7UvewLMZ/ukPfqPNPrGgGe7pb36jzUusBW9GPf6PPU+ujZjFdFvf6PPUuujagAAAAAAAAMGhLYuRH24ihLYuRH24CS4XEdwuAkuFxHcLgJLhcR3C4CS4XEdwuAkuFxHcLgJY5t5LNvxLay/aqaJmsDiOzU8lUUpQU13WShw5Pg2n3cuSdKvsXhY9UuOO8FU5ufVYGHKRou5jLOhW55dRGaxlsNH3LnvFbnl1EBdjOt057/R5qXWNFM43UXv9HmpdcCsaKl/EUefpf3Im3GG6Kl/EUefpf3Im5AAAAAAAAAfn2Eti5EcriCEti5EcrgJbhcRXC4CW4XEVwuAluFxFcLgJbhcRXC4CW4XEVwuA0zcqe81+dj1C5Y/wVTm59VlL3J3vNfnY9QumP8FU5ufVYGCxlsNK3K3vFfnl1EZhGWw03coe8V+eXUQF5M13VHv9Dmpdc0ozTdXTVag+LsUl/wDQFU0TL+Ioc/S/uRN2Pz7RrOnKM1wxkpLlTzRvWAxcMTShVg84TipR9a4H5wOwAAAAAAAD86U5bFyI5XEFOWxciOVwEtwuIrhcBLcLiK4XAS3C4iuFwEtwuIrhcBLcLiK4XAajuSPecRzseoXXSHgqnNz6rKRuQvecRz0eoXfSHganNz6rA/PsZbDT9yV7xX55dRGVxlsXIaduRV4uniKefdKpGeX8rjln0oDQSr7oGgp47DqVNZ1qTc4rjlFruorz8DXJ5y0AD87N5cvAy3ai629oy7BWbeHk9j4exSfH6L4+ktOuupkMYnXoKMMSs3JLZGry+KXn4+PxmSTzi2mmmm009jTWxpgfoyElJJppprNNbU0+Bo+mZ7mOsklPtKo84tN0G3ti1tcOTLNrkNMAAAAAAPzli6DoVJ0nscJyg/6W1+hFcX7dQ1ZnTqPG0lnTll2dJbYSWy9+Z8fia85nlwEtwuIrhcBLcLiK4XAS3C4iuFwEtwuIrhcBLcLiK47uh9G18dWjQpK6cn6ox45S8SQGobkdBxwtWb4J1tnntiky71YKcXF8DTT9ayOpoTRtPA4enh4d7COWfHKXDKT5W2/Wd4D876Uwk8LXqUZ7JU5uL/RrzNZP1nPQ+lq+BrRrUnbNbHntjKL4YyXGtnuNb111Pp6Uj2SDVPExWUZNdzNeTP8AR8Rj+ldGYnAz7HXhKnLiz72S8cXwNAazoLdDwGJSjWfa1XLbftpt/wAsv0eRasPjaFbvKlOfoyUvgz833DMD9IYnGUaKzqThTXjnJR+Jh2uWNw+IxtapQ205NbVsUpJJSkvM2eBmLgPY1YlPt3DW992en0XLP3Zm/mWbmGrNWVRY2rG2nFPsClsc5PZevMlnl48zUwAAAAAD5KKaaeTTWTT2popmmdzfR+JbnTc8LJ8VPKVP2HwepougAzB7ksuLGLLz4fP/AHR9ks/xi/L/ALpp4AzD7JZ/jF+X/dH2Sz/GL8v+6aeAMw+yWf4xfl/3R9ks/wAYvy/7pp4AzD7JZ/jF+X/dH2Sz/GL8v+6aeAM4wm5RSi06uJnUXGoU1Sz9blIu2hdB4TR8LKEFBPvnwzl6UntZ6IAAAAQ4vC0q8XCpCFSD4YzSkuhkwAp2kdzfRdfbBVMO/wD1y2dEk0eHW3JtvcYvJcSlRufSqi+BpoAzKjuTbe7xea41Cja+l1H8Cx6G1A0ZhGpWSrzW1Os1NJ+iko+4tQAAAAAAP//Z"/>
          <p:cNvSpPr>
            <a:spLocks noChangeAspect="1" noChangeArrowheads="1"/>
          </p:cNvSpPr>
          <p:nvPr/>
        </p:nvSpPr>
        <p:spPr bwMode="auto">
          <a:xfrm>
            <a:off x="520700"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1048" name="Picture 24" descr="C:\Users\XingR\Desktop\imagesCA3Y0R1T.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858638" y="2247955"/>
            <a:ext cx="607104" cy="51026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830789" y="4151438"/>
            <a:ext cx="706505" cy="373610"/>
          </a:xfrm>
          <a:prstGeom prst="rect">
            <a:avLst/>
          </a:prstGeom>
          <a:solidFill>
            <a:schemeClr val="bg1"/>
          </a:solidFill>
        </p:spPr>
      </p:pic>
      <p:sp>
        <p:nvSpPr>
          <p:cNvPr id="123" name="TextBox 122"/>
          <p:cNvSpPr txBox="1"/>
          <p:nvPr/>
        </p:nvSpPr>
        <p:spPr>
          <a:xfrm>
            <a:off x="853366" y="3586972"/>
            <a:ext cx="609600" cy="307777"/>
          </a:xfrm>
          <a:prstGeom prst="rect">
            <a:avLst/>
          </a:prstGeom>
          <a:noFill/>
        </p:spPr>
        <p:txBody>
          <a:bodyPr wrap="square" rtlCol="0">
            <a:spAutoFit/>
          </a:bodyPr>
          <a:lstStyle/>
          <a:p>
            <a:pPr algn="ctr"/>
            <a:r>
              <a:rPr lang="en-GB" sz="1400" dirty="0" smtClean="0">
                <a:solidFill>
                  <a:srgbClr val="000000"/>
                </a:solidFill>
              </a:rPr>
              <a:t>22%</a:t>
            </a:r>
            <a:endParaRPr lang="en-GB" sz="1400" dirty="0">
              <a:solidFill>
                <a:srgbClr val="000000"/>
              </a:solidFill>
            </a:endParaRPr>
          </a:p>
        </p:txBody>
      </p:sp>
      <p:grpSp>
        <p:nvGrpSpPr>
          <p:cNvPr id="20" name="Group 244"/>
          <p:cNvGrpSpPr>
            <a:grpSpLocks/>
          </p:cNvGrpSpPr>
          <p:nvPr/>
        </p:nvGrpSpPr>
        <p:grpSpPr bwMode="auto">
          <a:xfrm>
            <a:off x="693382" y="2100219"/>
            <a:ext cx="911666" cy="1168400"/>
            <a:chOff x="530107" y="2679345"/>
            <a:chExt cx="996933" cy="1187731"/>
          </a:xfrm>
        </p:grpSpPr>
        <p:sp>
          <p:nvSpPr>
            <p:cNvPr id="125" name="Rounded Rectangle 124"/>
            <p:cNvSpPr/>
            <p:nvPr/>
          </p:nvSpPr>
          <p:spPr>
            <a:xfrm>
              <a:off x="610350" y="2679345"/>
              <a:ext cx="866075"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126" name="Rounded Rectangle 125"/>
            <p:cNvSpPr/>
            <p:nvPr/>
          </p:nvSpPr>
          <p:spPr>
            <a:xfrm>
              <a:off x="530107" y="3380971"/>
              <a:ext cx="996933"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Hotel/Flight Booking</a:t>
              </a:r>
              <a:endParaRPr lang="en-GB" sz="1000" b="1" kern="0" dirty="0">
                <a:solidFill>
                  <a:srgbClr val="000000"/>
                </a:solidFill>
              </a:endParaRPr>
            </a:p>
          </p:txBody>
        </p:sp>
      </p:grpSp>
      <p:sp>
        <p:nvSpPr>
          <p:cNvPr id="128" name="TextBox 127"/>
          <p:cNvSpPr txBox="1"/>
          <p:nvPr/>
        </p:nvSpPr>
        <p:spPr>
          <a:xfrm>
            <a:off x="835466" y="1671792"/>
            <a:ext cx="609600" cy="307777"/>
          </a:xfrm>
          <a:prstGeom prst="rect">
            <a:avLst/>
          </a:prstGeom>
          <a:noFill/>
        </p:spPr>
        <p:txBody>
          <a:bodyPr wrap="square" rtlCol="0">
            <a:spAutoFit/>
          </a:bodyPr>
          <a:lstStyle/>
          <a:p>
            <a:pPr algn="ctr"/>
            <a:r>
              <a:rPr lang="en-GB" sz="1400" dirty="0" smtClean="0">
                <a:solidFill>
                  <a:srgbClr val="000000"/>
                </a:solidFill>
              </a:rPr>
              <a:t>55%</a:t>
            </a:r>
            <a:endParaRPr lang="en-GB" sz="1400" dirty="0">
              <a:solidFill>
                <a:srgbClr val="000000"/>
              </a:solidFill>
            </a:endParaRPr>
          </a:p>
        </p:txBody>
      </p:sp>
      <p:pic>
        <p:nvPicPr>
          <p:cNvPr id="129" name="Picture 128"/>
          <p:cNvPicPr>
            <a:picLocks noChangeAspect="1"/>
          </p:cNvPicPr>
          <p:nvPr/>
        </p:nvPicPr>
        <p:blipFill rotWithShape="1">
          <a:blip r:embed="rId13" cstate="print">
            <a:extLst>
              <a:ext uri="{28A0092B-C50C-407E-A947-70E740481C1C}">
                <a14:useLocalDpi xmlns:a14="http://schemas.microsoft.com/office/drawing/2010/main" val="0"/>
              </a:ext>
            </a:extLst>
          </a:blip>
          <a:srcRect r="3441" b="58447"/>
          <a:stretch/>
        </p:blipFill>
        <p:spPr>
          <a:xfrm>
            <a:off x="835466" y="2323998"/>
            <a:ext cx="627499" cy="358180"/>
          </a:xfrm>
          <a:prstGeom prst="rect">
            <a:avLst/>
          </a:prstGeom>
          <a:solidFill>
            <a:schemeClr val="bg1"/>
          </a:solidFill>
        </p:spPr>
      </p:pic>
      <p:sp>
        <p:nvSpPr>
          <p:cNvPr id="130" name="TextBox 129"/>
          <p:cNvSpPr txBox="1"/>
          <p:nvPr/>
        </p:nvSpPr>
        <p:spPr>
          <a:xfrm>
            <a:off x="4800600" y="3586972"/>
            <a:ext cx="609600" cy="307777"/>
          </a:xfrm>
          <a:prstGeom prst="rect">
            <a:avLst/>
          </a:prstGeom>
          <a:noFill/>
        </p:spPr>
        <p:txBody>
          <a:bodyPr wrap="square" rtlCol="0">
            <a:spAutoFit/>
          </a:bodyPr>
          <a:lstStyle/>
          <a:p>
            <a:pPr algn="ctr"/>
            <a:r>
              <a:rPr lang="en-GB" sz="1400" dirty="0" smtClean="0">
                <a:solidFill>
                  <a:srgbClr val="000000"/>
                </a:solidFill>
              </a:rPr>
              <a:t>16%</a:t>
            </a:r>
            <a:endParaRPr lang="en-GB" sz="1400" dirty="0">
              <a:solidFill>
                <a:srgbClr val="000000"/>
              </a:solidFill>
            </a:endParaRPr>
          </a:p>
        </p:txBody>
      </p:sp>
      <p:pic>
        <p:nvPicPr>
          <p:cNvPr id="1050" name="Picture 26" descr="https://encrypted-tbn3.gstatic.com/images?q=tbn:ANd9GcQqJEpRHmFs_8j7HjtcadkqnN6YJ05S2m5zz2XRzdTTEXqRTHxQ"/>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67229" y="4139579"/>
            <a:ext cx="622261" cy="523611"/>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https://encrypted-tbn2.gstatic.com/images?q=tbn:ANd9GcSrRH3tmthQAugz6iiyuIGIK9dAJPJcsqW6W8lCjxgmKTO-nwJj"/>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807296" y="4134604"/>
            <a:ext cx="596112" cy="451680"/>
          </a:xfrm>
          <a:prstGeom prst="rect">
            <a:avLst/>
          </a:prstGeom>
          <a:noFill/>
          <a:extLst>
            <a:ext uri="{909E8E84-426E-40DD-AFC4-6F175D3DCCD1}">
              <a14:hiddenFill xmlns:a14="http://schemas.microsoft.com/office/drawing/2010/main">
                <a:solidFill>
                  <a:srgbClr val="FFFFFF"/>
                </a:solidFill>
              </a14:hiddenFill>
            </a:ext>
          </a:extLst>
        </p:spPr>
      </p:pic>
      <p:sp>
        <p:nvSpPr>
          <p:cNvPr id="131" name="TextBox 130"/>
          <p:cNvSpPr txBox="1"/>
          <p:nvPr/>
        </p:nvSpPr>
        <p:spPr>
          <a:xfrm>
            <a:off x="6781800" y="3586972"/>
            <a:ext cx="609600" cy="307777"/>
          </a:xfrm>
          <a:prstGeom prst="rect">
            <a:avLst/>
          </a:prstGeom>
          <a:noFill/>
        </p:spPr>
        <p:txBody>
          <a:bodyPr wrap="square" rtlCol="0">
            <a:spAutoFit/>
          </a:bodyPr>
          <a:lstStyle/>
          <a:p>
            <a:pPr algn="ctr"/>
            <a:r>
              <a:rPr lang="en-GB" sz="1400" dirty="0" smtClean="0">
                <a:solidFill>
                  <a:srgbClr val="000000"/>
                </a:solidFill>
              </a:rPr>
              <a:t>8%</a:t>
            </a:r>
            <a:endParaRPr lang="en-GB" sz="1400" dirty="0">
              <a:solidFill>
                <a:srgbClr val="000000"/>
              </a:solidFill>
            </a:endParaRPr>
          </a:p>
        </p:txBody>
      </p:sp>
    </p:spTree>
    <p:extLst>
      <p:ext uri="{BB962C8B-B14F-4D97-AF65-F5344CB8AC3E}">
        <p14:creationId xmlns:p14="http://schemas.microsoft.com/office/powerpoint/2010/main" val="22628881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5"/>
          <p:cNvSpPr>
            <a:spLocks noChangeArrowheads="1"/>
          </p:cNvSpPr>
          <p:nvPr/>
        </p:nvSpPr>
        <p:spPr bwMode="gray">
          <a:xfrm>
            <a:off x="641498" y="1721768"/>
            <a:ext cx="7588102" cy="3950180"/>
          </a:xfrm>
          <a:prstGeom prst="rect">
            <a:avLst/>
          </a:prstGeom>
          <a:solidFill>
            <a:srgbClr val="ECEDEF"/>
          </a:solidFill>
          <a:ln w="12700">
            <a:solidFill>
              <a:srgbClr val="ECEDEF"/>
            </a:solidFill>
            <a:miter lim="800000"/>
            <a:headEnd/>
            <a:tailEnd/>
          </a:ln>
          <a:effectLst/>
        </p:spPr>
        <p:txBody>
          <a:bodyPr lIns="108000" tIns="108000" rIns="144000" bIns="72000"/>
          <a:lstStyle/>
          <a:p>
            <a:pPr algn="ctr">
              <a:lnSpc>
                <a:spcPct val="95000"/>
              </a:lnSpc>
              <a:buClr>
                <a:srgbClr val="17426B"/>
              </a:buClr>
              <a:tabLst>
                <a:tab pos="0" algn="l"/>
              </a:tabLst>
            </a:pPr>
            <a:endParaRPr lang="en-US" sz="1400" noProof="1">
              <a:solidFill>
                <a:srgbClr val="17426B"/>
              </a:solidFill>
              <a:cs typeface="Arial" charset="0"/>
            </a:endParaRPr>
          </a:p>
        </p:txBody>
      </p:sp>
      <p:sp>
        <p:nvSpPr>
          <p:cNvPr id="7" name="Title 1"/>
          <p:cNvSpPr>
            <a:spLocks noGrp="1"/>
          </p:cNvSpPr>
          <p:nvPr>
            <p:ph type="title"/>
          </p:nvPr>
        </p:nvSpPr>
        <p:spPr>
          <a:xfrm>
            <a:off x="381000" y="134048"/>
            <a:ext cx="8382000" cy="792162"/>
          </a:xfrm>
        </p:spPr>
        <p:txBody>
          <a:bodyPr>
            <a:normAutofit fontScale="90000"/>
          </a:bodyPr>
          <a:lstStyle/>
          <a:p>
            <a:pPr algn="l"/>
            <a:r>
              <a:rPr lang="en-US" sz="2200" dirty="0" smtClean="0">
                <a:solidFill>
                  <a:schemeClr val="tx2"/>
                </a:solidFill>
              </a:rPr>
              <a:t>Mobility Integration Services in Mobile Application</a:t>
            </a:r>
            <a:r>
              <a:rPr lang="en-US" dirty="0" smtClean="0">
                <a:solidFill>
                  <a:schemeClr val="tx2"/>
                </a:solidFill>
              </a:rPr>
              <a:t/>
            </a:r>
            <a:br>
              <a:rPr lang="en-US" dirty="0" smtClean="0">
                <a:solidFill>
                  <a:schemeClr val="tx2"/>
                </a:solidFill>
              </a:rPr>
            </a:br>
            <a:r>
              <a:rPr lang="en-US" sz="1800" b="0" dirty="0" smtClean="0">
                <a:solidFill>
                  <a:schemeClr val="tx2"/>
                </a:solidFill>
              </a:rPr>
              <a:t>Journey Planning is the most desirable service so must be a priority component of an Integrated Mobility service </a:t>
            </a:r>
            <a:endParaRPr lang="en-US" sz="1800" b="0" dirty="0">
              <a:solidFill>
                <a:schemeClr val="tx2"/>
              </a:solidFill>
            </a:endParaRPr>
          </a:p>
        </p:txBody>
      </p:sp>
      <p:sp>
        <p:nvSpPr>
          <p:cNvPr id="8" name="TextBox 7"/>
          <p:cNvSpPr txBox="1"/>
          <p:nvPr/>
        </p:nvSpPr>
        <p:spPr>
          <a:xfrm>
            <a:off x="279468" y="5887131"/>
            <a:ext cx="8077200" cy="446276"/>
          </a:xfrm>
          <a:prstGeom prst="rect">
            <a:avLst/>
          </a:prstGeom>
          <a:noFill/>
        </p:spPr>
        <p:txBody>
          <a:bodyPr wrap="square" rtlCol="0">
            <a:spAutoFit/>
          </a:bodyPr>
          <a:lstStyle/>
          <a:p>
            <a:pPr marL="342900" indent="-342900" fontAlgn="base">
              <a:lnSpc>
                <a:spcPct val="115000"/>
              </a:lnSpc>
            </a:pPr>
            <a:r>
              <a:rPr lang="en-US" sz="1000" dirty="0" smtClean="0">
                <a:solidFill>
                  <a:schemeClr val="bg1">
                    <a:lumMod val="50000"/>
                  </a:schemeClr>
                </a:solidFill>
                <a:ea typeface="MS Mincho"/>
                <a:cs typeface="Latha"/>
              </a:rPr>
              <a:t>Q33. Interest on mobile applications for the new mobility solution. Base: Total  n=465</a:t>
            </a:r>
          </a:p>
          <a:p>
            <a:pPr marL="342900" indent="-342900" fontAlgn="base">
              <a:lnSpc>
                <a:spcPct val="115000"/>
              </a:lnSpc>
            </a:pPr>
            <a:r>
              <a:rPr lang="en-US" sz="1000" dirty="0" smtClean="0">
                <a:solidFill>
                  <a:schemeClr val="bg1">
                    <a:lumMod val="50000"/>
                  </a:schemeClr>
                </a:solidFill>
                <a:ea typeface="MS Mincho"/>
                <a:cs typeface="Latha"/>
              </a:rPr>
              <a:t>Preferences were selected by respondents from a pre-defined list of services as opposed to a free format / free choice approach</a:t>
            </a:r>
          </a:p>
        </p:txBody>
      </p:sp>
      <p:sp>
        <p:nvSpPr>
          <p:cNvPr id="29" name="Rounded Rectangle 28"/>
          <p:cNvSpPr/>
          <p:nvPr/>
        </p:nvSpPr>
        <p:spPr bwMode="auto">
          <a:xfrm>
            <a:off x="6934200" y="2299618"/>
            <a:ext cx="787400" cy="1168400"/>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31" name="Rounded Rectangle 30"/>
          <p:cNvSpPr/>
          <p:nvPr/>
        </p:nvSpPr>
        <p:spPr bwMode="auto">
          <a:xfrm>
            <a:off x="6934200" y="3021402"/>
            <a:ext cx="761267" cy="3746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Expenses Claiming</a:t>
            </a:r>
            <a:endParaRPr lang="en-GB" sz="1000" b="1" kern="0" dirty="0">
              <a:solidFill>
                <a:srgbClr val="000000"/>
              </a:solidFill>
            </a:endParaRPr>
          </a:p>
        </p:txBody>
      </p:sp>
      <p:grpSp>
        <p:nvGrpSpPr>
          <p:cNvPr id="3" name="Group 248"/>
          <p:cNvGrpSpPr>
            <a:grpSpLocks/>
          </p:cNvGrpSpPr>
          <p:nvPr/>
        </p:nvGrpSpPr>
        <p:grpSpPr bwMode="auto">
          <a:xfrm>
            <a:off x="1028661" y="4256178"/>
            <a:ext cx="800139" cy="1168400"/>
            <a:chOff x="610295" y="2678998"/>
            <a:chExt cx="874974" cy="1187731"/>
          </a:xfrm>
        </p:grpSpPr>
        <p:sp>
          <p:nvSpPr>
            <p:cNvPr id="33" name="Rounded Rectangle 32"/>
            <p:cNvSpPr/>
            <p:nvPr/>
          </p:nvSpPr>
          <p:spPr>
            <a:xfrm>
              <a:off x="610295" y="2678998"/>
              <a:ext cx="861044"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34" name="Rounded Rectangle 33"/>
            <p:cNvSpPr/>
            <p:nvPr/>
          </p:nvSpPr>
          <p:spPr>
            <a:xfrm>
              <a:off x="610295" y="3397661"/>
              <a:ext cx="874974"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Navigation Service</a:t>
              </a:r>
              <a:endParaRPr lang="en-GB" sz="1000" b="1" kern="0" dirty="0">
                <a:solidFill>
                  <a:srgbClr val="000000"/>
                </a:solidFill>
              </a:endParaRPr>
            </a:p>
          </p:txBody>
        </p:sp>
      </p:grpSp>
      <p:grpSp>
        <p:nvGrpSpPr>
          <p:cNvPr id="4" name="Group 244"/>
          <p:cNvGrpSpPr>
            <a:grpSpLocks/>
          </p:cNvGrpSpPr>
          <p:nvPr/>
        </p:nvGrpSpPr>
        <p:grpSpPr bwMode="auto">
          <a:xfrm>
            <a:off x="5486400" y="4267265"/>
            <a:ext cx="911666" cy="1168400"/>
            <a:chOff x="525348" y="2679345"/>
            <a:chExt cx="996933" cy="1187731"/>
          </a:xfrm>
        </p:grpSpPr>
        <p:sp>
          <p:nvSpPr>
            <p:cNvPr id="37" name="Rounded Rectangle 36"/>
            <p:cNvSpPr/>
            <p:nvPr/>
          </p:nvSpPr>
          <p:spPr>
            <a:xfrm>
              <a:off x="585570" y="2679345"/>
              <a:ext cx="861043"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38" name="Rounded Rectangle 37"/>
            <p:cNvSpPr/>
            <p:nvPr/>
          </p:nvSpPr>
          <p:spPr>
            <a:xfrm>
              <a:off x="525348" y="3398569"/>
              <a:ext cx="996933"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a:solidFill>
                    <a:srgbClr val="000000"/>
                  </a:solidFill>
                </a:rPr>
                <a:t>Mobility </a:t>
              </a:r>
              <a:r>
                <a:rPr lang="en-GB" sz="1000" b="1" kern="0" dirty="0" smtClean="0">
                  <a:solidFill>
                    <a:srgbClr val="000000"/>
                  </a:solidFill>
                </a:rPr>
                <a:t>Reporting</a:t>
              </a:r>
              <a:endParaRPr lang="en-GB" sz="1000" b="1" kern="0" dirty="0">
                <a:solidFill>
                  <a:srgbClr val="000000"/>
                </a:solidFill>
              </a:endParaRPr>
            </a:p>
          </p:txBody>
        </p:sp>
      </p:grpSp>
      <p:grpSp>
        <p:nvGrpSpPr>
          <p:cNvPr id="5" name="Group 236"/>
          <p:cNvGrpSpPr>
            <a:grpSpLocks/>
          </p:cNvGrpSpPr>
          <p:nvPr/>
        </p:nvGrpSpPr>
        <p:grpSpPr bwMode="auto">
          <a:xfrm>
            <a:off x="4038600" y="4256857"/>
            <a:ext cx="788988" cy="1168400"/>
            <a:chOff x="609179" y="2679306"/>
            <a:chExt cx="862781" cy="1187731"/>
          </a:xfrm>
        </p:grpSpPr>
        <p:sp>
          <p:nvSpPr>
            <p:cNvPr id="65" name="Rounded Rectangle 64"/>
            <p:cNvSpPr/>
            <p:nvPr/>
          </p:nvSpPr>
          <p:spPr>
            <a:xfrm>
              <a:off x="609179" y="2679306"/>
              <a:ext cx="862781"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66" name="Rounded Rectangle 65"/>
            <p:cNvSpPr/>
            <p:nvPr/>
          </p:nvSpPr>
          <p:spPr>
            <a:xfrm>
              <a:off x="688843" y="3397969"/>
              <a:ext cx="694390"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Mobility Booking</a:t>
              </a:r>
              <a:endParaRPr lang="en-GB" sz="1000" b="1" kern="0" dirty="0">
                <a:solidFill>
                  <a:srgbClr val="000000"/>
                </a:solidFill>
              </a:endParaRPr>
            </a:p>
          </p:txBody>
        </p:sp>
      </p:grpSp>
      <p:grpSp>
        <p:nvGrpSpPr>
          <p:cNvPr id="6" name="Group 232"/>
          <p:cNvGrpSpPr>
            <a:grpSpLocks/>
          </p:cNvGrpSpPr>
          <p:nvPr/>
        </p:nvGrpSpPr>
        <p:grpSpPr bwMode="auto">
          <a:xfrm>
            <a:off x="2438400" y="2299618"/>
            <a:ext cx="962050" cy="1168400"/>
            <a:chOff x="509882" y="2677949"/>
            <a:chExt cx="1052029" cy="1187731"/>
          </a:xfrm>
        </p:grpSpPr>
        <p:sp>
          <p:nvSpPr>
            <p:cNvPr id="69" name="Rounded Rectangle 68"/>
            <p:cNvSpPr/>
            <p:nvPr/>
          </p:nvSpPr>
          <p:spPr>
            <a:xfrm>
              <a:off x="570527" y="2677949"/>
              <a:ext cx="866075"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70" name="Rounded Rectangle 69"/>
            <p:cNvSpPr/>
            <p:nvPr/>
          </p:nvSpPr>
          <p:spPr>
            <a:xfrm>
              <a:off x="509882" y="3394461"/>
              <a:ext cx="1052029" cy="400214"/>
            </a:xfrm>
            <a:prstGeom prst="roundRect">
              <a:avLst/>
            </a:prstGeom>
            <a:noFill/>
            <a:ln w="3175" cap="flat" cmpd="sng" algn="ctr">
              <a:noFill/>
              <a:prstDash val="lgDash"/>
            </a:ln>
            <a:effectLst/>
          </p:spPr>
          <p:txBody>
            <a:bodyPr lIns="36000" tIns="36000" rIns="36000" bIns="36000"/>
            <a:lstStyle/>
            <a:p>
              <a:pPr algn="ctr">
                <a:defRPr/>
              </a:pPr>
              <a:r>
                <a:rPr lang="en-GB" sz="1000" b="1" kern="0" dirty="0" smtClean="0">
                  <a:solidFill>
                    <a:srgbClr val="000000"/>
                  </a:solidFill>
                </a:rPr>
                <a:t>Boarding Pass</a:t>
              </a:r>
              <a:endParaRPr lang="en-GB" sz="1000" b="1" kern="0" dirty="0">
                <a:solidFill>
                  <a:srgbClr val="000000"/>
                </a:solidFill>
              </a:endParaRPr>
            </a:p>
          </p:txBody>
        </p:sp>
      </p:grpSp>
      <p:grpSp>
        <p:nvGrpSpPr>
          <p:cNvPr id="9" name="Group 224"/>
          <p:cNvGrpSpPr>
            <a:grpSpLocks/>
          </p:cNvGrpSpPr>
          <p:nvPr/>
        </p:nvGrpSpPr>
        <p:grpSpPr bwMode="auto">
          <a:xfrm>
            <a:off x="5537200" y="2299618"/>
            <a:ext cx="787400" cy="1168400"/>
            <a:chOff x="610453" y="2678464"/>
            <a:chExt cx="861044" cy="1187731"/>
          </a:xfrm>
        </p:grpSpPr>
        <p:sp>
          <p:nvSpPr>
            <p:cNvPr id="77" name="Rounded Rectangle 76"/>
            <p:cNvSpPr/>
            <p:nvPr/>
          </p:nvSpPr>
          <p:spPr>
            <a:xfrm>
              <a:off x="610453" y="2678464"/>
              <a:ext cx="861044"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78" name="Rounded Rectangle 77"/>
            <p:cNvSpPr/>
            <p:nvPr/>
          </p:nvSpPr>
          <p:spPr>
            <a:xfrm>
              <a:off x="698987" y="3397127"/>
              <a:ext cx="772510" cy="380849"/>
            </a:xfrm>
            <a:prstGeom prst="roundRect">
              <a:avLst/>
            </a:prstGeom>
            <a:noFill/>
            <a:ln w="25400" cap="flat" cmpd="sng" algn="ctr">
              <a:noFill/>
              <a:prstDash val="solid"/>
            </a:ln>
            <a:effectLst/>
          </p:spPr>
          <p:txBody>
            <a:bodyPr lIns="36000" tIns="36000" rIns="36000" bIns="36000" anchor="ctr"/>
            <a:lstStyle/>
            <a:p>
              <a:pPr algn="ctr">
                <a:defRPr/>
              </a:pPr>
              <a:r>
                <a:rPr lang="en-GB" sz="1000" b="1" kern="0" dirty="0" smtClean="0">
                  <a:solidFill>
                    <a:srgbClr val="000000"/>
                  </a:solidFill>
                </a:rPr>
                <a:t>Mobile Payment</a:t>
              </a:r>
              <a:endParaRPr lang="en-GB" sz="1000" b="1" kern="0" dirty="0">
                <a:solidFill>
                  <a:srgbClr val="000000"/>
                </a:solidFill>
              </a:endParaRPr>
            </a:p>
          </p:txBody>
        </p:sp>
      </p:grpSp>
      <p:sp>
        <p:nvSpPr>
          <p:cNvPr id="80" name="Rounded Rectangle 79"/>
          <p:cNvSpPr/>
          <p:nvPr/>
        </p:nvSpPr>
        <p:spPr bwMode="auto">
          <a:xfrm>
            <a:off x="4008600" y="2293268"/>
            <a:ext cx="792000" cy="1181100"/>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81" name="Rounded Rectangle 80"/>
          <p:cNvSpPr/>
          <p:nvPr/>
        </p:nvSpPr>
        <p:spPr bwMode="auto">
          <a:xfrm>
            <a:off x="4060217" y="2985591"/>
            <a:ext cx="681037" cy="376766"/>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Online Check-in</a:t>
            </a:r>
            <a:endParaRPr lang="en-GB" sz="1000" b="1" kern="0" dirty="0">
              <a:solidFill>
                <a:srgbClr val="000000"/>
              </a:solidFill>
            </a:endParaRPr>
          </a:p>
        </p:txBody>
      </p:sp>
      <p:grpSp>
        <p:nvGrpSpPr>
          <p:cNvPr id="10" name="Group 236"/>
          <p:cNvGrpSpPr>
            <a:grpSpLocks/>
          </p:cNvGrpSpPr>
          <p:nvPr/>
        </p:nvGrpSpPr>
        <p:grpSpPr bwMode="auto">
          <a:xfrm>
            <a:off x="2514600" y="4256178"/>
            <a:ext cx="923925" cy="1168400"/>
            <a:chOff x="527176" y="2679306"/>
            <a:chExt cx="993243" cy="1187731"/>
          </a:xfrm>
        </p:grpSpPr>
        <p:sp>
          <p:nvSpPr>
            <p:cNvPr id="106" name="Rounded Rectangle 105"/>
            <p:cNvSpPr/>
            <p:nvPr/>
          </p:nvSpPr>
          <p:spPr>
            <a:xfrm>
              <a:off x="609093" y="2679306"/>
              <a:ext cx="851420"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107" name="Rounded Rectangle 106"/>
            <p:cNvSpPr/>
            <p:nvPr/>
          </p:nvSpPr>
          <p:spPr>
            <a:xfrm>
              <a:off x="527176" y="3397969"/>
              <a:ext cx="993243" cy="380848"/>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Real Time Information</a:t>
              </a:r>
              <a:endParaRPr lang="en-GB" sz="1000" b="1" kern="0" dirty="0">
                <a:solidFill>
                  <a:srgbClr val="000000"/>
                </a:solidFill>
              </a:endParaRPr>
            </a:p>
          </p:txBody>
        </p:sp>
      </p:grpSp>
      <p:sp>
        <p:nvSpPr>
          <p:cNvPr id="108" name="TextBox 107"/>
          <p:cNvSpPr txBox="1"/>
          <p:nvPr/>
        </p:nvSpPr>
        <p:spPr>
          <a:xfrm>
            <a:off x="1935477" y="1340768"/>
            <a:ext cx="5160450" cy="307777"/>
          </a:xfrm>
          <a:prstGeom prst="rect">
            <a:avLst/>
          </a:prstGeom>
          <a:noFill/>
        </p:spPr>
        <p:txBody>
          <a:bodyPr wrap="square" rtlCol="0">
            <a:spAutoFit/>
          </a:bodyPr>
          <a:lstStyle/>
          <a:p>
            <a:pPr algn="ctr"/>
            <a:r>
              <a:rPr lang="en-GB" sz="1400" dirty="0"/>
              <a:t>Mobility Integration Service in Mobile </a:t>
            </a:r>
            <a:r>
              <a:rPr lang="en-GB" sz="1400" dirty="0" smtClean="0"/>
              <a:t>Application - </a:t>
            </a:r>
            <a:r>
              <a:rPr lang="en-GB" sz="1400" dirty="0"/>
              <a:t>Europe</a:t>
            </a:r>
          </a:p>
        </p:txBody>
      </p:sp>
      <p:sp>
        <p:nvSpPr>
          <p:cNvPr id="2" name="TextBox 1"/>
          <p:cNvSpPr txBox="1"/>
          <p:nvPr/>
        </p:nvSpPr>
        <p:spPr>
          <a:xfrm>
            <a:off x="7010400" y="1871191"/>
            <a:ext cx="609600" cy="307777"/>
          </a:xfrm>
          <a:prstGeom prst="rect">
            <a:avLst/>
          </a:prstGeom>
          <a:noFill/>
        </p:spPr>
        <p:txBody>
          <a:bodyPr wrap="square" rtlCol="0">
            <a:spAutoFit/>
          </a:bodyPr>
          <a:lstStyle/>
          <a:p>
            <a:pPr algn="ctr"/>
            <a:r>
              <a:rPr lang="en-GB" sz="1400" dirty="0" smtClean="0">
                <a:solidFill>
                  <a:srgbClr val="000000"/>
                </a:solidFill>
              </a:rPr>
              <a:t>39%</a:t>
            </a:r>
            <a:endParaRPr lang="en-GB" sz="1400" dirty="0">
              <a:solidFill>
                <a:srgbClr val="000000"/>
              </a:solidFill>
            </a:endParaRPr>
          </a:p>
        </p:txBody>
      </p:sp>
      <p:sp>
        <p:nvSpPr>
          <p:cNvPr id="109" name="TextBox 108"/>
          <p:cNvSpPr txBox="1"/>
          <p:nvPr/>
        </p:nvSpPr>
        <p:spPr>
          <a:xfrm>
            <a:off x="4114800" y="3827751"/>
            <a:ext cx="609600" cy="307777"/>
          </a:xfrm>
          <a:prstGeom prst="rect">
            <a:avLst/>
          </a:prstGeom>
          <a:noFill/>
        </p:spPr>
        <p:txBody>
          <a:bodyPr wrap="square" rtlCol="0">
            <a:spAutoFit/>
          </a:bodyPr>
          <a:lstStyle/>
          <a:p>
            <a:pPr algn="ctr"/>
            <a:r>
              <a:rPr lang="en-GB" sz="1400" dirty="0" smtClean="0">
                <a:solidFill>
                  <a:srgbClr val="000000"/>
                </a:solidFill>
              </a:rPr>
              <a:t>23%</a:t>
            </a:r>
            <a:endParaRPr lang="en-GB" sz="1400" dirty="0">
              <a:solidFill>
                <a:srgbClr val="000000"/>
              </a:solidFill>
            </a:endParaRPr>
          </a:p>
        </p:txBody>
      </p:sp>
      <p:sp>
        <p:nvSpPr>
          <p:cNvPr id="113" name="TextBox 112"/>
          <p:cNvSpPr txBox="1"/>
          <p:nvPr/>
        </p:nvSpPr>
        <p:spPr>
          <a:xfrm>
            <a:off x="2593257" y="1871191"/>
            <a:ext cx="609600" cy="307777"/>
          </a:xfrm>
          <a:prstGeom prst="rect">
            <a:avLst/>
          </a:prstGeom>
          <a:noFill/>
        </p:spPr>
        <p:txBody>
          <a:bodyPr wrap="square" rtlCol="0">
            <a:spAutoFit/>
          </a:bodyPr>
          <a:lstStyle/>
          <a:p>
            <a:pPr algn="ctr"/>
            <a:r>
              <a:rPr lang="en-GB" sz="1400" dirty="0" smtClean="0">
                <a:solidFill>
                  <a:srgbClr val="000000"/>
                </a:solidFill>
              </a:rPr>
              <a:t>43%</a:t>
            </a:r>
            <a:endParaRPr lang="en-GB" sz="1400" dirty="0">
              <a:solidFill>
                <a:srgbClr val="000000"/>
              </a:solidFill>
            </a:endParaRPr>
          </a:p>
        </p:txBody>
      </p:sp>
      <p:sp>
        <p:nvSpPr>
          <p:cNvPr id="115" name="TextBox 114"/>
          <p:cNvSpPr txBox="1"/>
          <p:nvPr/>
        </p:nvSpPr>
        <p:spPr>
          <a:xfrm>
            <a:off x="4119714" y="1871191"/>
            <a:ext cx="609600" cy="307777"/>
          </a:xfrm>
          <a:prstGeom prst="rect">
            <a:avLst/>
          </a:prstGeom>
          <a:noFill/>
        </p:spPr>
        <p:txBody>
          <a:bodyPr wrap="square" rtlCol="0">
            <a:spAutoFit/>
          </a:bodyPr>
          <a:lstStyle/>
          <a:p>
            <a:pPr algn="ctr"/>
            <a:r>
              <a:rPr lang="en-GB" sz="1400" dirty="0" smtClean="0">
                <a:solidFill>
                  <a:srgbClr val="000000"/>
                </a:solidFill>
              </a:rPr>
              <a:t>41%</a:t>
            </a:r>
            <a:endParaRPr lang="en-GB" sz="1400" dirty="0">
              <a:solidFill>
                <a:srgbClr val="000000"/>
              </a:solidFill>
            </a:endParaRPr>
          </a:p>
        </p:txBody>
      </p:sp>
      <p:sp>
        <p:nvSpPr>
          <p:cNvPr id="116" name="TextBox 115"/>
          <p:cNvSpPr txBox="1"/>
          <p:nvPr/>
        </p:nvSpPr>
        <p:spPr>
          <a:xfrm>
            <a:off x="1114412" y="3827751"/>
            <a:ext cx="609600" cy="307777"/>
          </a:xfrm>
          <a:prstGeom prst="rect">
            <a:avLst/>
          </a:prstGeom>
          <a:noFill/>
        </p:spPr>
        <p:txBody>
          <a:bodyPr wrap="square" rtlCol="0">
            <a:spAutoFit/>
          </a:bodyPr>
          <a:lstStyle/>
          <a:p>
            <a:pPr algn="ctr"/>
            <a:r>
              <a:rPr lang="en-GB" sz="1400" dirty="0" smtClean="0">
                <a:solidFill>
                  <a:srgbClr val="000000"/>
                </a:solidFill>
              </a:rPr>
              <a:t>37%</a:t>
            </a:r>
            <a:endParaRPr lang="en-GB" sz="1400" dirty="0">
              <a:solidFill>
                <a:srgbClr val="000000"/>
              </a:solidFill>
            </a:endParaRPr>
          </a:p>
        </p:txBody>
      </p:sp>
      <p:sp>
        <p:nvSpPr>
          <p:cNvPr id="120" name="TextBox 119"/>
          <p:cNvSpPr txBox="1"/>
          <p:nvPr/>
        </p:nvSpPr>
        <p:spPr>
          <a:xfrm>
            <a:off x="2679008" y="3827751"/>
            <a:ext cx="609600" cy="307777"/>
          </a:xfrm>
          <a:prstGeom prst="rect">
            <a:avLst/>
          </a:prstGeom>
          <a:noFill/>
        </p:spPr>
        <p:txBody>
          <a:bodyPr wrap="square" rtlCol="0">
            <a:spAutoFit/>
          </a:bodyPr>
          <a:lstStyle/>
          <a:p>
            <a:pPr algn="ctr"/>
            <a:r>
              <a:rPr lang="en-GB" sz="1400" dirty="0" smtClean="0">
                <a:solidFill>
                  <a:srgbClr val="000000"/>
                </a:solidFill>
              </a:rPr>
              <a:t>32%</a:t>
            </a:r>
            <a:endParaRPr lang="en-GB" sz="1400" dirty="0">
              <a:solidFill>
                <a:srgbClr val="000000"/>
              </a:solidFill>
            </a:endParaRPr>
          </a:p>
        </p:txBody>
      </p:sp>
      <p:sp>
        <p:nvSpPr>
          <p:cNvPr id="121" name="TextBox 120"/>
          <p:cNvSpPr txBox="1"/>
          <p:nvPr/>
        </p:nvSpPr>
        <p:spPr>
          <a:xfrm>
            <a:off x="5638800" y="1871191"/>
            <a:ext cx="609600" cy="307777"/>
          </a:xfrm>
          <a:prstGeom prst="rect">
            <a:avLst/>
          </a:prstGeom>
          <a:noFill/>
        </p:spPr>
        <p:txBody>
          <a:bodyPr wrap="square" rtlCol="0">
            <a:spAutoFit/>
          </a:bodyPr>
          <a:lstStyle/>
          <a:p>
            <a:pPr algn="ctr"/>
            <a:r>
              <a:rPr lang="en-GB" sz="1400" dirty="0" smtClean="0">
                <a:solidFill>
                  <a:srgbClr val="000000"/>
                </a:solidFill>
              </a:rPr>
              <a:t>40%</a:t>
            </a:r>
            <a:endParaRPr lang="en-GB" sz="1400" dirty="0">
              <a:solidFill>
                <a:srgbClr val="000000"/>
              </a:solidFill>
            </a:endParaRPr>
          </a:p>
        </p:txBody>
      </p:sp>
      <p:sp>
        <p:nvSpPr>
          <p:cNvPr id="123" name="TextBox 122"/>
          <p:cNvSpPr txBox="1"/>
          <p:nvPr/>
        </p:nvSpPr>
        <p:spPr>
          <a:xfrm>
            <a:off x="5638800" y="3855368"/>
            <a:ext cx="609600" cy="307777"/>
          </a:xfrm>
          <a:prstGeom prst="rect">
            <a:avLst/>
          </a:prstGeom>
          <a:noFill/>
        </p:spPr>
        <p:txBody>
          <a:bodyPr wrap="square" rtlCol="0">
            <a:spAutoFit/>
          </a:bodyPr>
          <a:lstStyle/>
          <a:p>
            <a:pPr algn="ctr"/>
            <a:r>
              <a:rPr lang="en-GB" sz="1400" dirty="0" smtClean="0">
                <a:solidFill>
                  <a:srgbClr val="000000"/>
                </a:solidFill>
              </a:rPr>
              <a:t>15%</a:t>
            </a:r>
            <a:endParaRPr lang="en-GB" sz="1400" dirty="0">
              <a:solidFill>
                <a:srgbClr val="000000"/>
              </a:solidFill>
            </a:endParaRPr>
          </a:p>
        </p:txBody>
      </p:sp>
      <p:grpSp>
        <p:nvGrpSpPr>
          <p:cNvPr id="11" name="Group 244"/>
          <p:cNvGrpSpPr>
            <a:grpSpLocks/>
          </p:cNvGrpSpPr>
          <p:nvPr/>
        </p:nvGrpSpPr>
        <p:grpSpPr bwMode="auto">
          <a:xfrm>
            <a:off x="917134" y="2299618"/>
            <a:ext cx="911666" cy="1168400"/>
            <a:chOff x="530107" y="2679345"/>
            <a:chExt cx="996933" cy="1187731"/>
          </a:xfrm>
        </p:grpSpPr>
        <p:sp>
          <p:nvSpPr>
            <p:cNvPr id="125" name="Rounded Rectangle 124"/>
            <p:cNvSpPr/>
            <p:nvPr/>
          </p:nvSpPr>
          <p:spPr>
            <a:xfrm>
              <a:off x="610350" y="2679345"/>
              <a:ext cx="866075" cy="1187731"/>
            </a:xfrm>
            <a:prstGeom prst="roundRect">
              <a:avLst/>
            </a:prstGeom>
            <a:gradFill rotWithShape="1">
              <a:gsLst>
                <a:gs pos="0">
                  <a:srgbClr val="ACBED1">
                    <a:tint val="50000"/>
                    <a:satMod val="300000"/>
                  </a:srgbClr>
                </a:gs>
                <a:gs pos="35000">
                  <a:srgbClr val="ACBED1">
                    <a:tint val="37000"/>
                    <a:satMod val="300000"/>
                  </a:srgbClr>
                </a:gs>
                <a:gs pos="100000">
                  <a:srgbClr val="ACBED1">
                    <a:tint val="15000"/>
                    <a:satMod val="350000"/>
                  </a:srgbClr>
                </a:gs>
              </a:gsLst>
              <a:lin ang="16200000" scaled="1"/>
            </a:gradFill>
            <a:ln w="9525" cap="flat" cmpd="sng" algn="ctr">
              <a:solidFill>
                <a:srgbClr val="ACBED1">
                  <a:shade val="95000"/>
                  <a:satMod val="105000"/>
                </a:srgbClr>
              </a:solidFill>
              <a:prstDash val="solid"/>
            </a:ln>
            <a:effectLst>
              <a:outerShdw blurRad="40000" dist="20000" dir="5400000" rotWithShape="0">
                <a:srgbClr val="000000">
                  <a:alpha val="38000"/>
                </a:srgbClr>
              </a:outerShdw>
            </a:effectLst>
          </p:spPr>
          <p:txBody>
            <a:bodyPr lIns="36000" tIns="36000" rIns="36000" bIns="36000"/>
            <a:lstStyle/>
            <a:p>
              <a:pPr algn="ctr">
                <a:defRPr/>
              </a:pPr>
              <a:endParaRPr lang="en-GB" sz="1000" b="1" kern="0" dirty="0">
                <a:solidFill>
                  <a:srgbClr val="000000"/>
                </a:solidFill>
              </a:endParaRPr>
            </a:p>
          </p:txBody>
        </p:sp>
        <p:sp>
          <p:nvSpPr>
            <p:cNvPr id="126" name="Rounded Rectangle 125"/>
            <p:cNvSpPr/>
            <p:nvPr/>
          </p:nvSpPr>
          <p:spPr>
            <a:xfrm>
              <a:off x="530107" y="3380971"/>
              <a:ext cx="996933" cy="380849"/>
            </a:xfrm>
            <a:prstGeom prst="roundRect">
              <a:avLst/>
            </a:prstGeom>
            <a:noFill/>
            <a:ln w="3175" cap="flat" cmpd="sng" algn="ctr">
              <a:noFill/>
              <a:prstDash val="lgDash"/>
            </a:ln>
            <a:effectLst/>
          </p:spPr>
          <p:txBody>
            <a:bodyPr lIns="36000" tIns="36000" rIns="36000" bIns="36000" anchor="ctr"/>
            <a:lstStyle/>
            <a:p>
              <a:pPr algn="ctr">
                <a:defRPr/>
              </a:pPr>
              <a:r>
                <a:rPr lang="en-GB" sz="1000" b="1" kern="0" dirty="0" smtClean="0">
                  <a:solidFill>
                    <a:srgbClr val="000000"/>
                  </a:solidFill>
                </a:rPr>
                <a:t>Journey Planning</a:t>
              </a:r>
              <a:endParaRPr lang="en-GB" sz="1000" b="1" kern="0" dirty="0">
                <a:solidFill>
                  <a:srgbClr val="000000"/>
                </a:solidFill>
              </a:endParaRPr>
            </a:p>
          </p:txBody>
        </p:sp>
      </p:grpSp>
      <p:sp>
        <p:nvSpPr>
          <p:cNvPr id="128" name="TextBox 127"/>
          <p:cNvSpPr txBox="1"/>
          <p:nvPr/>
        </p:nvSpPr>
        <p:spPr>
          <a:xfrm>
            <a:off x="1143000" y="1871191"/>
            <a:ext cx="609600" cy="307777"/>
          </a:xfrm>
          <a:prstGeom prst="rect">
            <a:avLst/>
          </a:prstGeom>
          <a:noFill/>
        </p:spPr>
        <p:txBody>
          <a:bodyPr wrap="square" rtlCol="0">
            <a:spAutoFit/>
          </a:bodyPr>
          <a:lstStyle/>
          <a:p>
            <a:pPr algn="ctr"/>
            <a:r>
              <a:rPr lang="en-GB" sz="1400" dirty="0" smtClean="0">
                <a:solidFill>
                  <a:srgbClr val="000000"/>
                </a:solidFill>
              </a:rPr>
              <a:t>49%</a:t>
            </a:r>
            <a:endParaRPr lang="en-GB" sz="1400" dirty="0">
              <a:solidFill>
                <a:srgbClr val="000000"/>
              </a:solidFill>
            </a:endParaRPr>
          </a:p>
        </p:txBody>
      </p:sp>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42476" y="4395247"/>
            <a:ext cx="488647" cy="488647"/>
          </a:xfrm>
          <a:prstGeom prst="rect">
            <a:avLst/>
          </a:prstGeom>
        </p:spPr>
      </p:pic>
      <p:pic>
        <p:nvPicPr>
          <p:cNvPr id="83" name="Picture 28" descr="https://encrypted-tbn2.gstatic.com/images?q=tbn:ANd9GcSrRH3tmthQAugz6iiyuIGIK9dAJPJcsqW6W8lCjxgmKTO-nwJj"/>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4412" y="4412689"/>
            <a:ext cx="596112" cy="45168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XingR\Desktop\untitle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2433" y="2448088"/>
            <a:ext cx="508162" cy="508162"/>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https://encrypted-tbn0.gstatic.com/images?q=tbn:ANd9GcTNP3KEsi-SSINfbNhe8CZ_g0VVQM9twjZuqVO_DQPt5sUmxrB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93257" y="2406407"/>
            <a:ext cx="647700" cy="65722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XingR\Desktop\untitled.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2951" b="12951"/>
          <a:stretch/>
        </p:blipFill>
        <p:spPr bwMode="auto">
          <a:xfrm>
            <a:off x="4125088" y="2448088"/>
            <a:ext cx="552450" cy="508162"/>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C:\Users\XingR\Desktop\untitl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71650" y="4365823"/>
            <a:ext cx="547494" cy="54749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Users\XingR\Desktop\untitled.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15000" y="2483768"/>
            <a:ext cx="509191" cy="509191"/>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https://encrypted-tbn2.gstatic.com/images?q=tbn:ANd9GcRdGE2drrF08FhcvXkIDbAoOBbUOV1USRwCEbOVkgjvmi1bAtkdC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65380" y="4395246"/>
            <a:ext cx="506819" cy="506819"/>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descr="https://encrypted-tbn2.gstatic.com/images?q=tbn:ANd9GcSwJHXU3jQNnkCe99ZjsaysDvBTqchNpgpvj9tbK98mWEv1lwId"/>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50241" y="2502708"/>
            <a:ext cx="529185" cy="503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6320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4"/>
          <p:cNvGraphicFramePr>
            <a:graphicFrameLocks/>
          </p:cNvGraphicFramePr>
          <p:nvPr>
            <p:extLst>
              <p:ext uri="{D42A27DB-BD31-4B8C-83A1-F6EECF244321}">
                <p14:modId xmlns:p14="http://schemas.microsoft.com/office/powerpoint/2010/main" val="3025330048"/>
              </p:ext>
            </p:extLst>
          </p:nvPr>
        </p:nvGraphicFramePr>
        <p:xfrm>
          <a:off x="546686" y="2487613"/>
          <a:ext cx="3330650" cy="243840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2781300" y="2764071"/>
            <a:ext cx="1333500" cy="350865"/>
          </a:xfrm>
          <a:prstGeom prst="rect">
            <a:avLst/>
          </a:prstGeom>
          <a:noFill/>
        </p:spPr>
        <p:txBody>
          <a:bodyPr wrap="square" lIns="0" tIns="0" rIns="0" bIns="0" rtlCol="0">
            <a:spAutoFit/>
          </a:bodyPr>
          <a:lstStyle/>
          <a:p>
            <a:pPr algn="ctr">
              <a:lnSpc>
                <a:spcPct val="95000"/>
              </a:lnSpc>
            </a:pPr>
            <a:r>
              <a:rPr lang="en-GB" sz="1200" dirty="0" smtClean="0">
                <a:solidFill>
                  <a:schemeClr val="tx2"/>
                </a:solidFill>
              </a:rPr>
              <a:t>Car leasing companies</a:t>
            </a:r>
          </a:p>
        </p:txBody>
      </p:sp>
      <p:sp>
        <p:nvSpPr>
          <p:cNvPr id="4" name="TextBox 3"/>
          <p:cNvSpPr txBox="1"/>
          <p:nvPr/>
        </p:nvSpPr>
        <p:spPr>
          <a:xfrm>
            <a:off x="2781300" y="4240214"/>
            <a:ext cx="1485900" cy="409343"/>
          </a:xfrm>
          <a:prstGeom prst="rect">
            <a:avLst/>
          </a:prstGeom>
          <a:noFill/>
        </p:spPr>
        <p:txBody>
          <a:bodyPr wrap="square" lIns="0" tIns="0" rIns="0" bIns="0" rtlCol="0">
            <a:spAutoFit/>
          </a:bodyPr>
          <a:lstStyle/>
          <a:p>
            <a:pPr algn="ctr">
              <a:lnSpc>
                <a:spcPct val="95000"/>
              </a:lnSpc>
            </a:pPr>
            <a:r>
              <a:rPr lang="en-GB" sz="1400" dirty="0" smtClean="0">
                <a:solidFill>
                  <a:schemeClr val="tx2"/>
                </a:solidFill>
              </a:rPr>
              <a:t>Car rental companies</a:t>
            </a:r>
          </a:p>
        </p:txBody>
      </p:sp>
      <p:sp>
        <p:nvSpPr>
          <p:cNvPr id="5" name="TextBox 4"/>
          <p:cNvSpPr txBox="1"/>
          <p:nvPr/>
        </p:nvSpPr>
        <p:spPr>
          <a:xfrm>
            <a:off x="317863" y="3478214"/>
            <a:ext cx="795668" cy="350865"/>
          </a:xfrm>
          <a:prstGeom prst="rect">
            <a:avLst/>
          </a:prstGeom>
          <a:noFill/>
        </p:spPr>
        <p:txBody>
          <a:bodyPr wrap="square" lIns="0" tIns="0" rIns="0" bIns="0" rtlCol="0">
            <a:spAutoFit/>
          </a:bodyPr>
          <a:lstStyle/>
          <a:p>
            <a:pPr algn="ctr">
              <a:lnSpc>
                <a:spcPct val="95000"/>
              </a:lnSpc>
            </a:pPr>
            <a:r>
              <a:rPr lang="en-GB" sz="1200" dirty="0" smtClean="0">
                <a:solidFill>
                  <a:schemeClr val="tx2"/>
                </a:solidFill>
              </a:rPr>
              <a:t>Mobility specialist</a:t>
            </a:r>
          </a:p>
        </p:txBody>
      </p:sp>
      <p:sp>
        <p:nvSpPr>
          <p:cNvPr id="6" name="Title 1"/>
          <p:cNvSpPr>
            <a:spLocks noGrp="1"/>
          </p:cNvSpPr>
          <p:nvPr>
            <p:ph type="title"/>
          </p:nvPr>
        </p:nvSpPr>
        <p:spPr>
          <a:xfrm>
            <a:off x="367352" y="134048"/>
            <a:ext cx="8382000" cy="792162"/>
          </a:xfrm>
        </p:spPr>
        <p:txBody>
          <a:bodyPr>
            <a:normAutofit fontScale="90000"/>
          </a:bodyPr>
          <a:lstStyle/>
          <a:p>
            <a:pPr algn="l"/>
            <a:r>
              <a:rPr lang="en-US" sz="2200" dirty="0" smtClean="0">
                <a:solidFill>
                  <a:schemeClr val="tx2"/>
                </a:solidFill>
              </a:rPr>
              <a:t>Mobility Integration Future Service Providers</a:t>
            </a:r>
            <a:r>
              <a:rPr lang="en-US" sz="2700" dirty="0" smtClean="0">
                <a:solidFill>
                  <a:schemeClr val="tx2"/>
                </a:solidFill>
              </a:rPr>
              <a:t/>
            </a:r>
            <a:br>
              <a:rPr lang="en-US" sz="2700" dirty="0" smtClean="0">
                <a:solidFill>
                  <a:schemeClr val="tx2"/>
                </a:solidFill>
              </a:rPr>
            </a:br>
            <a:r>
              <a:rPr lang="en-US" sz="1800" b="0" dirty="0" smtClean="0">
                <a:solidFill>
                  <a:schemeClr val="tx2"/>
                </a:solidFill>
              </a:rPr>
              <a:t>Leasing </a:t>
            </a:r>
            <a:r>
              <a:rPr lang="en-US" sz="1800" b="0" dirty="0">
                <a:solidFill>
                  <a:schemeClr val="tx2"/>
                </a:solidFill>
              </a:rPr>
              <a:t>companies </a:t>
            </a:r>
            <a:r>
              <a:rPr lang="en-US" sz="1800" b="0" dirty="0" smtClean="0">
                <a:solidFill>
                  <a:schemeClr val="tx2"/>
                </a:solidFill>
              </a:rPr>
              <a:t>considered by decision-makers to be best placed to deliver Integrated Mobility services albeit picture </a:t>
            </a:r>
            <a:r>
              <a:rPr lang="en-US" sz="1800" b="0" dirty="0">
                <a:solidFill>
                  <a:schemeClr val="tx2"/>
                </a:solidFill>
              </a:rPr>
              <a:t>is </a:t>
            </a:r>
            <a:r>
              <a:rPr lang="en-US" sz="1800" b="0" dirty="0" smtClean="0">
                <a:solidFill>
                  <a:schemeClr val="tx2"/>
                </a:solidFill>
              </a:rPr>
              <a:t>mixed confirming the fragmented nature of the market</a:t>
            </a:r>
            <a:endParaRPr lang="en-US" dirty="0">
              <a:solidFill>
                <a:schemeClr val="tx2"/>
              </a:solidFill>
            </a:endParaRPr>
          </a:p>
        </p:txBody>
      </p:sp>
      <p:sp>
        <p:nvSpPr>
          <p:cNvPr id="8" name="TextBox 7"/>
          <p:cNvSpPr txBox="1"/>
          <p:nvPr/>
        </p:nvSpPr>
        <p:spPr>
          <a:xfrm>
            <a:off x="838200" y="1649413"/>
            <a:ext cx="3276600" cy="523220"/>
          </a:xfrm>
          <a:prstGeom prst="rect">
            <a:avLst/>
          </a:prstGeom>
          <a:noFill/>
        </p:spPr>
        <p:txBody>
          <a:bodyPr wrap="square" rtlCol="0">
            <a:spAutoFit/>
          </a:bodyPr>
          <a:lstStyle/>
          <a:p>
            <a:pPr algn="ctr"/>
            <a:r>
              <a:rPr lang="en-GB" sz="1400" dirty="0"/>
              <a:t>Best Player to Provide New </a:t>
            </a:r>
            <a:r>
              <a:rPr lang="en-GB" sz="1400" dirty="0" smtClean="0"/>
              <a:t>Solution-</a:t>
            </a:r>
            <a:r>
              <a:rPr lang="en-GB" sz="1400" dirty="0"/>
              <a:t>Europe</a:t>
            </a:r>
          </a:p>
        </p:txBody>
      </p:sp>
      <p:sp>
        <p:nvSpPr>
          <p:cNvPr id="11" name="TextBox 10"/>
          <p:cNvSpPr txBox="1"/>
          <p:nvPr/>
        </p:nvSpPr>
        <p:spPr>
          <a:xfrm>
            <a:off x="78416" y="4342549"/>
            <a:ext cx="1485900" cy="175433"/>
          </a:xfrm>
          <a:prstGeom prst="rect">
            <a:avLst/>
          </a:prstGeom>
          <a:noFill/>
        </p:spPr>
        <p:txBody>
          <a:bodyPr wrap="square" lIns="0" tIns="0" rIns="0" bIns="0" rtlCol="0">
            <a:spAutoFit/>
          </a:bodyPr>
          <a:lstStyle/>
          <a:p>
            <a:pPr algn="ctr">
              <a:lnSpc>
                <a:spcPct val="95000"/>
              </a:lnSpc>
            </a:pPr>
            <a:r>
              <a:rPr lang="en-GB" sz="1200" dirty="0" smtClean="0">
                <a:solidFill>
                  <a:schemeClr val="tx2"/>
                </a:solidFill>
              </a:rPr>
              <a:t>Car OEMs</a:t>
            </a:r>
          </a:p>
        </p:txBody>
      </p:sp>
      <p:sp>
        <p:nvSpPr>
          <p:cNvPr id="12" name="TextBox 11"/>
          <p:cNvSpPr txBox="1"/>
          <p:nvPr/>
        </p:nvSpPr>
        <p:spPr>
          <a:xfrm>
            <a:off x="1656629" y="4802559"/>
            <a:ext cx="1371600" cy="350865"/>
          </a:xfrm>
          <a:prstGeom prst="rect">
            <a:avLst/>
          </a:prstGeom>
          <a:noFill/>
        </p:spPr>
        <p:txBody>
          <a:bodyPr wrap="square" lIns="0" tIns="0" rIns="0" bIns="0" rtlCol="0">
            <a:spAutoFit/>
          </a:bodyPr>
          <a:lstStyle/>
          <a:p>
            <a:pPr algn="ctr">
              <a:lnSpc>
                <a:spcPct val="95000"/>
              </a:lnSpc>
            </a:pPr>
            <a:r>
              <a:rPr lang="en-GB" sz="1200" dirty="0" smtClean="0">
                <a:solidFill>
                  <a:schemeClr val="tx2"/>
                </a:solidFill>
              </a:rPr>
              <a:t>Corporate travel agencies</a:t>
            </a:r>
          </a:p>
        </p:txBody>
      </p:sp>
      <p:sp>
        <p:nvSpPr>
          <p:cNvPr id="13" name="TextBox 12"/>
          <p:cNvSpPr txBox="1"/>
          <p:nvPr/>
        </p:nvSpPr>
        <p:spPr>
          <a:xfrm>
            <a:off x="304800" y="2916471"/>
            <a:ext cx="1252868" cy="350865"/>
          </a:xfrm>
          <a:prstGeom prst="rect">
            <a:avLst/>
          </a:prstGeom>
          <a:noFill/>
        </p:spPr>
        <p:txBody>
          <a:bodyPr wrap="square" lIns="0" tIns="0" rIns="0" bIns="0" rtlCol="0">
            <a:spAutoFit/>
          </a:bodyPr>
          <a:lstStyle/>
          <a:p>
            <a:pPr algn="ctr">
              <a:lnSpc>
                <a:spcPct val="95000"/>
              </a:lnSpc>
            </a:pPr>
            <a:r>
              <a:rPr lang="en-GB" sz="1200" dirty="0" smtClean="0">
                <a:solidFill>
                  <a:schemeClr val="tx2"/>
                </a:solidFill>
              </a:rPr>
              <a:t>Technology Provider</a:t>
            </a:r>
          </a:p>
        </p:txBody>
      </p:sp>
      <p:sp>
        <p:nvSpPr>
          <p:cNvPr id="14" name="TextBox 13"/>
          <p:cNvSpPr txBox="1"/>
          <p:nvPr/>
        </p:nvSpPr>
        <p:spPr>
          <a:xfrm>
            <a:off x="951411" y="2537688"/>
            <a:ext cx="1252868" cy="175433"/>
          </a:xfrm>
          <a:prstGeom prst="rect">
            <a:avLst/>
          </a:prstGeom>
          <a:noFill/>
        </p:spPr>
        <p:txBody>
          <a:bodyPr wrap="square" lIns="0" tIns="0" rIns="0" bIns="0" rtlCol="0">
            <a:spAutoFit/>
          </a:bodyPr>
          <a:lstStyle/>
          <a:p>
            <a:pPr algn="ctr">
              <a:lnSpc>
                <a:spcPct val="95000"/>
              </a:lnSpc>
            </a:pPr>
            <a:r>
              <a:rPr lang="en-GB" sz="1200" dirty="0" smtClean="0">
                <a:solidFill>
                  <a:schemeClr val="tx2"/>
                </a:solidFill>
              </a:rPr>
              <a:t>Don’t Know</a:t>
            </a:r>
          </a:p>
        </p:txBody>
      </p:sp>
      <p:sp>
        <p:nvSpPr>
          <p:cNvPr id="16" name="TextBox 15"/>
          <p:cNvSpPr txBox="1"/>
          <p:nvPr/>
        </p:nvSpPr>
        <p:spPr>
          <a:xfrm>
            <a:off x="304800" y="5877272"/>
            <a:ext cx="8077200" cy="446276"/>
          </a:xfrm>
          <a:prstGeom prst="rect">
            <a:avLst/>
          </a:prstGeom>
          <a:noFill/>
        </p:spPr>
        <p:txBody>
          <a:bodyPr wrap="square" rtlCol="0">
            <a:spAutoFit/>
          </a:bodyPr>
          <a:lstStyle/>
          <a:p>
            <a:pPr marL="179388" indent="-179388" fontAlgn="base">
              <a:lnSpc>
                <a:spcPct val="115000"/>
              </a:lnSpc>
              <a:tabLst>
                <a:tab pos="0" algn="l"/>
              </a:tabLst>
            </a:pPr>
            <a:r>
              <a:rPr lang="en-US" sz="1000" dirty="0" smtClean="0">
                <a:ea typeface="MS Mincho"/>
                <a:cs typeface="Latha"/>
              </a:rPr>
              <a:t>Q32 Best player to deliver integrated mobility solution service. Base : total n=465. </a:t>
            </a:r>
          </a:p>
          <a:p>
            <a:pPr marL="179388" indent="-179388" fontAlgn="base">
              <a:lnSpc>
                <a:spcPct val="115000"/>
              </a:lnSpc>
              <a:tabLst>
                <a:tab pos="0" algn="l"/>
              </a:tabLst>
            </a:pPr>
            <a:r>
              <a:rPr lang="en-US" sz="1000" dirty="0" smtClean="0">
                <a:ea typeface="MS Mincho"/>
                <a:cs typeface="Latha"/>
              </a:rPr>
              <a:t>Top results highlighted in red</a:t>
            </a:r>
          </a:p>
        </p:txBody>
      </p:sp>
      <p:graphicFrame>
        <p:nvGraphicFramePr>
          <p:cNvPr id="17" name="Table 16"/>
          <p:cNvGraphicFramePr>
            <a:graphicFrameLocks noGrp="1"/>
          </p:cNvGraphicFramePr>
          <p:nvPr>
            <p:extLst>
              <p:ext uri="{D42A27DB-BD31-4B8C-83A1-F6EECF244321}">
                <p14:modId xmlns:p14="http://schemas.microsoft.com/office/powerpoint/2010/main" val="2355180654"/>
              </p:ext>
            </p:extLst>
          </p:nvPr>
        </p:nvGraphicFramePr>
        <p:xfrm>
          <a:off x="4724400" y="2569484"/>
          <a:ext cx="4038601" cy="2204130"/>
        </p:xfrm>
        <a:graphic>
          <a:graphicData uri="http://schemas.openxmlformats.org/drawingml/2006/table">
            <a:tbl>
              <a:tblPr>
                <a:effectLst/>
              </a:tblPr>
              <a:tblGrid>
                <a:gridCol w="1670134"/>
                <a:gridCol w="454227"/>
                <a:gridCol w="425026"/>
                <a:gridCol w="476938"/>
                <a:gridCol w="496404"/>
                <a:gridCol w="515872"/>
              </a:tblGrid>
              <a:tr h="519196">
                <a:tc>
                  <a:txBody>
                    <a:bodyPr/>
                    <a:lstStyle/>
                    <a:p>
                      <a:pPr algn="ctr" rtl="0" fontAlgn="base">
                        <a:spcBef>
                          <a:spcPct val="0"/>
                        </a:spcBef>
                        <a:spcAft>
                          <a:spcPct val="0"/>
                        </a:spcAft>
                      </a:pPr>
                      <a:endParaRPr lang="en-GB" sz="1000" b="1" kern="1200" dirty="0" smtClean="0">
                        <a:solidFill>
                          <a:schemeClr val="bg1"/>
                        </a:solidFill>
                        <a:latin typeface="+mj-lt"/>
                        <a:ea typeface="+mn-ea"/>
                        <a:cs typeface="Arial" pitchFamily="34" charset="0"/>
                      </a:endParaRPr>
                    </a:p>
                  </a:txBody>
                  <a:tcPr marL="0" marR="0" marT="10800" marB="108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defRPr/>
                      </a:pPr>
                      <a:r>
                        <a:rPr lang="en-GB" sz="1000" b="1" kern="1200" dirty="0" smtClean="0">
                          <a:solidFill>
                            <a:schemeClr val="bg1"/>
                          </a:solidFill>
                          <a:latin typeface="+mn-lt"/>
                          <a:ea typeface="+mn-ea"/>
                          <a:cs typeface="Arial" pitchFamily="34" charset="0"/>
                        </a:rPr>
                        <a:t>UK (n=106)</a:t>
                      </a:r>
                    </a:p>
                  </a:txBody>
                  <a:tcPr marL="0" marR="0" marT="10800" marB="108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solidFill>
                      <a:srgbClr val="000066"/>
                    </a:solidFill>
                  </a:tcPr>
                </a:tc>
                <a:tc>
                  <a:txBody>
                    <a:bodyPr/>
                    <a:lstStyle/>
                    <a:p>
                      <a:pPr marL="0" marR="0" indent="0" algn="ctr" defTabSz="914400" rtl="0" eaLnBrk="1" fontAlgn="base" latinLnBrk="0" hangingPunct="1">
                        <a:lnSpc>
                          <a:spcPct val="100000"/>
                        </a:lnSpc>
                        <a:spcBef>
                          <a:spcPct val="0"/>
                        </a:spcBef>
                        <a:spcAft>
                          <a:spcPct val="0"/>
                        </a:spcAft>
                        <a:buClrTx/>
                        <a:buSzTx/>
                        <a:buFontTx/>
                        <a:buNone/>
                        <a:tabLst/>
                        <a:defRPr/>
                      </a:pPr>
                      <a:r>
                        <a:rPr lang="en-GB" sz="1000" b="1" kern="1200" dirty="0" smtClean="0">
                          <a:solidFill>
                            <a:schemeClr val="bg1"/>
                          </a:solidFill>
                          <a:latin typeface="+mj-lt"/>
                          <a:ea typeface="+mn-ea"/>
                          <a:cs typeface="Arial" pitchFamily="34" charset="0"/>
                        </a:rPr>
                        <a:t>FR</a:t>
                      </a:r>
                    </a:p>
                    <a:p>
                      <a:pPr marL="0" marR="0" indent="0" algn="ctr" defTabSz="914400" rtl="0" eaLnBrk="1" fontAlgn="base" latinLnBrk="0" hangingPunct="1">
                        <a:lnSpc>
                          <a:spcPct val="100000"/>
                        </a:lnSpc>
                        <a:spcBef>
                          <a:spcPct val="0"/>
                        </a:spcBef>
                        <a:spcAft>
                          <a:spcPct val="0"/>
                        </a:spcAft>
                        <a:buClrTx/>
                        <a:buSzTx/>
                        <a:buFontTx/>
                        <a:buNone/>
                        <a:tabLst/>
                        <a:defRPr/>
                      </a:pPr>
                      <a:r>
                        <a:rPr lang="en-GB" sz="1000" b="1" kern="1200" dirty="0" smtClean="0">
                          <a:solidFill>
                            <a:schemeClr val="bg1"/>
                          </a:solidFill>
                          <a:latin typeface="+mj-lt"/>
                          <a:ea typeface="+mn-ea"/>
                          <a:cs typeface="Arial" pitchFamily="34" charset="0"/>
                        </a:rPr>
                        <a:t>(n=98)</a:t>
                      </a:r>
                    </a:p>
                  </a:txBody>
                  <a:tcPr marL="0" marR="0" marT="10800" marB="108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solidFill>
                      <a:srgbClr val="0055A4"/>
                    </a:solidFill>
                  </a:tcPr>
                </a:tc>
                <a:tc>
                  <a:txBody>
                    <a:bodyPr/>
                    <a:lstStyle/>
                    <a:p>
                      <a:pPr algn="ctr" rtl="0" fontAlgn="base">
                        <a:spcBef>
                          <a:spcPct val="0"/>
                        </a:spcBef>
                        <a:spcAft>
                          <a:spcPct val="0"/>
                        </a:spcAft>
                      </a:pPr>
                      <a:r>
                        <a:rPr lang="en-GB" sz="1000" b="1" kern="1200" dirty="0" smtClean="0">
                          <a:solidFill>
                            <a:schemeClr val="bg1"/>
                          </a:solidFill>
                          <a:latin typeface="+mj-lt"/>
                          <a:ea typeface="+mn-ea"/>
                          <a:cs typeface="Arial" pitchFamily="34" charset="0"/>
                        </a:rPr>
                        <a:t>DE (n=97)</a:t>
                      </a:r>
                    </a:p>
                  </a:txBody>
                  <a:tcPr marL="0" marR="0" marT="10800" marB="108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solidFill>
                      <a:srgbClr val="FFCE00"/>
                    </a:solidFill>
                  </a:tcPr>
                </a:tc>
                <a:tc>
                  <a:txBody>
                    <a:bodyPr/>
                    <a:lstStyle/>
                    <a:p>
                      <a:pPr algn="ctr" rtl="0" fontAlgn="base">
                        <a:spcBef>
                          <a:spcPct val="0"/>
                        </a:spcBef>
                        <a:spcAft>
                          <a:spcPct val="0"/>
                        </a:spcAft>
                      </a:pPr>
                      <a:r>
                        <a:rPr lang="en-GB" sz="1000" b="1" kern="1200" dirty="0" smtClean="0">
                          <a:solidFill>
                            <a:schemeClr val="bg1"/>
                          </a:solidFill>
                          <a:latin typeface="+mj-lt"/>
                          <a:ea typeface="+mn-ea"/>
                          <a:cs typeface="Arial" pitchFamily="34" charset="0"/>
                        </a:rPr>
                        <a:t>NL</a:t>
                      </a:r>
                    </a:p>
                    <a:p>
                      <a:pPr algn="ctr" rtl="0" fontAlgn="base">
                        <a:spcBef>
                          <a:spcPct val="0"/>
                        </a:spcBef>
                        <a:spcAft>
                          <a:spcPct val="0"/>
                        </a:spcAft>
                      </a:pPr>
                      <a:r>
                        <a:rPr lang="en-GB" sz="1000" b="1" kern="1200" dirty="0" smtClean="0">
                          <a:solidFill>
                            <a:schemeClr val="bg1"/>
                          </a:solidFill>
                          <a:latin typeface="+mj-lt"/>
                          <a:ea typeface="+mn-ea"/>
                          <a:cs typeface="Arial" pitchFamily="34" charset="0"/>
                        </a:rPr>
                        <a:t>(n=78)</a:t>
                      </a:r>
                    </a:p>
                  </a:txBody>
                  <a:tcPr marL="0" marR="0" marT="10800" marB="108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solidFill>
                      <a:srgbClr val="FF6600"/>
                    </a:solidFill>
                  </a:tcPr>
                </a:tc>
                <a:tc>
                  <a:txBody>
                    <a:bodyPr/>
                    <a:lstStyle/>
                    <a:p>
                      <a:pPr algn="ctr" rtl="0" fontAlgn="base">
                        <a:spcBef>
                          <a:spcPct val="0"/>
                        </a:spcBef>
                        <a:spcAft>
                          <a:spcPct val="0"/>
                        </a:spcAft>
                      </a:pPr>
                      <a:r>
                        <a:rPr lang="en-GB" sz="1000" b="1" kern="1200" dirty="0" smtClean="0">
                          <a:solidFill>
                            <a:schemeClr val="bg1"/>
                          </a:solidFill>
                          <a:latin typeface="+mj-lt"/>
                          <a:ea typeface="+mn-ea"/>
                          <a:cs typeface="Arial" pitchFamily="34" charset="0"/>
                        </a:rPr>
                        <a:t>BE (n=86)</a:t>
                      </a:r>
                    </a:p>
                  </a:txBody>
                  <a:tcPr marL="0" marR="0" marT="10800" marB="108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solidFill>
                      <a:schemeClr val="tx1"/>
                    </a:solidFill>
                  </a:tcPr>
                </a:tc>
              </a:tr>
              <a:tr h="283469">
                <a:tc>
                  <a:txBody>
                    <a:bodyPr/>
                    <a:lstStyle/>
                    <a:p>
                      <a:pPr algn="r" fontAlgn="t"/>
                      <a:r>
                        <a:rPr lang="en-GB" sz="1100" b="0" i="0" u="none" strike="noStrike" dirty="0" smtClean="0">
                          <a:solidFill>
                            <a:schemeClr val="tx2"/>
                          </a:solidFill>
                          <a:effectLst/>
                          <a:latin typeface="+mj-lt"/>
                        </a:rPr>
                        <a:t>Car leasing companies </a:t>
                      </a:r>
                      <a:endParaRPr lang="en-GB" sz="1100" b="0" i="0" u="none" strike="noStrike" dirty="0">
                        <a:solidFill>
                          <a:schemeClr val="tx2"/>
                        </a:solidFill>
                        <a:effectLst/>
                        <a:latin typeface="+mj-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38%</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r>
              <a:tr h="283469">
                <a:tc>
                  <a:txBody>
                    <a:bodyPr/>
                    <a:lstStyle/>
                    <a:p>
                      <a:pPr algn="r" fontAlgn="t"/>
                      <a:r>
                        <a:rPr lang="en-GB" sz="1100" b="0" i="0" u="none" strike="noStrike" dirty="0" smtClean="0">
                          <a:solidFill>
                            <a:schemeClr val="tx2"/>
                          </a:solidFill>
                          <a:effectLst/>
                          <a:latin typeface="+mj-lt"/>
                        </a:rPr>
                        <a:t>Car rental companies</a:t>
                      </a:r>
                      <a:endParaRPr lang="en-GB" sz="1100" b="0" i="0" u="none" strike="noStrike" dirty="0">
                        <a:solidFill>
                          <a:schemeClr val="tx2"/>
                        </a:solidFill>
                        <a:effectLst/>
                        <a:latin typeface="+mj-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r>
              <a:tr h="283469">
                <a:tc>
                  <a:txBody>
                    <a:bodyPr/>
                    <a:lstStyle/>
                    <a:p>
                      <a:pPr algn="r" fontAlgn="t"/>
                      <a:r>
                        <a:rPr lang="en-GB" sz="1100" b="0" i="0" u="none" strike="noStrike" dirty="0" smtClean="0">
                          <a:solidFill>
                            <a:schemeClr val="tx2"/>
                          </a:solidFill>
                          <a:effectLst/>
                          <a:latin typeface="+mj-lt"/>
                        </a:rPr>
                        <a:t>Corporate Travel agencies</a:t>
                      </a:r>
                      <a:endParaRPr lang="en-GB" sz="1100" b="0" i="0" u="none" strike="noStrike" dirty="0">
                        <a:solidFill>
                          <a:schemeClr val="tx2"/>
                        </a:solidFill>
                        <a:effectLst/>
                        <a:latin typeface="+mj-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r>
              <a:tr h="283469">
                <a:tc>
                  <a:txBody>
                    <a:bodyPr/>
                    <a:lstStyle/>
                    <a:p>
                      <a:pPr marL="0" algn="r" defTabSz="914400" rtl="0" eaLnBrk="1" fontAlgn="t" latinLnBrk="0" hangingPunct="1"/>
                      <a:r>
                        <a:rPr lang="en-GB" sz="1100" b="0" i="0" u="none" strike="noStrike" kern="1200" dirty="0" smtClean="0">
                          <a:solidFill>
                            <a:schemeClr val="tx2"/>
                          </a:solidFill>
                          <a:effectLst/>
                          <a:latin typeface="+mj-lt"/>
                          <a:ea typeface="+mn-ea"/>
                          <a:cs typeface="+mn-cs"/>
                        </a:rPr>
                        <a:t>Car OEMs </a:t>
                      </a:r>
                      <a:endParaRPr lang="en-GB" sz="1100" b="0" i="0" u="none" strike="noStrike" kern="1200" dirty="0">
                        <a:solidFill>
                          <a:schemeClr val="tx2"/>
                        </a:solidFill>
                        <a:effectLst/>
                        <a:latin typeface="+mj-lt"/>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2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2%</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4%</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r>
              <a:tr h="283469">
                <a:tc>
                  <a:txBody>
                    <a:bodyPr/>
                    <a:lstStyle/>
                    <a:p>
                      <a:pPr algn="r" fontAlgn="t"/>
                      <a:r>
                        <a:rPr lang="en-GB" sz="1100" b="0" i="0" u="none" strike="noStrike" dirty="0" smtClean="0">
                          <a:solidFill>
                            <a:schemeClr val="tx2"/>
                          </a:solidFill>
                          <a:effectLst/>
                          <a:latin typeface="+mj-lt"/>
                        </a:rPr>
                        <a:t>Mobility specialist provider </a:t>
                      </a:r>
                      <a:endParaRPr lang="en-GB" sz="1100" b="0" i="0" u="none" strike="noStrike" dirty="0">
                        <a:solidFill>
                          <a:schemeClr val="tx2"/>
                        </a:solidFill>
                        <a:effectLst/>
                        <a:latin typeface="+mj-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9%</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1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FF0000"/>
                          </a:solidFill>
                          <a:effectLst/>
                          <a:latin typeface="+mj-lt"/>
                        </a:rPr>
                        <a:t>15%</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r>
              <a:tr h="267589">
                <a:tc>
                  <a:txBody>
                    <a:bodyPr/>
                    <a:lstStyle/>
                    <a:p>
                      <a:pPr algn="r" fontAlgn="t"/>
                      <a:r>
                        <a:rPr lang="en-GB" sz="1100" b="0" i="0" u="none" strike="noStrike" dirty="0" smtClean="0">
                          <a:solidFill>
                            <a:schemeClr val="tx2"/>
                          </a:solidFill>
                          <a:effectLst/>
                          <a:latin typeface="+mj-lt"/>
                        </a:rPr>
                        <a:t>Technology provider</a:t>
                      </a:r>
                      <a:endParaRPr lang="en-GB" sz="1100" b="0" i="0" u="none" strike="noStrike" dirty="0">
                        <a:solidFill>
                          <a:schemeClr val="tx2"/>
                        </a:solidFill>
                        <a:effectLst/>
                        <a:latin typeface="+mj-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2%</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c>
                  <a:txBody>
                    <a:bodyPr/>
                    <a:lstStyle/>
                    <a:p>
                      <a:pPr algn="ctr" fontAlgn="t"/>
                      <a:r>
                        <a:rPr lang="en-GB" sz="1000" b="0" i="0" u="none" strike="noStrike" dirty="0">
                          <a:solidFill>
                            <a:srgbClr val="000000"/>
                          </a:solidFill>
                          <a:effectLst/>
                          <a:latin typeface="+mj-lt"/>
                        </a:rPr>
                        <a:t>3%</a:t>
                      </a:r>
                    </a:p>
                  </a:txBody>
                  <a:tcPr marL="9525" marR="9525" marT="9525"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a:noFill/>
                    </a:lnTlToBr>
                    <a:lnBlToTr>
                      <a:noFill/>
                    </a:lnBlToTr>
                    <a:noFill/>
                  </a:tcPr>
                </a:tc>
              </a:tr>
            </a:tbl>
          </a:graphicData>
        </a:graphic>
      </p:graphicFrame>
      <p:sp>
        <p:nvSpPr>
          <p:cNvPr id="18" name="TextBox 17"/>
          <p:cNvSpPr txBox="1"/>
          <p:nvPr/>
        </p:nvSpPr>
        <p:spPr>
          <a:xfrm>
            <a:off x="5410200" y="1649413"/>
            <a:ext cx="3276600" cy="523220"/>
          </a:xfrm>
          <a:prstGeom prst="rect">
            <a:avLst/>
          </a:prstGeom>
          <a:noFill/>
        </p:spPr>
        <p:txBody>
          <a:bodyPr wrap="square" rtlCol="0">
            <a:spAutoFit/>
          </a:bodyPr>
          <a:lstStyle/>
          <a:p>
            <a:pPr algn="ctr"/>
            <a:r>
              <a:rPr lang="en-GB" sz="1400" dirty="0"/>
              <a:t>Best Player to Provide New </a:t>
            </a:r>
            <a:r>
              <a:rPr lang="en-GB" sz="1400" dirty="0" smtClean="0"/>
              <a:t>Solution-</a:t>
            </a:r>
            <a:r>
              <a:rPr lang="en-GB" sz="1400" dirty="0"/>
              <a:t>by country</a:t>
            </a:r>
          </a:p>
        </p:txBody>
      </p:sp>
    </p:spTree>
    <p:extLst>
      <p:ext uri="{BB962C8B-B14F-4D97-AF65-F5344CB8AC3E}">
        <p14:creationId xmlns:p14="http://schemas.microsoft.com/office/powerpoint/2010/main" val="121690922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70677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chemeClr val="tx2"/>
                </a:solidFill>
                <a:ea typeface="Cambria Math" pitchFamily="18" charset="0"/>
              </a:rPr>
              <a:t>Top Transformational Shifts Expected to Shape the Future of </a:t>
            </a:r>
            <a:r>
              <a:rPr lang="en-IN" sz="2000" dirty="0" smtClean="0">
                <a:solidFill>
                  <a:schemeClr val="tx2"/>
                </a:solidFill>
                <a:ea typeface="Cambria Math" pitchFamily="18" charset="0"/>
              </a:rPr>
              <a:t>Mobility</a:t>
            </a:r>
          </a:p>
          <a:p>
            <a:r>
              <a:rPr lang="en-IN" sz="2000" b="0" dirty="0" smtClean="0">
                <a:solidFill>
                  <a:schemeClr val="tx2"/>
                </a:solidFill>
                <a:ea typeface="Cambria Math" pitchFamily="18" charset="0"/>
              </a:rPr>
              <a:t>- </a:t>
            </a:r>
            <a:r>
              <a:rPr lang="en-IN" sz="2000" kern="0" dirty="0" smtClean="0">
                <a:solidFill>
                  <a:schemeClr val="tx2"/>
                </a:solidFill>
              </a:rPr>
              <a:t>Automated Driving</a:t>
            </a:r>
            <a:endParaRPr lang="en-IN" sz="2000" kern="0" dirty="0">
              <a:solidFill>
                <a:schemeClr val="tx2"/>
              </a:solidFill>
            </a:endParaRPr>
          </a:p>
        </p:txBody>
      </p:sp>
      <p:pic>
        <p:nvPicPr>
          <p:cNvPr id="54" name="Picture 3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8894" y="3793897"/>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221" name="Picture 2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1355"/>
          <a:stretch/>
        </p:blipFill>
        <p:spPr bwMode="auto">
          <a:xfrm>
            <a:off x="251520" y="1249562"/>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49"/>
          <p:cNvSpPr/>
          <p:nvPr/>
        </p:nvSpPr>
        <p:spPr>
          <a:xfrm>
            <a:off x="3258421" y="1249562"/>
            <a:ext cx="152116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US" sz="1400" b="1" kern="0" dirty="0">
                <a:solidFill>
                  <a:srgbClr val="FFFFFF"/>
                </a:solidFill>
              </a:rPr>
              <a:t>Connected </a:t>
            </a:r>
            <a:r>
              <a:rPr lang="en-US" sz="1400" b="1" kern="0" dirty="0" smtClean="0">
                <a:solidFill>
                  <a:srgbClr val="FFFFFF"/>
                </a:solidFill>
              </a:rPr>
              <a:t>and Automated Mobility </a:t>
            </a:r>
            <a:endParaRPr lang="en-US" sz="1400" b="1" kern="0" dirty="0">
              <a:solidFill>
                <a:srgbClr val="FFFFFF"/>
              </a:solidFill>
            </a:endParaRPr>
          </a:p>
        </p:txBody>
      </p:sp>
      <p:sp>
        <p:nvSpPr>
          <p:cNvPr id="60" name="Rectangle 59"/>
          <p:cNvSpPr/>
          <p:nvPr/>
        </p:nvSpPr>
        <p:spPr>
          <a:xfrm>
            <a:off x="3255641" y="3795724"/>
            <a:ext cx="152394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Convergence in </a:t>
            </a:r>
            <a:r>
              <a:rPr lang="en-IN" sz="1400" b="1" kern="0" dirty="0" smtClean="0">
                <a:solidFill>
                  <a:srgbClr val="FFFFFF"/>
                </a:solidFill>
              </a:rPr>
              <a:t>Corporate Mobility</a:t>
            </a:r>
            <a:endParaRPr lang="en-IN" sz="1400" b="1" kern="0" dirty="0">
              <a:solidFill>
                <a:srgbClr val="FFFFFF"/>
              </a:solidFill>
            </a:endParaRPr>
          </a:p>
        </p:txBody>
      </p:sp>
      <p:grpSp>
        <p:nvGrpSpPr>
          <p:cNvPr id="6" name="Group 5"/>
          <p:cNvGrpSpPr/>
          <p:nvPr/>
        </p:nvGrpSpPr>
        <p:grpSpPr>
          <a:xfrm>
            <a:off x="5394912" y="1397532"/>
            <a:ext cx="1687108" cy="2165616"/>
            <a:chOff x="2962459" y="1354206"/>
            <a:chExt cx="1232348" cy="1459174"/>
          </a:xfrm>
        </p:grpSpPr>
        <p:pic>
          <p:nvPicPr>
            <p:cNvPr id="180245" name="Picture 21" descr="http://cdn.bgr.com/2012/11/mobile-icon.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2446" r="22446"/>
            <a:stretch/>
          </p:blipFill>
          <p:spPr bwMode="auto">
            <a:xfrm>
              <a:off x="2962459" y="1354206"/>
              <a:ext cx="1232348" cy="145917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3155341" y="1499340"/>
              <a:ext cx="846584" cy="1246610"/>
              <a:chOff x="5118447" y="4060031"/>
              <a:chExt cx="846584" cy="1246610"/>
            </a:xfrm>
          </p:grpSpPr>
          <p:pic>
            <p:nvPicPr>
              <p:cNvPr id="180243" name="Picture 19" descr="http://img.click.in/classifieds/images/148/3_9_2011_10_34_9036_air_booking_tour_250x250.gif"/>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13" t="1504" r="1913" b="1504"/>
              <a:stretch/>
            </p:blipFill>
            <p:spPr bwMode="auto">
              <a:xfrm>
                <a:off x="5118447" y="4060031"/>
                <a:ext cx="846584" cy="1075052"/>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flipV="1">
                <a:off x="5487739" y="5198641"/>
                <a:ext cx="108000" cy="108000"/>
              </a:xfrm>
              <a:prstGeom prst="ellipse">
                <a:avLst/>
              </a:prstGeom>
              <a:solidFill>
                <a:schemeClr val="bg1"/>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grpSp>
      </p:grpSp>
      <p:sp>
        <p:nvSpPr>
          <p:cNvPr id="39" name="Snip and Round Single Corner Rectangle 38"/>
          <p:cNvSpPr/>
          <p:nvPr/>
        </p:nvSpPr>
        <p:spPr>
          <a:xfrm>
            <a:off x="4894540" y="3795725"/>
            <a:ext cx="2687852" cy="2459731"/>
          </a:xfrm>
          <a:prstGeom prst="snipRoundRect">
            <a:avLst>
              <a:gd name="adj1" fmla="val 0"/>
              <a:gd name="adj2" fmla="val 0"/>
            </a:avLst>
          </a:prstGeom>
          <a:blipFill dpi="0" rotWithShape="1">
            <a:blip r:embed="rId11"/>
            <a:srcRect/>
            <a:stretch>
              <a:fillRect/>
            </a:stretch>
          </a:blipFill>
          <a:ln w="25400" cap="flat" cmpd="sng" algn="ctr">
            <a:noFill/>
            <a:prstDash val="solid"/>
          </a:ln>
          <a:effectLst>
            <a:outerShdw blurRad="149987" dist="250190" dir="8460000" algn="ctr">
              <a:srgbClr val="000000">
                <a:alpha val="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defRPr/>
            </a:pPr>
            <a:endParaRPr lang="en-US" sz="1200" kern="0" dirty="0">
              <a:solidFill>
                <a:srgbClr val="000000"/>
              </a:solidFill>
              <a:latin typeface="Calibri"/>
              <a:cs typeface="Arial" pitchFamily="34" charset="0"/>
            </a:endParaRPr>
          </a:p>
        </p:txBody>
      </p:sp>
      <p:sp>
        <p:nvSpPr>
          <p:cNvPr id="63" name="Rectangle 62"/>
          <p:cNvSpPr/>
          <p:nvPr/>
        </p:nvSpPr>
        <p:spPr>
          <a:xfrm>
            <a:off x="7565767" y="3795724"/>
            <a:ext cx="1319064" cy="2459732"/>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Automated Driving</a:t>
            </a:r>
          </a:p>
        </p:txBody>
      </p:sp>
      <p:sp>
        <p:nvSpPr>
          <p:cNvPr id="41" name="Rectangle 40"/>
          <p:cNvSpPr/>
          <p:nvPr/>
        </p:nvSpPr>
        <p:spPr>
          <a:xfrm>
            <a:off x="7565767" y="1249562"/>
            <a:ext cx="1319064"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Mobility Integration</a:t>
            </a:r>
          </a:p>
        </p:txBody>
      </p:sp>
      <p:sp>
        <p:nvSpPr>
          <p:cNvPr id="5" name="Rectangle 4"/>
          <p:cNvSpPr/>
          <p:nvPr/>
        </p:nvSpPr>
        <p:spPr>
          <a:xfrm>
            <a:off x="4779588" y="1249562"/>
            <a:ext cx="4135812" cy="2461559"/>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
        <p:nvSpPr>
          <p:cNvPr id="17" name="Rectangle 16"/>
          <p:cNvSpPr/>
          <p:nvPr/>
        </p:nvSpPr>
        <p:spPr>
          <a:xfrm>
            <a:off x="221628" y="1196752"/>
            <a:ext cx="4557960" cy="2612357"/>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
        <p:nvSpPr>
          <p:cNvPr id="18" name="Rectangle 17"/>
          <p:cNvSpPr/>
          <p:nvPr/>
        </p:nvSpPr>
        <p:spPr>
          <a:xfrm>
            <a:off x="221628" y="3778440"/>
            <a:ext cx="4672912" cy="2545038"/>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solidFill>
                <a:srgbClr val="FFFFFF">
                  <a:hueOff val="0"/>
                  <a:satOff val="0"/>
                  <a:lumOff val="0"/>
                  <a:alphaOff val="0"/>
                </a:srgbClr>
              </a:solidFill>
            </a:endParaRPr>
          </a:p>
        </p:txBody>
      </p:sp>
    </p:spTree>
    <p:extLst>
      <p:ext uri="{BB962C8B-B14F-4D97-AF65-F5344CB8AC3E}">
        <p14:creationId xmlns:p14="http://schemas.microsoft.com/office/powerpoint/2010/main" val="9275075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407" name="Picture 23" descr="http://previews.123rf.com/images/tovovan/tovovan1112/tovovan111200385/11595539-Perspective-background-of-abstract-city-map-with-symbols-Stock-Vector.jpg">
            <a:hlinkClick r:id="rId5"/>
          </p:cNvPr>
          <p:cNvPicPr>
            <a:picLocks noChangeAspect="1" noChangeArrowheads="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2612" t="15237" r="2270" b="26798"/>
          <a:stretch/>
        </p:blipFill>
        <p:spPr bwMode="auto">
          <a:xfrm>
            <a:off x="238124" y="1130222"/>
            <a:ext cx="8672755" cy="528520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901392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8"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GB" sz="2000" dirty="0" smtClean="0">
                <a:ea typeface="Cambria Math" pitchFamily="18" charset="0"/>
              </a:rPr>
              <a:t>Autonomous </a:t>
            </a:r>
            <a:r>
              <a:rPr lang="en-GB" sz="2000" dirty="0">
                <a:ea typeface="Cambria Math" pitchFamily="18" charset="0"/>
              </a:rPr>
              <a:t>Cars New Business Models </a:t>
            </a:r>
            <a:endParaRPr lang="en-GB" sz="2000" dirty="0" smtClean="0">
              <a:ea typeface="Cambria Math" pitchFamily="18" charset="0"/>
            </a:endParaRPr>
          </a:p>
          <a:p>
            <a:r>
              <a:rPr lang="en-IN" sz="1400" b="0" dirty="0" smtClean="0">
                <a:solidFill>
                  <a:srgbClr val="002060"/>
                </a:solidFill>
                <a:ea typeface="Cambria Math" pitchFamily="18" charset="0"/>
              </a:rPr>
              <a:t>Four key areas impacted </a:t>
            </a:r>
            <a:r>
              <a:rPr lang="en-IN" sz="1400" b="0" dirty="0">
                <a:solidFill>
                  <a:srgbClr val="002060"/>
                </a:solidFill>
                <a:ea typeface="Cambria Math" pitchFamily="18" charset="0"/>
              </a:rPr>
              <a:t>by Fully-Autonomous Mobility </a:t>
            </a:r>
          </a:p>
        </p:txBody>
      </p:sp>
      <p:grpSp>
        <p:nvGrpSpPr>
          <p:cNvPr id="11" name="Group 10"/>
          <p:cNvGrpSpPr/>
          <p:nvPr/>
        </p:nvGrpSpPr>
        <p:grpSpPr>
          <a:xfrm>
            <a:off x="1256863" y="2958356"/>
            <a:ext cx="1495387" cy="2683148"/>
            <a:chOff x="1998398" y="2945178"/>
            <a:chExt cx="898556" cy="2683148"/>
          </a:xfrm>
          <a:solidFill>
            <a:schemeClr val="accent2"/>
          </a:solidFill>
        </p:grpSpPr>
        <p:sp>
          <p:nvSpPr>
            <p:cNvPr id="74" name="Trapezoid 73"/>
            <p:cNvSpPr/>
            <p:nvPr/>
          </p:nvSpPr>
          <p:spPr bwMode="auto">
            <a:xfrm flipV="1">
              <a:off x="1998398" y="2945178"/>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75" name="Rectangle 74"/>
            <p:cNvSpPr/>
            <p:nvPr/>
          </p:nvSpPr>
          <p:spPr bwMode="auto">
            <a:xfrm flipV="1">
              <a:off x="2060335" y="3090432"/>
              <a:ext cx="774684" cy="2392641"/>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76" name="Trapezoid 75"/>
            <p:cNvSpPr/>
            <p:nvPr/>
          </p:nvSpPr>
          <p:spPr bwMode="auto">
            <a:xfrm>
              <a:off x="1998398" y="5483073"/>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grpSp>
      <p:grpSp>
        <p:nvGrpSpPr>
          <p:cNvPr id="82" name="Group 81"/>
          <p:cNvGrpSpPr/>
          <p:nvPr/>
        </p:nvGrpSpPr>
        <p:grpSpPr>
          <a:xfrm>
            <a:off x="2968493" y="2958356"/>
            <a:ext cx="1495387" cy="2683148"/>
            <a:chOff x="1998398" y="2945178"/>
            <a:chExt cx="898556" cy="2683148"/>
          </a:xfrm>
          <a:solidFill>
            <a:schemeClr val="accent2"/>
          </a:solidFill>
        </p:grpSpPr>
        <p:sp>
          <p:nvSpPr>
            <p:cNvPr id="83" name="Trapezoid 82"/>
            <p:cNvSpPr/>
            <p:nvPr/>
          </p:nvSpPr>
          <p:spPr bwMode="auto">
            <a:xfrm flipV="1">
              <a:off x="1998398" y="2945178"/>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84" name="Rectangle 83"/>
            <p:cNvSpPr/>
            <p:nvPr/>
          </p:nvSpPr>
          <p:spPr bwMode="auto">
            <a:xfrm flipV="1">
              <a:off x="2060335" y="3090432"/>
              <a:ext cx="774684" cy="2392641"/>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85" name="Trapezoid 84"/>
            <p:cNvSpPr/>
            <p:nvPr/>
          </p:nvSpPr>
          <p:spPr bwMode="auto">
            <a:xfrm>
              <a:off x="1998398" y="5483073"/>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grpSp>
      <p:grpSp>
        <p:nvGrpSpPr>
          <p:cNvPr id="86" name="Group 85"/>
          <p:cNvGrpSpPr/>
          <p:nvPr/>
        </p:nvGrpSpPr>
        <p:grpSpPr>
          <a:xfrm>
            <a:off x="4680123" y="2958356"/>
            <a:ext cx="1495387" cy="2683148"/>
            <a:chOff x="1998398" y="2945178"/>
            <a:chExt cx="898556" cy="2683148"/>
          </a:xfrm>
          <a:solidFill>
            <a:schemeClr val="accent2"/>
          </a:solidFill>
        </p:grpSpPr>
        <p:sp>
          <p:nvSpPr>
            <p:cNvPr id="87" name="Trapezoid 86"/>
            <p:cNvSpPr/>
            <p:nvPr/>
          </p:nvSpPr>
          <p:spPr bwMode="auto">
            <a:xfrm flipV="1">
              <a:off x="1998398" y="2945178"/>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88" name="Rectangle 87"/>
            <p:cNvSpPr/>
            <p:nvPr/>
          </p:nvSpPr>
          <p:spPr bwMode="auto">
            <a:xfrm flipV="1">
              <a:off x="2060335" y="3090432"/>
              <a:ext cx="774684" cy="2392641"/>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89" name="Trapezoid 88"/>
            <p:cNvSpPr/>
            <p:nvPr/>
          </p:nvSpPr>
          <p:spPr bwMode="auto">
            <a:xfrm>
              <a:off x="1998398" y="5483073"/>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grpSp>
      <p:grpSp>
        <p:nvGrpSpPr>
          <p:cNvPr id="90" name="Group 89"/>
          <p:cNvGrpSpPr/>
          <p:nvPr/>
        </p:nvGrpSpPr>
        <p:grpSpPr>
          <a:xfrm>
            <a:off x="6391752" y="2958356"/>
            <a:ext cx="1495387" cy="2683148"/>
            <a:chOff x="1998398" y="2945178"/>
            <a:chExt cx="898556" cy="2683148"/>
          </a:xfrm>
          <a:solidFill>
            <a:schemeClr val="accent2"/>
          </a:solidFill>
        </p:grpSpPr>
        <p:sp>
          <p:nvSpPr>
            <p:cNvPr id="91" name="Trapezoid 90"/>
            <p:cNvSpPr/>
            <p:nvPr/>
          </p:nvSpPr>
          <p:spPr bwMode="auto">
            <a:xfrm flipV="1">
              <a:off x="1998398" y="2945178"/>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92" name="Rectangle 91"/>
            <p:cNvSpPr/>
            <p:nvPr/>
          </p:nvSpPr>
          <p:spPr bwMode="auto">
            <a:xfrm flipV="1">
              <a:off x="2060335" y="3090432"/>
              <a:ext cx="774684" cy="2392641"/>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sp>
          <p:nvSpPr>
            <p:cNvPr id="93" name="Trapezoid 92"/>
            <p:cNvSpPr/>
            <p:nvPr/>
          </p:nvSpPr>
          <p:spPr bwMode="auto">
            <a:xfrm>
              <a:off x="1998398" y="5483073"/>
              <a:ext cx="898556" cy="145253"/>
            </a:xfrm>
            <a:prstGeom prst="trapezoid">
              <a:avLst>
                <a:gd name="adj" fmla="val 53572"/>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chemeClr val="bg1"/>
                </a:solidFill>
              </a:endParaRPr>
            </a:p>
          </p:txBody>
        </p:sp>
      </p:grpSp>
      <p:sp>
        <p:nvSpPr>
          <p:cNvPr id="48" name="Round Same Side Corner Rectangle 47"/>
          <p:cNvSpPr/>
          <p:nvPr/>
        </p:nvSpPr>
        <p:spPr bwMode="auto">
          <a:xfrm>
            <a:off x="751182" y="5641506"/>
            <a:ext cx="7641634" cy="278400"/>
          </a:xfrm>
          <a:prstGeom prst="round2SameRect">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rgbClr val="FFFFFF"/>
              </a:solidFill>
            </a:endParaRPr>
          </a:p>
        </p:txBody>
      </p:sp>
      <p:sp>
        <p:nvSpPr>
          <p:cNvPr id="49" name="Round Same Side Corner Rectangle 48"/>
          <p:cNvSpPr/>
          <p:nvPr/>
        </p:nvSpPr>
        <p:spPr bwMode="auto">
          <a:xfrm>
            <a:off x="381000" y="5919906"/>
            <a:ext cx="8382000" cy="278403"/>
          </a:xfrm>
          <a:prstGeom prst="round2SameRect">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rgbClr val="FFFFFF"/>
              </a:solidFill>
            </a:endParaRPr>
          </a:p>
        </p:txBody>
      </p:sp>
      <p:sp>
        <p:nvSpPr>
          <p:cNvPr id="52" name="Isosceles Triangle 51"/>
          <p:cNvSpPr/>
          <p:nvPr/>
        </p:nvSpPr>
        <p:spPr bwMode="auto">
          <a:xfrm>
            <a:off x="964336" y="1465479"/>
            <a:ext cx="7215328" cy="1469656"/>
          </a:xfrm>
          <a:prstGeom prst="triangle">
            <a:avLst>
              <a:gd name="adj" fmla="val 50001"/>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GB" sz="1600">
              <a:solidFill>
                <a:srgbClr val="FFFFFF"/>
              </a:solidFill>
            </a:endParaRPr>
          </a:p>
        </p:txBody>
      </p:sp>
      <p:sp>
        <p:nvSpPr>
          <p:cNvPr id="53" name="Isosceles Triangle 52"/>
          <p:cNvSpPr/>
          <p:nvPr/>
        </p:nvSpPr>
        <p:spPr bwMode="auto">
          <a:xfrm>
            <a:off x="1375208" y="1570384"/>
            <a:ext cx="6393590" cy="1287105"/>
          </a:xfrm>
          <a:prstGeom prst="triangle">
            <a:avLst>
              <a:gd name="adj" fmla="val 49844"/>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a:solidFill>
                <a:srgbClr val="FFFFFF"/>
              </a:solidFill>
            </a:endParaRPr>
          </a:p>
        </p:txBody>
      </p:sp>
      <p:sp>
        <p:nvSpPr>
          <p:cNvPr id="77" name="Rectangle 40"/>
          <p:cNvSpPr>
            <a:spLocks noChangeArrowheads="1"/>
          </p:cNvSpPr>
          <p:nvPr/>
        </p:nvSpPr>
        <p:spPr bwMode="auto">
          <a:xfrm>
            <a:off x="1447557" y="4041339"/>
            <a:ext cx="111399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600" dirty="0">
                <a:solidFill>
                  <a:schemeClr val="bg1"/>
                </a:solidFill>
                <a:latin typeface="Arial"/>
              </a:rPr>
              <a:t>Vehicle </a:t>
            </a:r>
            <a:r>
              <a:rPr lang="en-GB" sz="1600" dirty="0" smtClean="0">
                <a:solidFill>
                  <a:schemeClr val="bg1"/>
                </a:solidFill>
                <a:latin typeface="Arial"/>
              </a:rPr>
              <a:t>on-Demand</a:t>
            </a:r>
            <a:endParaRPr lang="en-GB" sz="1600" dirty="0">
              <a:solidFill>
                <a:schemeClr val="bg1"/>
              </a:solidFill>
              <a:latin typeface="Arial"/>
            </a:endParaRPr>
          </a:p>
        </p:txBody>
      </p:sp>
      <p:sp>
        <p:nvSpPr>
          <p:cNvPr id="78" name="Rectangle 40"/>
          <p:cNvSpPr>
            <a:spLocks noChangeArrowheads="1"/>
          </p:cNvSpPr>
          <p:nvPr/>
        </p:nvSpPr>
        <p:spPr bwMode="auto">
          <a:xfrm>
            <a:off x="6582446" y="3918230"/>
            <a:ext cx="111399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600" dirty="0" smtClean="0">
                <a:solidFill>
                  <a:schemeClr val="bg1"/>
                </a:solidFill>
                <a:latin typeface="Arial"/>
              </a:rPr>
              <a:t>Peer-to-Peer </a:t>
            </a:r>
            <a:r>
              <a:rPr lang="en-GB" sz="1600" dirty="0">
                <a:solidFill>
                  <a:schemeClr val="bg1"/>
                </a:solidFill>
                <a:latin typeface="Arial"/>
              </a:rPr>
              <a:t>S</a:t>
            </a:r>
            <a:r>
              <a:rPr lang="en-GB" sz="1600" dirty="0" smtClean="0">
                <a:solidFill>
                  <a:schemeClr val="bg1"/>
                </a:solidFill>
                <a:latin typeface="Arial"/>
              </a:rPr>
              <a:t>haring</a:t>
            </a:r>
            <a:endParaRPr lang="en-GB" sz="1600" dirty="0">
              <a:solidFill>
                <a:schemeClr val="bg1"/>
              </a:solidFill>
              <a:latin typeface="Arial"/>
            </a:endParaRPr>
          </a:p>
        </p:txBody>
      </p:sp>
      <p:sp>
        <p:nvSpPr>
          <p:cNvPr id="79" name="Rectangle 78"/>
          <p:cNvSpPr>
            <a:spLocks noChangeArrowheads="1"/>
          </p:cNvSpPr>
          <p:nvPr/>
        </p:nvSpPr>
        <p:spPr bwMode="auto">
          <a:xfrm>
            <a:off x="4870817" y="4041339"/>
            <a:ext cx="111399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600" dirty="0">
                <a:solidFill>
                  <a:schemeClr val="bg1"/>
                </a:solidFill>
                <a:latin typeface="Arial"/>
              </a:rPr>
              <a:t>Mobility as </a:t>
            </a:r>
            <a:r>
              <a:rPr lang="en-GB" sz="1600" dirty="0" smtClean="0">
                <a:solidFill>
                  <a:schemeClr val="bg1"/>
                </a:solidFill>
                <a:latin typeface="Arial"/>
              </a:rPr>
              <a:t/>
            </a:r>
            <a:br>
              <a:rPr lang="en-GB" sz="1600" dirty="0" smtClean="0">
                <a:solidFill>
                  <a:schemeClr val="bg1"/>
                </a:solidFill>
                <a:latin typeface="Arial"/>
              </a:rPr>
            </a:br>
            <a:r>
              <a:rPr lang="en-GB" sz="1600" dirty="0" smtClean="0">
                <a:solidFill>
                  <a:schemeClr val="bg1"/>
                </a:solidFill>
                <a:latin typeface="Arial"/>
              </a:rPr>
              <a:t>a Utility</a:t>
            </a:r>
            <a:endParaRPr lang="en-GB" sz="1600" dirty="0">
              <a:solidFill>
                <a:schemeClr val="bg1"/>
              </a:solidFill>
              <a:latin typeface="Arial"/>
            </a:endParaRPr>
          </a:p>
        </p:txBody>
      </p:sp>
      <p:sp>
        <p:nvSpPr>
          <p:cNvPr id="80" name="Rectangle 40"/>
          <p:cNvSpPr>
            <a:spLocks noChangeArrowheads="1"/>
          </p:cNvSpPr>
          <p:nvPr/>
        </p:nvSpPr>
        <p:spPr bwMode="auto">
          <a:xfrm>
            <a:off x="3042218" y="3918229"/>
            <a:ext cx="134793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600" dirty="0" smtClean="0">
                <a:solidFill>
                  <a:schemeClr val="bg1"/>
                </a:solidFill>
                <a:latin typeface="Arial"/>
              </a:rPr>
              <a:t>First &amp; </a:t>
            </a:r>
            <a:br>
              <a:rPr lang="en-GB" sz="1600" dirty="0" smtClean="0">
                <a:solidFill>
                  <a:schemeClr val="bg1"/>
                </a:solidFill>
                <a:latin typeface="Arial"/>
              </a:rPr>
            </a:br>
            <a:r>
              <a:rPr lang="en-GB" sz="1600" dirty="0" smtClean="0">
                <a:solidFill>
                  <a:schemeClr val="bg1"/>
                </a:solidFill>
                <a:latin typeface="Arial"/>
              </a:rPr>
              <a:t>Last mile Commuting</a:t>
            </a:r>
            <a:endParaRPr lang="en-GB" sz="1600" dirty="0">
              <a:solidFill>
                <a:schemeClr val="bg1"/>
              </a:solidFill>
              <a:latin typeface="Arial"/>
            </a:endParaRPr>
          </a:p>
        </p:txBody>
      </p:sp>
      <p:sp>
        <p:nvSpPr>
          <p:cNvPr id="81" name="Rectangle 43"/>
          <p:cNvSpPr>
            <a:spLocks noChangeArrowheads="1"/>
          </p:cNvSpPr>
          <p:nvPr/>
        </p:nvSpPr>
        <p:spPr bwMode="auto">
          <a:xfrm>
            <a:off x="3221126" y="2113925"/>
            <a:ext cx="270175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p>
            <a:pPr algn="ctr" defTabSz="895350"/>
            <a:r>
              <a:rPr kumimoji="1" lang="en-US" sz="1600" b="1" dirty="0">
                <a:solidFill>
                  <a:srgbClr val="FFFFFF"/>
                </a:solidFill>
                <a:ea typeface="SimSun" pitchFamily="2" charset="-122"/>
              </a:rPr>
              <a:t>Fully-Autonomous</a:t>
            </a:r>
            <a:br>
              <a:rPr kumimoji="1" lang="en-US" sz="1600" b="1" dirty="0">
                <a:solidFill>
                  <a:srgbClr val="FFFFFF"/>
                </a:solidFill>
                <a:ea typeface="SimSun" pitchFamily="2" charset="-122"/>
              </a:rPr>
            </a:br>
            <a:r>
              <a:rPr kumimoji="1" lang="en-US" sz="1600" b="1" dirty="0">
                <a:solidFill>
                  <a:srgbClr val="FFFFFF"/>
                </a:solidFill>
                <a:ea typeface="SimSun" pitchFamily="2" charset="-122"/>
              </a:rPr>
              <a:t>Mobility Opportunities</a:t>
            </a:r>
            <a:endParaRPr kumimoji="1" lang="en-US" altLang="ko-KR" sz="1600" b="1" dirty="0">
              <a:solidFill>
                <a:srgbClr val="FFFFFF"/>
              </a:solidFill>
              <a:ea typeface="SimSun" pitchFamily="2" charset="-122"/>
            </a:endParaRPr>
          </a:p>
        </p:txBody>
      </p:sp>
      <p:sp>
        <p:nvSpPr>
          <p:cNvPr id="31"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a:t>
            </a:r>
            <a:r>
              <a:rPr lang="en-US" sz="900" dirty="0" smtClean="0">
                <a:solidFill>
                  <a:srgbClr val="517496"/>
                </a:solidFill>
              </a:rPr>
              <a:t>Sullivan</a:t>
            </a:r>
            <a:endParaRPr lang="en-US" sz="900" dirty="0">
              <a:solidFill>
                <a:srgbClr val="517496"/>
              </a:solidFill>
            </a:endParaRPr>
          </a:p>
        </p:txBody>
      </p:sp>
    </p:spTree>
    <p:extLst>
      <p:ext uri="{BB962C8B-B14F-4D97-AF65-F5344CB8AC3E}">
        <p14:creationId xmlns:p14="http://schemas.microsoft.com/office/powerpoint/2010/main" val="3904477054"/>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03539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363720632"/>
              </p:ext>
            </p:extLst>
          </p:nvPr>
        </p:nvGraphicFramePr>
        <p:xfrm>
          <a:off x="221343" y="1625600"/>
          <a:ext cx="8694057" cy="4428567"/>
        </p:xfrm>
        <a:graphic>
          <a:graphicData uri="http://schemas.openxmlformats.org/drawingml/2006/table">
            <a:tbl>
              <a:tblPr firstRow="1" bandRow="1">
                <a:tableStyleId>{5C22544A-7EE6-4342-B048-85BDC9FD1C3A}</a:tableStyleId>
              </a:tblPr>
              <a:tblGrid>
                <a:gridCol w="2674257"/>
                <a:gridCol w="3962400"/>
                <a:gridCol w="2057400"/>
              </a:tblGrid>
              <a:tr h="49206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rPr>
                        <a:t>Current Taxi Market</a:t>
                      </a:r>
                    </a:p>
                  </a:txBody>
                  <a:tcPr anchor="ctr">
                    <a:solidFill>
                      <a:schemeClr val="accent2"/>
                    </a:solidFill>
                  </a:tcPr>
                </a:tc>
                <a:tc>
                  <a:txBody>
                    <a:bodyPr/>
                    <a:lstStyle/>
                    <a:p>
                      <a:pPr algn="ctr"/>
                      <a:r>
                        <a:rPr lang="en-US" sz="1400" b="1" dirty="0" smtClean="0">
                          <a:solidFill>
                            <a:schemeClr val="bg1"/>
                          </a:solidFill>
                        </a:rPr>
                        <a:t>Parameter</a:t>
                      </a:r>
                      <a:endParaRPr lang="en-GB" sz="1400" b="1" dirty="0">
                        <a:solidFill>
                          <a:schemeClr val="bg1"/>
                        </a:solidFill>
                      </a:endParaRP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rPr>
                        <a:t>Future Taxi Market</a:t>
                      </a:r>
                    </a:p>
                  </a:txBody>
                  <a:tcPr anchor="ctr">
                    <a:solidFill>
                      <a:schemeClr val="accent2"/>
                    </a:solidFill>
                  </a:tcPr>
                </a:tc>
              </a:tr>
              <a:tr h="492063">
                <a:tc>
                  <a:txBody>
                    <a:bodyPr/>
                    <a:lstStyle/>
                    <a:p>
                      <a:pPr algn="ctr"/>
                      <a:r>
                        <a:rPr lang="en-US" sz="1400" dirty="0" smtClean="0"/>
                        <a:t>36</a:t>
                      </a:r>
                      <a:endParaRPr lang="en-GB" sz="1400" dirty="0"/>
                    </a:p>
                  </a:txBody>
                  <a:tcPr anchor="ctr"/>
                </a:tc>
                <a:tc>
                  <a:txBody>
                    <a:bodyPr/>
                    <a:lstStyle/>
                    <a:p>
                      <a:pPr algn="ctr"/>
                      <a:r>
                        <a:rPr lang="en-US" sz="1400" b="1" dirty="0" smtClean="0">
                          <a:solidFill>
                            <a:schemeClr val="tx2"/>
                          </a:solidFill>
                        </a:rPr>
                        <a:t>Average number of daily Trips per taxi</a:t>
                      </a:r>
                      <a:endParaRPr lang="en-GB" sz="1400" b="1" dirty="0">
                        <a:solidFill>
                          <a:schemeClr val="tx2"/>
                        </a:solidFill>
                      </a:endParaRPr>
                    </a:p>
                  </a:txBody>
                  <a:tcPr anchor="ctr"/>
                </a:tc>
                <a:tc>
                  <a:txBody>
                    <a:bodyPr/>
                    <a:lstStyle/>
                    <a:p>
                      <a:pPr algn="ctr"/>
                      <a:r>
                        <a:rPr lang="en-US" sz="1400" dirty="0" smtClean="0"/>
                        <a:t>~50</a:t>
                      </a:r>
                      <a:endParaRPr lang="en-GB" sz="1400" dirty="0"/>
                    </a:p>
                  </a:txBody>
                  <a:tcPr anchor="ctr"/>
                </a:tc>
              </a:tr>
              <a:tr h="492063">
                <a:tc>
                  <a:txBody>
                    <a:bodyPr/>
                    <a:lstStyle/>
                    <a:p>
                      <a:pPr algn="ctr"/>
                      <a:r>
                        <a:rPr lang="en-GB" sz="1400" dirty="0" smtClean="0"/>
                        <a:t>200</a:t>
                      </a:r>
                      <a:endParaRPr lang="en-GB" sz="1400" dirty="0"/>
                    </a:p>
                  </a:txBody>
                  <a:tcPr anchor="ctr"/>
                </a:tc>
                <a:tc>
                  <a:txBody>
                    <a:bodyPr/>
                    <a:lstStyle/>
                    <a:p>
                      <a:pPr algn="ctr"/>
                      <a:r>
                        <a:rPr lang="en-US" sz="1400" b="1" dirty="0" smtClean="0">
                          <a:solidFill>
                            <a:schemeClr val="tx2"/>
                          </a:solidFill>
                        </a:rPr>
                        <a:t>Average Daily Miles</a:t>
                      </a:r>
                      <a:r>
                        <a:rPr lang="en-US" sz="1400" b="1" baseline="0" dirty="0" smtClean="0">
                          <a:solidFill>
                            <a:schemeClr val="tx2"/>
                          </a:solidFill>
                        </a:rPr>
                        <a:t> Covered by a Taxi</a:t>
                      </a:r>
                      <a:endParaRPr lang="en-GB" sz="1400" b="1" dirty="0">
                        <a:solidFill>
                          <a:schemeClr val="tx2"/>
                        </a:solidFill>
                      </a:endParaRPr>
                    </a:p>
                  </a:txBody>
                  <a:tcPr anchor="ctr"/>
                </a:tc>
                <a:tc>
                  <a:txBody>
                    <a:bodyPr/>
                    <a:lstStyle/>
                    <a:p>
                      <a:pPr algn="ctr"/>
                      <a:r>
                        <a:rPr lang="en-US" sz="1400" dirty="0" smtClean="0"/>
                        <a:t>~350</a:t>
                      </a:r>
                      <a:endParaRPr lang="en-GB" sz="1400" dirty="0"/>
                    </a:p>
                  </a:txBody>
                  <a:tcPr anchor="ctr"/>
                </a:tc>
              </a:tr>
              <a:tr h="492063">
                <a:tc>
                  <a:txBody>
                    <a:bodyPr/>
                    <a:lstStyle/>
                    <a:p>
                      <a:pPr algn="ctr"/>
                      <a:r>
                        <a:rPr lang="en-US" sz="1400" kern="1200" dirty="0" smtClean="0">
                          <a:solidFill>
                            <a:schemeClr val="dk1"/>
                          </a:solidFill>
                          <a:latin typeface="+mn-lt"/>
                          <a:ea typeface="+mn-ea"/>
                          <a:cs typeface="+mn-cs"/>
                        </a:rPr>
                        <a:t>7.1%</a:t>
                      </a:r>
                      <a:endParaRPr lang="en-GB" sz="1400" kern="1200" dirty="0">
                        <a:solidFill>
                          <a:schemeClr val="dk1"/>
                        </a:solidFill>
                        <a:latin typeface="+mn-lt"/>
                        <a:ea typeface="+mn-ea"/>
                        <a:cs typeface="+mn-cs"/>
                      </a:endParaRPr>
                    </a:p>
                  </a:txBody>
                  <a:tcPr anchor="ctr"/>
                </a:tc>
                <a:tc>
                  <a:txBody>
                    <a:bodyPr/>
                    <a:lstStyle/>
                    <a:p>
                      <a:pPr algn="ctr"/>
                      <a:r>
                        <a:rPr lang="en-US" sz="1400" b="1" kern="1200" dirty="0" smtClean="0">
                          <a:solidFill>
                            <a:schemeClr val="tx2"/>
                          </a:solidFill>
                          <a:latin typeface="+mn-lt"/>
                          <a:ea typeface="+mn-ea"/>
                          <a:cs typeface="+mn-cs"/>
                        </a:rPr>
                        <a:t>Taxi</a:t>
                      </a:r>
                      <a:r>
                        <a:rPr lang="en-US" sz="1400" b="1" kern="1200" baseline="0" dirty="0" smtClean="0">
                          <a:solidFill>
                            <a:schemeClr val="tx2"/>
                          </a:solidFill>
                          <a:latin typeface="+mn-lt"/>
                          <a:ea typeface="+mn-ea"/>
                          <a:cs typeface="+mn-cs"/>
                        </a:rPr>
                        <a:t> User Base (% of Population)</a:t>
                      </a:r>
                      <a:endParaRPr lang="en-GB" sz="1400" b="1" kern="1200" dirty="0">
                        <a:solidFill>
                          <a:schemeClr val="tx2"/>
                        </a:solidFill>
                        <a:latin typeface="+mn-lt"/>
                        <a:ea typeface="+mn-ea"/>
                        <a:cs typeface="+mn-cs"/>
                      </a:endParaRPr>
                    </a:p>
                  </a:txBody>
                  <a:tcPr anchor="ctr"/>
                </a:tc>
                <a:tc>
                  <a:txBody>
                    <a:bodyPr/>
                    <a:lstStyle/>
                    <a:p>
                      <a:pPr algn="ctr"/>
                      <a:r>
                        <a:rPr lang="en-US" sz="1400" dirty="0" smtClean="0"/>
                        <a:t>15-20%</a:t>
                      </a:r>
                      <a:endParaRPr lang="en-GB" sz="1400" dirty="0"/>
                    </a:p>
                  </a:txBody>
                  <a:tcPr anchor="ctr"/>
                </a:tc>
              </a:tr>
              <a:tr h="492063">
                <a:tc>
                  <a:txBody>
                    <a:bodyPr/>
                    <a:lstStyle/>
                    <a:p>
                      <a:pPr algn="ctr"/>
                      <a:r>
                        <a:rPr lang="en-US" sz="1400" kern="1200" dirty="0" smtClean="0">
                          <a:solidFill>
                            <a:schemeClr val="dk1"/>
                          </a:solidFill>
                          <a:latin typeface="+mn-lt"/>
                          <a:ea typeface="+mn-ea"/>
                          <a:cs typeface="+mn-cs"/>
                        </a:rPr>
                        <a:t>22.39</a:t>
                      </a:r>
                      <a:endParaRPr lang="en-GB" sz="1400" kern="1200" dirty="0">
                        <a:solidFill>
                          <a:schemeClr val="dk1"/>
                        </a:solidFill>
                        <a:latin typeface="+mn-lt"/>
                        <a:ea typeface="+mn-ea"/>
                        <a:cs typeface="+mn-cs"/>
                      </a:endParaRPr>
                    </a:p>
                  </a:txBody>
                  <a:tcPr anchor="ctr"/>
                </a:tc>
                <a:tc>
                  <a:txBody>
                    <a:bodyPr/>
                    <a:lstStyle/>
                    <a:p>
                      <a:pPr algn="ctr"/>
                      <a:r>
                        <a:rPr lang="en-US" sz="1400" b="1" kern="1200" dirty="0" smtClean="0">
                          <a:solidFill>
                            <a:schemeClr val="tx2"/>
                          </a:solidFill>
                          <a:latin typeface="+mn-lt"/>
                          <a:ea typeface="+mn-ea"/>
                          <a:cs typeface="+mn-cs"/>
                        </a:rPr>
                        <a:t>Number of Taxis</a:t>
                      </a:r>
                      <a:r>
                        <a:rPr lang="en-US" sz="1400" b="1" kern="1200" baseline="0" dirty="0" smtClean="0">
                          <a:solidFill>
                            <a:schemeClr val="tx2"/>
                          </a:solidFill>
                          <a:latin typeface="+mn-lt"/>
                          <a:ea typeface="+mn-ea"/>
                          <a:cs typeface="+mn-cs"/>
                        </a:rPr>
                        <a:t> per 1000 Daily commuters</a:t>
                      </a:r>
                      <a:endParaRPr lang="en-GB" sz="1400" b="1" kern="1200" dirty="0">
                        <a:solidFill>
                          <a:schemeClr val="tx2"/>
                        </a:solidFill>
                        <a:latin typeface="+mn-lt"/>
                        <a:ea typeface="+mn-ea"/>
                        <a:cs typeface="+mn-cs"/>
                      </a:endParaRPr>
                    </a:p>
                  </a:txBody>
                  <a:tcPr anchor="ctr"/>
                </a:tc>
                <a:tc>
                  <a:txBody>
                    <a:bodyPr/>
                    <a:lstStyle/>
                    <a:p>
                      <a:pPr algn="ctr"/>
                      <a:r>
                        <a:rPr lang="en-US" sz="1400" dirty="0" smtClean="0"/>
                        <a:t>~18</a:t>
                      </a:r>
                      <a:endParaRPr lang="en-GB" sz="1400" dirty="0"/>
                    </a:p>
                  </a:txBody>
                  <a:tcPr anchor="ctr"/>
                </a:tc>
              </a:tr>
              <a:tr h="49206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smtClean="0"/>
                        <a:t>$540 (2013)</a:t>
                      </a:r>
                    </a:p>
                  </a:txBody>
                  <a:tcPr anchor="ctr"/>
                </a:tc>
                <a:tc>
                  <a:txBody>
                    <a:bodyPr/>
                    <a:lstStyle/>
                    <a:p>
                      <a:pPr algn="ctr"/>
                      <a:r>
                        <a:rPr lang="en-GB" sz="1400" b="1" dirty="0" smtClean="0">
                          <a:solidFill>
                            <a:schemeClr val="tx2"/>
                          </a:solidFill>
                        </a:rPr>
                        <a:t>Driver cost per day</a:t>
                      </a:r>
                      <a:endParaRPr lang="en-GB" sz="1400" b="1" dirty="0">
                        <a:solidFill>
                          <a:schemeClr val="tx2"/>
                        </a:solidFill>
                      </a:endParaRPr>
                    </a:p>
                  </a:txBody>
                  <a:tcPr anchor="ctr"/>
                </a:tc>
                <a:tc>
                  <a:txBody>
                    <a:bodyPr/>
                    <a:lstStyle/>
                    <a:p>
                      <a:pPr algn="ctr"/>
                      <a:r>
                        <a:rPr lang="en-GB" sz="1400" dirty="0" smtClean="0"/>
                        <a:t>$0 </a:t>
                      </a:r>
                      <a:endParaRPr lang="en-GB" sz="1400" dirty="0"/>
                    </a:p>
                  </a:txBody>
                  <a:tcPr anchor="ctr"/>
                </a:tc>
              </a:tr>
              <a:tr h="492063">
                <a:tc>
                  <a:txBody>
                    <a:bodyPr/>
                    <a:lstStyle/>
                    <a:p>
                      <a:pPr algn="ctr"/>
                      <a:r>
                        <a:rPr lang="en-GB" sz="1400" dirty="0" smtClean="0"/>
                        <a:t>50,000</a:t>
                      </a:r>
                      <a:endParaRPr lang="en-GB" sz="1400" dirty="0"/>
                    </a:p>
                  </a:txBody>
                  <a:tcPr anchor="ctr"/>
                </a:tc>
                <a:tc>
                  <a:txBody>
                    <a:bodyPr/>
                    <a:lstStyle/>
                    <a:p>
                      <a:pPr algn="ctr"/>
                      <a:r>
                        <a:rPr lang="en-US" sz="1400" b="1" dirty="0" smtClean="0">
                          <a:solidFill>
                            <a:schemeClr val="tx2"/>
                          </a:solidFill>
                        </a:rPr>
                        <a:t>Number of Drivers</a:t>
                      </a:r>
                      <a:endParaRPr lang="en-GB" sz="1400" b="1" dirty="0">
                        <a:solidFill>
                          <a:schemeClr val="tx2"/>
                        </a:solidFill>
                      </a:endParaRPr>
                    </a:p>
                  </a:txBody>
                  <a:tcPr anchor="ctr"/>
                </a:tc>
                <a:tc>
                  <a:txBody>
                    <a:bodyPr/>
                    <a:lstStyle/>
                    <a:p>
                      <a:pPr algn="ctr"/>
                      <a:r>
                        <a:rPr lang="en-US" sz="1400" dirty="0" smtClean="0"/>
                        <a:t>0</a:t>
                      </a:r>
                      <a:endParaRPr lang="en-GB" sz="1400" dirty="0"/>
                    </a:p>
                  </a:txBody>
                  <a:tcPr anchor="ctr"/>
                </a:tc>
              </a:tr>
              <a:tr h="49206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kern="1200" dirty="0" smtClean="0">
                          <a:solidFill>
                            <a:schemeClr val="dk1"/>
                          </a:solidFill>
                          <a:latin typeface="+mn-lt"/>
                          <a:ea typeface="+mn-ea"/>
                          <a:cs typeface="+mn-cs"/>
                        </a:rPr>
                        <a:t>$6.31 (2013)</a:t>
                      </a:r>
                    </a:p>
                  </a:txBody>
                  <a:tcPr anchor="ctr"/>
                </a:tc>
                <a:tc>
                  <a:txBody>
                    <a:bodyPr/>
                    <a:lstStyle/>
                    <a:p>
                      <a:pPr algn="ctr"/>
                      <a:r>
                        <a:rPr lang="en-GB" sz="1400" b="1" kern="1200" dirty="0" smtClean="0">
                          <a:solidFill>
                            <a:schemeClr val="tx2"/>
                          </a:solidFill>
                          <a:latin typeface="+mn-lt"/>
                          <a:ea typeface="+mn-ea"/>
                          <a:cs typeface="+mn-cs"/>
                        </a:rPr>
                        <a:t>Average Fare per mile</a:t>
                      </a:r>
                      <a:endParaRPr lang="en-GB" sz="1400" b="1" kern="1200" dirty="0">
                        <a:solidFill>
                          <a:schemeClr val="tx2"/>
                        </a:solidFill>
                        <a:latin typeface="+mn-lt"/>
                        <a:ea typeface="+mn-ea"/>
                        <a:cs typeface="+mn-cs"/>
                      </a:endParaRPr>
                    </a:p>
                  </a:txBody>
                  <a:tcPr anchor="ctr"/>
                </a:tc>
                <a:tc>
                  <a:txBody>
                    <a:bodyPr/>
                    <a:lstStyle/>
                    <a:p>
                      <a:pPr algn="ctr"/>
                      <a:r>
                        <a:rPr lang="en-GB" sz="1400" kern="1200" dirty="0" smtClean="0">
                          <a:solidFill>
                            <a:schemeClr val="dk1"/>
                          </a:solidFill>
                          <a:latin typeface="+mn-lt"/>
                          <a:ea typeface="+mn-ea"/>
                          <a:cs typeface="+mn-cs"/>
                        </a:rPr>
                        <a:t>~$4</a:t>
                      </a:r>
                      <a:endParaRPr lang="en-GB" sz="1400" dirty="0"/>
                    </a:p>
                  </a:txBody>
                  <a:tcPr anchor="ctr"/>
                </a:tc>
              </a:tr>
              <a:tr h="49206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kern="1200" dirty="0" smtClean="0">
                          <a:solidFill>
                            <a:schemeClr val="dk1"/>
                          </a:solidFill>
                          <a:latin typeface="+mn-lt"/>
                          <a:ea typeface="+mn-ea"/>
                          <a:cs typeface="+mn-cs"/>
                        </a:rPr>
                        <a:t>$29,700 (2014 Nissan NV200)</a:t>
                      </a:r>
                    </a:p>
                  </a:txBody>
                  <a:tcPr anchor="ctr"/>
                </a:tc>
                <a:tc>
                  <a:txBody>
                    <a:bodyPr/>
                    <a:lstStyle/>
                    <a:p>
                      <a:pPr algn="ctr"/>
                      <a:r>
                        <a:rPr lang="en-US" sz="1400" b="1" kern="1200" dirty="0" smtClean="0">
                          <a:solidFill>
                            <a:schemeClr val="tx2"/>
                          </a:solidFill>
                          <a:latin typeface="+mn-lt"/>
                          <a:ea typeface="+mn-ea"/>
                          <a:cs typeface="+mn-cs"/>
                        </a:rPr>
                        <a:t>Taxi Price</a:t>
                      </a:r>
                      <a:endParaRPr lang="en-GB" sz="1400" b="1" kern="1200" dirty="0">
                        <a:solidFill>
                          <a:schemeClr val="tx2"/>
                        </a:solidFill>
                        <a:latin typeface="+mn-lt"/>
                        <a:ea typeface="+mn-ea"/>
                        <a:cs typeface="+mn-cs"/>
                      </a:endParaRPr>
                    </a:p>
                  </a:txBody>
                  <a:tcPr anchor="ctr"/>
                </a:tc>
                <a:tc>
                  <a:txBody>
                    <a:bodyPr/>
                    <a:lstStyle/>
                    <a:p>
                      <a:pPr algn="ctr"/>
                      <a:r>
                        <a:rPr lang="en-GB" sz="1400" dirty="0" smtClean="0"/>
                        <a:t>$40000 </a:t>
                      </a:r>
                      <a:endParaRPr lang="en-GB" sz="1400" dirty="0"/>
                    </a:p>
                  </a:txBody>
                  <a:tcPr anchor="ctr"/>
                </a:tc>
              </a:tr>
            </a:tbl>
          </a:graphicData>
        </a:graphic>
      </p:graphicFrame>
      <p:sp>
        <p:nvSpPr>
          <p:cNvPr id="12" name="Down Arrow 11"/>
          <p:cNvSpPr/>
          <p:nvPr/>
        </p:nvSpPr>
        <p:spPr>
          <a:xfrm flipV="1">
            <a:off x="8339368" y="2172445"/>
            <a:ext cx="353203" cy="311973"/>
          </a:xfrm>
          <a:prstGeom prst="downArrow">
            <a:avLst/>
          </a:prstGeom>
          <a:solidFill>
            <a:srgbClr val="92D05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3" name="Down Arrow 12"/>
          <p:cNvSpPr/>
          <p:nvPr/>
        </p:nvSpPr>
        <p:spPr>
          <a:xfrm>
            <a:off x="8339368" y="4146463"/>
            <a:ext cx="353203" cy="311972"/>
          </a:xfrm>
          <a:prstGeom prst="downArrow">
            <a:avLst/>
          </a:prstGeom>
          <a:solidFill>
            <a:srgbClr val="C0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4" name="Down Arrow 13"/>
          <p:cNvSpPr/>
          <p:nvPr/>
        </p:nvSpPr>
        <p:spPr>
          <a:xfrm>
            <a:off x="8339368" y="4664622"/>
            <a:ext cx="353203" cy="311972"/>
          </a:xfrm>
          <a:prstGeom prst="downArrow">
            <a:avLst/>
          </a:prstGeom>
          <a:solidFill>
            <a:srgbClr val="C0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5" name="Down Arrow 14"/>
          <p:cNvSpPr/>
          <p:nvPr/>
        </p:nvSpPr>
        <p:spPr>
          <a:xfrm>
            <a:off x="8339368" y="5174327"/>
            <a:ext cx="353203" cy="311972"/>
          </a:xfrm>
          <a:prstGeom prst="downArrow">
            <a:avLst/>
          </a:prstGeom>
          <a:solidFill>
            <a:srgbClr val="C0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6" name="Down Arrow 15"/>
          <p:cNvSpPr/>
          <p:nvPr/>
        </p:nvSpPr>
        <p:spPr>
          <a:xfrm flipV="1">
            <a:off x="8339368" y="2693805"/>
            <a:ext cx="353203" cy="311973"/>
          </a:xfrm>
          <a:prstGeom prst="downArrow">
            <a:avLst/>
          </a:prstGeom>
          <a:solidFill>
            <a:srgbClr val="92D05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7" name="Down Arrow 16"/>
          <p:cNvSpPr/>
          <p:nvPr/>
        </p:nvSpPr>
        <p:spPr>
          <a:xfrm flipV="1">
            <a:off x="8339368" y="5599867"/>
            <a:ext cx="353203" cy="311973"/>
          </a:xfrm>
          <a:prstGeom prst="downArrow">
            <a:avLst/>
          </a:prstGeom>
          <a:solidFill>
            <a:srgbClr val="92D05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20" name="Down Arrow 19"/>
          <p:cNvSpPr/>
          <p:nvPr/>
        </p:nvSpPr>
        <p:spPr>
          <a:xfrm flipV="1">
            <a:off x="8339368" y="3165958"/>
            <a:ext cx="353203" cy="311973"/>
          </a:xfrm>
          <a:prstGeom prst="downArrow">
            <a:avLst/>
          </a:prstGeom>
          <a:solidFill>
            <a:srgbClr val="92D05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8" name="Down Arrow 17"/>
          <p:cNvSpPr/>
          <p:nvPr/>
        </p:nvSpPr>
        <p:spPr>
          <a:xfrm>
            <a:off x="8339368" y="3659016"/>
            <a:ext cx="353203" cy="311972"/>
          </a:xfrm>
          <a:prstGeom prst="downArrow">
            <a:avLst/>
          </a:prstGeom>
          <a:solidFill>
            <a:srgbClr val="C0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solidFill>
                <a:srgbClr val="FFFFFF"/>
              </a:solidFill>
            </a:endParaRPr>
          </a:p>
        </p:txBody>
      </p:sp>
      <p:sp>
        <p:nvSpPr>
          <p:cNvPr id="19" name="Text Box 80"/>
          <p:cNvSpPr txBox="1">
            <a:spLocks noChangeArrowheads="1"/>
          </p:cNvSpPr>
          <p:nvPr/>
        </p:nvSpPr>
        <p:spPr bwMode="auto">
          <a:xfrm>
            <a:off x="5633230" y="6276928"/>
            <a:ext cx="3289362" cy="138499"/>
          </a:xfrm>
          <a:prstGeom prst="rect">
            <a:avLst/>
          </a:prstGeom>
          <a:noFill/>
          <a:ln w="9525">
            <a:noFill/>
            <a:miter lim="800000"/>
            <a:headEnd/>
            <a:tailEnd/>
          </a:ln>
        </p:spPr>
        <p:txBody>
          <a:bodyPr wrap="none" lIns="0" tIns="0" rIns="0" bIns="0" anchor="ctr">
            <a:spAutoFit/>
          </a:bodyPr>
          <a:lstStyle>
            <a:defPPr>
              <a:defRPr lang="en-US"/>
            </a:defPPr>
            <a:lvl1pPr algn="r">
              <a:defRPr sz="900">
                <a:solidFill>
                  <a:srgbClr val="517496"/>
                </a:solidFill>
              </a:defRPr>
            </a:lvl1pPr>
          </a:lstStyle>
          <a:p>
            <a:r>
              <a:rPr lang="en-US" dirty="0"/>
              <a:t>Source: </a:t>
            </a:r>
            <a:r>
              <a:rPr lang="en-IN" dirty="0"/>
              <a:t>NYC Taxi And Limousine Commission, </a:t>
            </a:r>
            <a:r>
              <a:rPr lang="en-US" dirty="0"/>
              <a:t>Frost &amp; Sullivan </a:t>
            </a:r>
          </a:p>
        </p:txBody>
      </p:sp>
      <p:sp>
        <p:nvSpPr>
          <p:cNvPr id="21" name="Text Box 80"/>
          <p:cNvSpPr txBox="1">
            <a:spLocks noChangeArrowheads="1"/>
          </p:cNvSpPr>
          <p:nvPr/>
        </p:nvSpPr>
        <p:spPr bwMode="auto">
          <a:xfrm>
            <a:off x="221408" y="6276928"/>
            <a:ext cx="4122924" cy="138499"/>
          </a:xfrm>
          <a:prstGeom prst="rect">
            <a:avLst/>
          </a:prstGeom>
          <a:noFill/>
          <a:ln w="9525">
            <a:noFill/>
            <a:miter lim="800000"/>
            <a:headEnd/>
            <a:tailEnd/>
          </a:ln>
        </p:spPr>
        <p:txBody>
          <a:bodyPr wrap="none" lIns="0" tIns="0" rIns="0" bIns="0" anchor="ctr">
            <a:spAutoFit/>
          </a:bodyPr>
          <a:lstStyle>
            <a:defPPr>
              <a:defRPr lang="en-US"/>
            </a:defPPr>
            <a:lvl1pPr algn="r">
              <a:defRPr sz="900">
                <a:solidFill>
                  <a:srgbClr val="517496"/>
                </a:solidFill>
              </a:defRPr>
            </a:lvl1pPr>
          </a:lstStyle>
          <a:p>
            <a:r>
              <a:rPr lang="en-US" dirty="0"/>
              <a:t>Note: Taxi user base in New York City was  600,000 passengers per day in 2014</a:t>
            </a:r>
          </a:p>
        </p:txBody>
      </p:sp>
      <p:sp>
        <p:nvSpPr>
          <p:cNvPr id="23" name="Title 1"/>
          <p:cNvSpPr txBox="1">
            <a:spLocks/>
          </p:cNvSpPr>
          <p:nvPr/>
        </p:nvSpPr>
        <p:spPr bwMode="auto">
          <a:xfrm>
            <a:off x="240458" y="152936"/>
            <a:ext cx="8684468"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rgbClr val="002060"/>
                </a:solidFill>
                <a:ea typeface="Cambria Math" pitchFamily="18" charset="0"/>
              </a:rPr>
              <a:t>Autonomous Vehicles </a:t>
            </a:r>
            <a:r>
              <a:rPr lang="en-IN" sz="2000" dirty="0" smtClean="0">
                <a:solidFill>
                  <a:srgbClr val="002060"/>
                </a:solidFill>
                <a:ea typeface="Cambria Math" pitchFamily="18" charset="0"/>
              </a:rPr>
              <a:t>to revolutionize the e-Hailing Business </a:t>
            </a:r>
            <a:r>
              <a:rPr lang="en-IN" sz="2000" dirty="0">
                <a:solidFill>
                  <a:srgbClr val="002060"/>
                </a:solidFill>
                <a:ea typeface="Cambria Math" pitchFamily="18" charset="0"/>
              </a:rPr>
              <a:t>Model </a:t>
            </a:r>
            <a:r>
              <a:rPr lang="en-IN" sz="2000" dirty="0" smtClean="0">
                <a:solidFill>
                  <a:srgbClr val="002060"/>
                </a:solidFill>
                <a:ea typeface="Cambria Math" pitchFamily="18" charset="0"/>
              </a:rPr>
              <a:t>– Case </a:t>
            </a:r>
            <a:r>
              <a:rPr lang="en-IN" sz="2000" dirty="0">
                <a:solidFill>
                  <a:srgbClr val="002060"/>
                </a:solidFill>
                <a:ea typeface="Cambria Math" pitchFamily="18" charset="0"/>
              </a:rPr>
              <a:t>Study – New York Yellow </a:t>
            </a:r>
            <a:r>
              <a:rPr lang="en-IN" sz="2000" dirty="0" smtClean="0">
                <a:solidFill>
                  <a:srgbClr val="002060"/>
                </a:solidFill>
                <a:ea typeface="Cambria Math" pitchFamily="18" charset="0"/>
              </a:rPr>
              <a:t>Taxi</a:t>
            </a:r>
            <a:endParaRPr lang="en-IN" sz="2000" dirty="0">
              <a:solidFill>
                <a:srgbClr val="002060"/>
              </a:solidFill>
              <a:ea typeface="Cambria Math" pitchFamily="18" charset="0"/>
            </a:endParaRPr>
          </a:p>
        </p:txBody>
      </p:sp>
      <p:sp>
        <p:nvSpPr>
          <p:cNvPr id="24" name="Rectangle 5"/>
          <p:cNvSpPr>
            <a:spLocks noChangeArrowheads="1"/>
          </p:cNvSpPr>
          <p:nvPr/>
        </p:nvSpPr>
        <p:spPr bwMode="auto">
          <a:xfrm>
            <a:off x="381000" y="1171488"/>
            <a:ext cx="838200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0" tIns="36000" rIns="36000" bIns="36000" anchor="ctr">
            <a:spAutoFit/>
          </a:bodyPr>
          <a:lstStyle>
            <a:lvl1pPr eaLnBrk="0" hangingPunct="0">
              <a:tabLst>
                <a:tab pos="4800600" algn="l"/>
              </a:tabLst>
              <a:defRPr>
                <a:solidFill>
                  <a:schemeClr val="tx1"/>
                </a:solidFill>
                <a:latin typeface="Arial" pitchFamily="34" charset="0"/>
              </a:defRPr>
            </a:lvl1pPr>
            <a:lvl2pPr marL="742950" indent="-285750" eaLnBrk="0" hangingPunct="0">
              <a:tabLst>
                <a:tab pos="4800600" algn="l"/>
              </a:tabLst>
              <a:defRPr>
                <a:solidFill>
                  <a:schemeClr val="tx1"/>
                </a:solidFill>
                <a:latin typeface="Arial" pitchFamily="34" charset="0"/>
              </a:defRPr>
            </a:lvl2pPr>
            <a:lvl3pPr marL="1143000" indent="-228600" eaLnBrk="0" hangingPunct="0">
              <a:tabLst>
                <a:tab pos="4800600" algn="l"/>
              </a:tabLst>
              <a:defRPr>
                <a:solidFill>
                  <a:schemeClr val="tx1"/>
                </a:solidFill>
                <a:latin typeface="Arial" pitchFamily="34" charset="0"/>
              </a:defRPr>
            </a:lvl3pPr>
            <a:lvl4pPr marL="1600200" indent="-228600" eaLnBrk="0" hangingPunct="0">
              <a:tabLst>
                <a:tab pos="4800600" algn="l"/>
              </a:tabLst>
              <a:defRPr>
                <a:solidFill>
                  <a:schemeClr val="tx1"/>
                </a:solidFill>
                <a:latin typeface="Arial" pitchFamily="34" charset="0"/>
              </a:defRPr>
            </a:lvl4pPr>
            <a:lvl5pPr marL="2057400" indent="-228600" eaLnBrk="0" hangingPunct="0">
              <a:tabLst>
                <a:tab pos="4800600" algn="l"/>
              </a:tabLst>
              <a:defRPr>
                <a:solidFill>
                  <a:schemeClr val="tx1"/>
                </a:solidFill>
                <a:latin typeface="Arial" pitchFamily="34" charset="0"/>
              </a:defRPr>
            </a:lvl5pPr>
            <a:lvl6pPr marL="2514600" indent="-228600" eaLnBrk="0" fontAlgn="base" hangingPunct="0">
              <a:spcBef>
                <a:spcPct val="0"/>
              </a:spcBef>
              <a:spcAft>
                <a:spcPct val="0"/>
              </a:spcAft>
              <a:tabLst>
                <a:tab pos="4800600" algn="l"/>
              </a:tabLst>
              <a:defRPr>
                <a:solidFill>
                  <a:schemeClr val="tx1"/>
                </a:solidFill>
                <a:latin typeface="Arial" pitchFamily="34" charset="0"/>
              </a:defRPr>
            </a:lvl6pPr>
            <a:lvl7pPr marL="2971800" indent="-228600" eaLnBrk="0" fontAlgn="base" hangingPunct="0">
              <a:spcBef>
                <a:spcPct val="0"/>
              </a:spcBef>
              <a:spcAft>
                <a:spcPct val="0"/>
              </a:spcAft>
              <a:tabLst>
                <a:tab pos="4800600" algn="l"/>
              </a:tabLst>
              <a:defRPr>
                <a:solidFill>
                  <a:schemeClr val="tx1"/>
                </a:solidFill>
                <a:latin typeface="Arial" pitchFamily="34" charset="0"/>
              </a:defRPr>
            </a:lvl7pPr>
            <a:lvl8pPr marL="3429000" indent="-228600" eaLnBrk="0" fontAlgn="base" hangingPunct="0">
              <a:spcBef>
                <a:spcPct val="0"/>
              </a:spcBef>
              <a:spcAft>
                <a:spcPct val="0"/>
              </a:spcAft>
              <a:tabLst>
                <a:tab pos="4800600" algn="l"/>
              </a:tabLst>
              <a:defRPr>
                <a:solidFill>
                  <a:schemeClr val="tx1"/>
                </a:solidFill>
                <a:latin typeface="Arial" pitchFamily="34" charset="0"/>
              </a:defRPr>
            </a:lvl8pPr>
            <a:lvl9pPr marL="3886200" indent="-228600" eaLnBrk="0" fontAlgn="base" hangingPunct="0">
              <a:spcBef>
                <a:spcPct val="0"/>
              </a:spcBef>
              <a:spcAft>
                <a:spcPct val="0"/>
              </a:spcAft>
              <a:tabLst>
                <a:tab pos="4800600" algn="l"/>
              </a:tabLst>
              <a:defRPr>
                <a:solidFill>
                  <a:schemeClr val="tx1"/>
                </a:solidFill>
                <a:latin typeface="Arial" pitchFamily="34" charset="0"/>
              </a:defRPr>
            </a:lvl9pPr>
          </a:lstStyle>
          <a:p>
            <a:pPr algn="ctr" fontAlgn="base">
              <a:spcBef>
                <a:spcPct val="0"/>
              </a:spcBef>
              <a:spcAft>
                <a:spcPct val="0"/>
              </a:spcAft>
            </a:pPr>
            <a:r>
              <a:rPr lang="en-IN" altLang="en-US" sz="1400" b="1" dirty="0">
                <a:solidFill>
                  <a:schemeClr val="tx2"/>
                </a:solidFill>
                <a:cs typeface="Arial" pitchFamily="34" charset="0"/>
              </a:rPr>
              <a:t>Automated Driving Business Models: Case Study – New York Yellow Taxi, NA, 2015</a:t>
            </a:r>
          </a:p>
        </p:txBody>
      </p:sp>
    </p:spTree>
    <p:extLst>
      <p:ext uri="{BB962C8B-B14F-4D97-AF65-F5344CB8AC3E}">
        <p14:creationId xmlns:p14="http://schemas.microsoft.com/office/powerpoint/2010/main" val="1387477624"/>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1228214" y="1143754"/>
            <a:ext cx="6671216" cy="338554"/>
          </a:xfrm>
          <a:prstGeom prst="rect">
            <a:avLst/>
          </a:prstGeom>
          <a:noFill/>
        </p:spPr>
        <p:txBody>
          <a:bodyPr wrap="square" rtlCol="0">
            <a:spAutoFit/>
          </a:bodyPr>
          <a:lstStyle/>
          <a:p>
            <a:pPr algn="ctr"/>
            <a:r>
              <a:rPr lang="en-IN" sz="1600" b="1" dirty="0" smtClean="0">
                <a:solidFill>
                  <a:schemeClr val="tx2"/>
                </a:solidFill>
              </a:rPr>
              <a:t>Present-day Motor Insurance Model in driver centric</a:t>
            </a:r>
            <a:endParaRPr lang="en-IN" sz="1600" b="1" dirty="0">
              <a:solidFill>
                <a:schemeClr val="tx2"/>
              </a:solidFill>
            </a:endParaRPr>
          </a:p>
        </p:txBody>
      </p:sp>
      <p:sp>
        <p:nvSpPr>
          <p:cNvPr id="145" name="Rectangle 144"/>
          <p:cNvSpPr/>
          <p:nvPr/>
        </p:nvSpPr>
        <p:spPr>
          <a:xfrm>
            <a:off x="286957" y="6276928"/>
            <a:ext cx="5456622" cy="138499"/>
          </a:xfrm>
          <a:prstGeom prst="rect">
            <a:avLst/>
          </a:prstGeom>
        </p:spPr>
        <p:txBody>
          <a:bodyPr wrap="none" lIns="0" tIns="0" rIns="0" bIns="0">
            <a:spAutoFit/>
          </a:bodyPr>
          <a:lstStyle/>
          <a:p>
            <a:pPr lvl="1" indent="-457200" algn="ctr"/>
            <a:r>
              <a:rPr lang="en-US" sz="900" dirty="0" smtClean="0">
                <a:solidFill>
                  <a:schemeClr val="accent2"/>
                </a:solidFill>
              </a:rPr>
              <a:t>* Vehicle owner pays premium to cover some excesses such as stray incidents like theft, fire and vandalism</a:t>
            </a:r>
            <a:endParaRPr lang="en-GB" sz="900" dirty="0">
              <a:solidFill>
                <a:schemeClr val="accent2"/>
              </a:solidFill>
            </a:endParaRPr>
          </a:p>
        </p:txBody>
      </p:sp>
      <p:grpSp>
        <p:nvGrpSpPr>
          <p:cNvPr id="14" name="Group 13"/>
          <p:cNvGrpSpPr/>
          <p:nvPr/>
        </p:nvGrpSpPr>
        <p:grpSpPr>
          <a:xfrm>
            <a:off x="1767648" y="5065097"/>
            <a:ext cx="5621058" cy="1073043"/>
            <a:chOff x="1636286" y="4927081"/>
            <a:chExt cx="5621058" cy="1073043"/>
          </a:xfrm>
        </p:grpSpPr>
        <p:sp>
          <p:nvSpPr>
            <p:cNvPr id="42" name="Rectangle 41"/>
            <p:cNvSpPr/>
            <p:nvPr/>
          </p:nvSpPr>
          <p:spPr>
            <a:xfrm>
              <a:off x="6292336" y="5387520"/>
              <a:ext cx="965008" cy="430887"/>
            </a:xfrm>
            <a:prstGeom prst="rect">
              <a:avLst/>
            </a:prstGeom>
            <a:noFill/>
          </p:spPr>
          <p:txBody>
            <a:bodyPr wrap="none" lIns="0" tIns="0" rIns="0" bIns="0" rtlCol="0" anchor="ctr" anchorCtr="1">
              <a:spAutoFit/>
            </a:bodyPr>
            <a:lstStyle/>
            <a:p>
              <a:r>
                <a:rPr lang="en-US" sz="1400" dirty="0">
                  <a:solidFill>
                    <a:schemeClr val="tx2"/>
                  </a:solidFill>
                </a:rPr>
                <a:t>Users </a:t>
              </a:r>
              <a:r>
                <a:rPr lang="en-US" sz="1400" dirty="0" smtClean="0">
                  <a:solidFill>
                    <a:schemeClr val="tx2"/>
                  </a:solidFill>
                </a:rPr>
                <a:t>share</a:t>
              </a:r>
              <a:br>
                <a:rPr lang="en-US" sz="1400" dirty="0" smtClean="0">
                  <a:solidFill>
                    <a:schemeClr val="tx2"/>
                  </a:solidFill>
                </a:rPr>
              </a:br>
              <a:r>
                <a:rPr lang="en-US" sz="1400" dirty="0" smtClean="0">
                  <a:solidFill>
                    <a:schemeClr val="tx2"/>
                  </a:solidFill>
                </a:rPr>
                <a:t>of </a:t>
              </a:r>
              <a:r>
                <a:rPr lang="en-US" sz="1400" dirty="0">
                  <a:solidFill>
                    <a:schemeClr val="tx2"/>
                  </a:solidFill>
                </a:rPr>
                <a:t>liability</a:t>
              </a:r>
            </a:p>
          </p:txBody>
        </p:sp>
        <p:sp>
          <p:nvSpPr>
            <p:cNvPr id="16" name="Rectangle 15"/>
            <p:cNvSpPr/>
            <p:nvPr/>
          </p:nvSpPr>
          <p:spPr>
            <a:xfrm>
              <a:off x="1636286" y="5387520"/>
              <a:ext cx="1264770" cy="430887"/>
            </a:xfrm>
            <a:prstGeom prst="rect">
              <a:avLst/>
            </a:prstGeom>
            <a:noFill/>
          </p:spPr>
          <p:txBody>
            <a:bodyPr wrap="none" lIns="0" tIns="0" rIns="0" bIns="0" rtlCol="0" anchor="ctr" anchorCtr="1">
              <a:spAutoFit/>
            </a:bodyPr>
            <a:lstStyle/>
            <a:p>
              <a:r>
                <a:rPr lang="en-US" sz="1400" dirty="0">
                  <a:solidFill>
                    <a:schemeClr val="tx2"/>
                  </a:solidFill>
                </a:rPr>
                <a:t>Manufacturers </a:t>
              </a:r>
              <a:r>
                <a:rPr lang="en-US" sz="1400" dirty="0" smtClean="0">
                  <a:solidFill>
                    <a:schemeClr val="tx2"/>
                  </a:solidFill>
                </a:rPr>
                <a:t/>
              </a:r>
              <a:br>
                <a:rPr lang="en-US" sz="1400" dirty="0" smtClean="0">
                  <a:solidFill>
                    <a:schemeClr val="tx2"/>
                  </a:solidFill>
                </a:rPr>
              </a:br>
              <a:r>
                <a:rPr lang="en-US" sz="1400" dirty="0" smtClean="0">
                  <a:solidFill>
                    <a:schemeClr val="tx2"/>
                  </a:solidFill>
                </a:rPr>
                <a:t>Product </a:t>
              </a:r>
              <a:r>
                <a:rPr lang="en-US" sz="1400" dirty="0">
                  <a:solidFill>
                    <a:schemeClr val="tx2"/>
                  </a:solidFill>
                </a:rPr>
                <a:t>Liability</a:t>
              </a:r>
            </a:p>
          </p:txBody>
        </p:sp>
        <p:sp>
          <p:nvSpPr>
            <p:cNvPr id="120" name="Rounded Rectangle 119"/>
            <p:cNvSpPr/>
            <p:nvPr/>
          </p:nvSpPr>
          <p:spPr>
            <a:xfrm>
              <a:off x="3172344" y="5205802"/>
              <a:ext cx="1417871" cy="794322"/>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2"/>
                </a:solidFill>
              </a:endParaRPr>
            </a:p>
          </p:txBody>
        </p:sp>
        <p:sp>
          <p:nvSpPr>
            <p:cNvPr id="6" name="Oval 5"/>
            <p:cNvSpPr/>
            <p:nvPr/>
          </p:nvSpPr>
          <p:spPr>
            <a:xfrm>
              <a:off x="2897681" y="4927081"/>
              <a:ext cx="549326" cy="557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2"/>
                </a:solidFill>
              </a:endParaRPr>
            </a:p>
          </p:txBody>
        </p:sp>
        <p:pic>
          <p:nvPicPr>
            <p:cNvPr id="129" name="Picture 4" descr="C:\Users\Pranan\AppData\Local\Microsoft\Windows\Temporary Internet Files\Content.IE5\K5ITOJFS\227877047_640[1].jpg"/>
            <p:cNvPicPr>
              <a:picLocks noChangeAspect="1" noChangeArrowheads="1"/>
            </p:cNvPicPr>
            <p:nvPr/>
          </p:nvPicPr>
          <p:blipFill rotWithShape="1">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backgroundRemoval t="28998" b="66951" l="20000" r="80469"/>
                      </a14:imgEffect>
                    </a14:imgLayer>
                  </a14:imgProps>
                </a:ext>
                <a:ext uri="{28A0092B-C50C-407E-A947-70E740481C1C}">
                  <a14:useLocalDpi xmlns:a14="http://schemas.microsoft.com/office/drawing/2010/main" val="0"/>
                </a:ext>
              </a:extLst>
            </a:blip>
            <a:srcRect l="20786" t="29779" r="19698" b="33039"/>
            <a:stretch/>
          </p:blipFill>
          <p:spPr bwMode="auto">
            <a:xfrm flipH="1">
              <a:off x="3538482" y="5384957"/>
              <a:ext cx="833921" cy="436013"/>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46" descr="http://www2.psd100.com/ppp/2013/11/2701/community-1127141512.png"/>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30579" r="31890"/>
            <a:stretch/>
          </p:blipFill>
          <p:spPr bwMode="auto">
            <a:xfrm>
              <a:off x="5081338" y="5233541"/>
              <a:ext cx="355241" cy="738845"/>
            </a:xfrm>
            <a:prstGeom prst="rect">
              <a:avLst/>
            </a:prstGeom>
            <a:noFill/>
            <a:extLst>
              <a:ext uri="{909E8E84-426E-40DD-AFC4-6F175D3DCCD1}">
                <a14:hiddenFill xmlns:a14="http://schemas.microsoft.com/office/drawing/2010/main">
                  <a:solidFill>
                    <a:srgbClr val="FFFFFF"/>
                  </a:solidFill>
                </a14:hiddenFill>
              </a:ext>
            </a:extLst>
          </p:spPr>
        </p:pic>
        <p:sp>
          <p:nvSpPr>
            <p:cNvPr id="50" name="Rounded Rectangle 49"/>
            <p:cNvSpPr/>
            <p:nvPr/>
          </p:nvSpPr>
          <p:spPr>
            <a:xfrm>
              <a:off x="4590215" y="5205802"/>
              <a:ext cx="1417871" cy="794322"/>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2"/>
                </a:solidFill>
              </a:endParaRPr>
            </a:p>
          </p:txBody>
        </p:sp>
        <p:sp>
          <p:nvSpPr>
            <p:cNvPr id="5" name="TextBox 4"/>
            <p:cNvSpPr txBox="1"/>
            <p:nvPr/>
          </p:nvSpPr>
          <p:spPr>
            <a:xfrm>
              <a:off x="2940710" y="5098080"/>
              <a:ext cx="463268" cy="215444"/>
            </a:xfrm>
            <a:prstGeom prst="rect">
              <a:avLst/>
            </a:prstGeom>
            <a:noFill/>
          </p:spPr>
          <p:txBody>
            <a:bodyPr wrap="none" lIns="0" tIns="0" rIns="0" bIns="0" rtlCol="0" anchor="ctr" anchorCtr="1">
              <a:spAutoFit/>
            </a:bodyPr>
            <a:lstStyle>
              <a:defPPr>
                <a:defRPr lang="en-US"/>
              </a:defPPr>
              <a:lvl1pPr>
                <a:defRPr sz="1400" b="1">
                  <a:solidFill>
                    <a:schemeClr val="tx2"/>
                  </a:solidFill>
                </a:defRPr>
              </a:lvl1pPr>
            </a:lstStyle>
            <a:p>
              <a:r>
                <a:rPr lang="en-IN" dirty="0"/>
                <a:t>&gt;80%</a:t>
              </a:r>
            </a:p>
          </p:txBody>
        </p:sp>
        <p:sp>
          <p:nvSpPr>
            <p:cNvPr id="55" name="Oval 54"/>
            <p:cNvSpPr/>
            <p:nvPr/>
          </p:nvSpPr>
          <p:spPr>
            <a:xfrm>
              <a:off x="5737174" y="4927081"/>
              <a:ext cx="549326" cy="55744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chemeClr val="tx2"/>
                </a:solidFill>
              </a:endParaRPr>
            </a:p>
          </p:txBody>
        </p:sp>
        <p:sp>
          <p:nvSpPr>
            <p:cNvPr id="56" name="TextBox 55"/>
            <p:cNvSpPr txBox="1"/>
            <p:nvPr/>
          </p:nvSpPr>
          <p:spPr>
            <a:xfrm>
              <a:off x="5780203" y="5098080"/>
              <a:ext cx="463268" cy="215444"/>
            </a:xfrm>
            <a:prstGeom prst="rect">
              <a:avLst/>
            </a:prstGeom>
            <a:noFill/>
          </p:spPr>
          <p:txBody>
            <a:bodyPr wrap="none" lIns="0" tIns="0" rIns="0" bIns="0" rtlCol="0" anchor="ctr" anchorCtr="1">
              <a:spAutoFit/>
            </a:bodyPr>
            <a:lstStyle>
              <a:defPPr>
                <a:defRPr lang="en-US"/>
              </a:defPPr>
              <a:lvl1pPr>
                <a:defRPr sz="1400" b="1">
                  <a:solidFill>
                    <a:schemeClr val="tx2"/>
                  </a:solidFill>
                </a:defRPr>
              </a:lvl1pPr>
            </a:lstStyle>
            <a:p>
              <a:r>
                <a:rPr lang="en-IN" dirty="0"/>
                <a:t>&lt;20%</a:t>
              </a:r>
            </a:p>
          </p:txBody>
        </p:sp>
      </p:grpSp>
      <p:sp>
        <p:nvSpPr>
          <p:cNvPr id="64" name="Rounded Rectangle 63"/>
          <p:cNvSpPr/>
          <p:nvPr/>
        </p:nvSpPr>
        <p:spPr>
          <a:xfrm>
            <a:off x="3494127" y="1522725"/>
            <a:ext cx="2257298" cy="1230479"/>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00">
              <a:solidFill>
                <a:srgbClr val="FFFFFF"/>
              </a:solidFill>
            </a:endParaRPr>
          </a:p>
        </p:txBody>
      </p:sp>
      <p:sp>
        <p:nvSpPr>
          <p:cNvPr id="37" name="Rectangle 36"/>
          <p:cNvSpPr/>
          <p:nvPr/>
        </p:nvSpPr>
        <p:spPr>
          <a:xfrm>
            <a:off x="3725896" y="1601090"/>
            <a:ext cx="1793760" cy="18466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wrap="none" lIns="0" tIns="0" rIns="0" bIns="0" anchor="ctr" anchorCtr="1">
            <a:spAutoFit/>
          </a:bodyPr>
          <a:lstStyle/>
          <a:p>
            <a:pPr algn="ctr"/>
            <a:r>
              <a:rPr lang="en-US" sz="1200" b="1" dirty="0">
                <a:solidFill>
                  <a:schemeClr val="tx2"/>
                </a:solidFill>
                <a:cs typeface="Arial" pitchFamily="34" charset="0"/>
              </a:rPr>
              <a:t>Driver centric evaluation</a:t>
            </a:r>
          </a:p>
        </p:txBody>
      </p:sp>
      <p:grpSp>
        <p:nvGrpSpPr>
          <p:cNvPr id="13" name="Group 12"/>
          <p:cNvGrpSpPr/>
          <p:nvPr/>
        </p:nvGrpSpPr>
        <p:grpSpPr>
          <a:xfrm>
            <a:off x="3746296" y="1849737"/>
            <a:ext cx="1752960" cy="892579"/>
            <a:chOff x="3733714" y="1906887"/>
            <a:chExt cx="1752960" cy="892579"/>
          </a:xfrm>
        </p:grpSpPr>
        <p:pic>
          <p:nvPicPr>
            <p:cNvPr id="72" name="Picture 71" descr="http://www2.psd100.com/ppp/2013/11/2701/community-1127141512.png"/>
            <p:cNvPicPr>
              <a:picLocks noChangeAspect="1" noChangeArrowheads="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l="30579" r="31890"/>
            <a:stretch/>
          </p:blipFill>
          <p:spPr bwMode="auto">
            <a:xfrm>
              <a:off x="5175074" y="1906887"/>
              <a:ext cx="311600" cy="892579"/>
            </a:xfrm>
            <a:prstGeom prst="rect">
              <a:avLst/>
            </a:prstGeom>
            <a:solidFill>
              <a:schemeClr val="bg1"/>
            </a:solidFill>
            <a:extLst/>
          </p:spPr>
        </p:pic>
        <p:pic>
          <p:nvPicPr>
            <p:cNvPr id="57" name="Picture 4" descr="http://imageresource.gilcommunity.com/files/5513/6994/7026/105822394_Icons_with_Scooter.jpg"/>
            <p:cNvPicPr>
              <a:picLocks noChangeArrowheads="1"/>
            </p:cNvPicPr>
            <p:nvPr/>
          </p:nvPicPr>
          <p:blipFill rotWithShape="1">
            <a:blip r:embed="rId7" cstate="print">
              <a:clrChange>
                <a:clrFrom>
                  <a:srgbClr val="FEFEF6"/>
                </a:clrFrom>
                <a:clrTo>
                  <a:srgbClr val="FEFEF6">
                    <a:alpha val="0"/>
                  </a:srgbClr>
                </a:clrTo>
              </a:clrChange>
              <a:extLst>
                <a:ext uri="{28A0092B-C50C-407E-A947-70E740481C1C}">
                  <a14:useLocalDpi xmlns:a14="http://schemas.microsoft.com/office/drawing/2010/main" val="0"/>
                </a:ext>
              </a:extLst>
            </a:blip>
            <a:srcRect l="10447" t="17242" r="77252" b="73555"/>
            <a:stretch/>
          </p:blipFill>
          <p:spPr bwMode="auto">
            <a:xfrm flipH="1">
              <a:off x="3733714" y="2050307"/>
              <a:ext cx="1306450" cy="701597"/>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a:xfrm flipH="1">
              <a:off x="3733714" y="1954448"/>
              <a:ext cx="1196509" cy="191717"/>
            </a:xfrm>
            <a:prstGeom prst="line">
              <a:avLst/>
            </a:prstGeom>
          </p:spPr>
          <p:style>
            <a:lnRef idx="3">
              <a:schemeClr val="accent2"/>
            </a:lnRef>
            <a:fillRef idx="0">
              <a:schemeClr val="accent2"/>
            </a:fillRef>
            <a:effectRef idx="2">
              <a:schemeClr val="accent2"/>
            </a:effectRef>
            <a:fontRef idx="minor">
              <a:schemeClr val="tx1"/>
            </a:fontRef>
          </p:style>
        </p:cxnSp>
      </p:grpSp>
      <p:sp>
        <p:nvSpPr>
          <p:cNvPr id="31" name="Title 1"/>
          <p:cNvSpPr txBox="1">
            <a:spLocks/>
          </p:cNvSpPr>
          <p:nvPr/>
        </p:nvSpPr>
        <p:spPr bwMode="auto">
          <a:xfrm>
            <a:off x="238125" y="152936"/>
            <a:ext cx="8646568"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smtClean="0">
                <a:solidFill>
                  <a:srgbClr val="002060"/>
                </a:solidFill>
                <a:ea typeface="Cambria Math" pitchFamily="18" charset="0"/>
              </a:rPr>
              <a:t>With Increasing </a:t>
            </a:r>
            <a:r>
              <a:rPr lang="en-IN" sz="2000" dirty="0">
                <a:solidFill>
                  <a:srgbClr val="002060"/>
                </a:solidFill>
                <a:ea typeface="Cambria Math" pitchFamily="18" charset="0"/>
              </a:rPr>
              <a:t>A</a:t>
            </a:r>
            <a:r>
              <a:rPr lang="en-IN" sz="2000" dirty="0" smtClean="0">
                <a:solidFill>
                  <a:srgbClr val="002060"/>
                </a:solidFill>
                <a:ea typeface="Cambria Math" pitchFamily="18" charset="0"/>
              </a:rPr>
              <a:t>utonomy, Insurance Liability </a:t>
            </a:r>
            <a:r>
              <a:rPr lang="en-IN" sz="2000" dirty="0">
                <a:solidFill>
                  <a:srgbClr val="002060"/>
                </a:solidFill>
                <a:ea typeface="Cambria Math" pitchFamily="18" charset="0"/>
              </a:rPr>
              <a:t>L</a:t>
            </a:r>
            <a:r>
              <a:rPr lang="en-IN" sz="2000" dirty="0" smtClean="0">
                <a:solidFill>
                  <a:srgbClr val="002060"/>
                </a:solidFill>
                <a:ea typeface="Cambria Math" pitchFamily="18" charset="0"/>
              </a:rPr>
              <a:t>ikely to Shift to Software Algorithms</a:t>
            </a:r>
            <a:endParaRPr lang="en-IN" sz="2000" dirty="0">
              <a:solidFill>
                <a:srgbClr val="002060"/>
              </a:solidFill>
              <a:ea typeface="Cambria Math" pitchFamily="18" charset="0"/>
            </a:endParaRPr>
          </a:p>
        </p:txBody>
      </p:sp>
      <p:cxnSp>
        <p:nvCxnSpPr>
          <p:cNvPr id="33" name="Straight Connector 32"/>
          <p:cNvCxnSpPr/>
          <p:nvPr/>
        </p:nvCxnSpPr>
        <p:spPr>
          <a:xfrm>
            <a:off x="286957" y="2812058"/>
            <a:ext cx="8597736"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Down Arrow Callout 11"/>
          <p:cNvSpPr/>
          <p:nvPr/>
        </p:nvSpPr>
        <p:spPr>
          <a:xfrm>
            <a:off x="285310" y="2932981"/>
            <a:ext cx="8585735" cy="2132116"/>
          </a:xfrm>
          <a:prstGeom prst="downArrowCallout">
            <a:avLst>
              <a:gd name="adj1" fmla="val 139946"/>
              <a:gd name="adj2" fmla="val 94163"/>
              <a:gd name="adj3" fmla="val 20499"/>
              <a:gd name="adj4" fmla="val 67561"/>
            </a:avLst>
          </a:prstGeom>
          <a:solidFill>
            <a:schemeClr val="accent1"/>
          </a:soli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58" name="TextBox 57"/>
          <p:cNvSpPr txBox="1"/>
          <p:nvPr/>
        </p:nvSpPr>
        <p:spPr>
          <a:xfrm>
            <a:off x="3083803" y="2953605"/>
            <a:ext cx="2943113" cy="246221"/>
          </a:xfrm>
          <a:prstGeom prst="rect">
            <a:avLst/>
          </a:prstGeom>
          <a:noFill/>
        </p:spPr>
        <p:txBody>
          <a:bodyPr wrap="none" lIns="0" tIns="0" rIns="0" bIns="0" rtlCol="0" anchor="ctr" anchorCtr="1">
            <a:spAutoFit/>
          </a:bodyPr>
          <a:lstStyle/>
          <a:p>
            <a:pPr algn="ctr"/>
            <a:r>
              <a:rPr lang="en-IN" sz="1600" b="1" dirty="0" smtClean="0">
                <a:solidFill>
                  <a:schemeClr val="tx2"/>
                </a:solidFill>
              </a:rPr>
              <a:t>Future Motor Insurance Model</a:t>
            </a:r>
            <a:endParaRPr lang="en-IN" sz="1600" b="1" dirty="0">
              <a:solidFill>
                <a:schemeClr val="tx2"/>
              </a:solidFill>
            </a:endParaRPr>
          </a:p>
        </p:txBody>
      </p:sp>
      <p:grpSp>
        <p:nvGrpSpPr>
          <p:cNvPr id="18" name="Group 17"/>
          <p:cNvGrpSpPr/>
          <p:nvPr/>
        </p:nvGrpSpPr>
        <p:grpSpPr>
          <a:xfrm>
            <a:off x="395781" y="3234330"/>
            <a:ext cx="8364793" cy="1053702"/>
            <a:chOff x="397072" y="3409860"/>
            <a:chExt cx="8364793" cy="1053702"/>
          </a:xfrm>
        </p:grpSpPr>
        <p:sp>
          <p:nvSpPr>
            <p:cNvPr id="7" name="TextBox 6"/>
            <p:cNvSpPr txBox="1"/>
            <p:nvPr/>
          </p:nvSpPr>
          <p:spPr>
            <a:xfrm>
              <a:off x="3023560" y="3999060"/>
              <a:ext cx="209994" cy="215444"/>
            </a:xfrm>
            <a:prstGeom prst="rect">
              <a:avLst/>
            </a:prstGeom>
            <a:noFill/>
          </p:spPr>
          <p:txBody>
            <a:bodyPr wrap="none" lIns="0" tIns="0" rIns="0" bIns="0" rtlCol="0" anchor="ctr" anchorCtr="1">
              <a:spAutoFit/>
            </a:bodyPr>
            <a:lstStyle/>
            <a:p>
              <a:r>
                <a:rPr lang="en-US" sz="1400" b="1" dirty="0" smtClean="0">
                  <a:solidFill>
                    <a:schemeClr val="tx2"/>
                  </a:solidFill>
                </a:rPr>
                <a:t>Or</a:t>
              </a:r>
              <a:endParaRPr lang="en-GB" sz="1400" b="1" dirty="0">
                <a:solidFill>
                  <a:schemeClr val="tx2"/>
                </a:solidFill>
              </a:endParaRPr>
            </a:p>
          </p:txBody>
        </p:sp>
        <p:sp>
          <p:nvSpPr>
            <p:cNvPr id="40" name="Rectangle 39"/>
            <p:cNvSpPr/>
            <p:nvPr/>
          </p:nvSpPr>
          <p:spPr>
            <a:xfrm>
              <a:off x="6200718" y="3611987"/>
              <a:ext cx="2561147" cy="851575"/>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wrap="square" anchor="ctr">
              <a:noAutofit/>
            </a:bodyPr>
            <a:lstStyle/>
            <a:p>
              <a:pPr algn="ctr"/>
              <a:endParaRPr lang="en-US" sz="1400" dirty="0" smtClean="0">
                <a:solidFill>
                  <a:srgbClr val="000000"/>
                </a:solidFill>
                <a:cs typeface="Arial" pitchFamily="34" charset="0"/>
              </a:endParaRPr>
            </a:p>
            <a:p>
              <a:pPr algn="ctr"/>
              <a:r>
                <a:rPr lang="en-US" sz="1400" dirty="0" smtClean="0">
                  <a:solidFill>
                    <a:srgbClr val="000000"/>
                  </a:solidFill>
                  <a:cs typeface="Arial" pitchFamily="34" charset="0"/>
                </a:rPr>
                <a:t>Increased Comfort, Option To Take Manual Control.</a:t>
              </a:r>
            </a:p>
          </p:txBody>
        </p:sp>
        <p:sp>
          <p:nvSpPr>
            <p:cNvPr id="44" name="Rectangle 43"/>
            <p:cNvSpPr/>
            <p:nvPr/>
          </p:nvSpPr>
          <p:spPr>
            <a:xfrm>
              <a:off x="6200718" y="3409861"/>
              <a:ext cx="2559600" cy="472026"/>
            </a:xfrm>
            <a:prstGeom prst="rect">
              <a:avLst/>
            </a:prstGeom>
            <a:ln/>
            <a:effectLst/>
          </p:spPr>
          <p:style>
            <a:lnRef idx="1">
              <a:schemeClr val="accent2"/>
            </a:lnRef>
            <a:fillRef idx="3">
              <a:schemeClr val="accent2"/>
            </a:fillRef>
            <a:effectRef idx="2">
              <a:schemeClr val="accent2"/>
            </a:effectRef>
            <a:fontRef idx="minor">
              <a:schemeClr val="lt1"/>
            </a:fontRef>
          </p:style>
          <p:txBody>
            <a:bodyPr wrap="square" anchor="ctr">
              <a:noAutofit/>
            </a:bodyPr>
            <a:lstStyle/>
            <a:p>
              <a:pPr algn="ctr"/>
              <a:r>
                <a:rPr lang="en-US" sz="1400" b="1" dirty="0" smtClean="0">
                  <a:solidFill>
                    <a:srgbClr val="FFFFFF"/>
                  </a:solidFill>
                  <a:cs typeface="Arial" pitchFamily="34" charset="0"/>
                </a:rPr>
                <a:t>3. System centric evaluation</a:t>
              </a:r>
              <a:endParaRPr lang="en-US" sz="1400" dirty="0">
                <a:solidFill>
                  <a:srgbClr val="FFFFFF"/>
                </a:solidFill>
                <a:cs typeface="Arial" pitchFamily="34" charset="0"/>
              </a:endParaRPr>
            </a:p>
          </p:txBody>
        </p:sp>
        <p:sp>
          <p:nvSpPr>
            <p:cNvPr id="45" name="Rectangle 44"/>
            <p:cNvSpPr/>
            <p:nvPr/>
          </p:nvSpPr>
          <p:spPr>
            <a:xfrm>
              <a:off x="3298895" y="3634367"/>
              <a:ext cx="2561147" cy="829195"/>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wrap="square" anchor="ctr">
              <a:noAutofit/>
            </a:bodyPr>
            <a:lstStyle/>
            <a:p>
              <a:pPr algn="ctr"/>
              <a:endParaRPr lang="en-US" sz="1400" dirty="0" smtClean="0">
                <a:solidFill>
                  <a:srgbClr val="000000"/>
                </a:solidFill>
                <a:cs typeface="Arial" pitchFamily="34" charset="0"/>
              </a:endParaRPr>
            </a:p>
            <a:p>
              <a:pPr algn="ctr"/>
              <a:r>
                <a:rPr lang="en-US" sz="1400" dirty="0" smtClean="0">
                  <a:solidFill>
                    <a:srgbClr val="000000"/>
                  </a:solidFill>
                  <a:cs typeface="Arial" pitchFamily="34" charset="0"/>
                </a:rPr>
                <a:t>Pods, personal vehicles, </a:t>
              </a:r>
              <a:r>
                <a:rPr lang="en-US" sz="1400" dirty="0">
                  <a:solidFill>
                    <a:srgbClr val="000000"/>
                  </a:solidFill>
                  <a:cs typeface="Arial" pitchFamily="34" charset="0"/>
                </a:rPr>
                <a:t>group rapid transit </a:t>
              </a:r>
              <a:r>
                <a:rPr lang="en-US" sz="1400" dirty="0" smtClean="0">
                  <a:solidFill>
                    <a:srgbClr val="000000"/>
                  </a:solidFill>
                  <a:cs typeface="Arial" pitchFamily="34" charset="0"/>
                </a:rPr>
                <a:t>vehicles</a:t>
              </a:r>
              <a:endParaRPr lang="en-US" sz="1400" dirty="0">
                <a:solidFill>
                  <a:srgbClr val="000000"/>
                </a:solidFill>
                <a:cs typeface="Arial" pitchFamily="34" charset="0"/>
              </a:endParaRPr>
            </a:p>
          </p:txBody>
        </p:sp>
        <p:sp>
          <p:nvSpPr>
            <p:cNvPr id="46" name="Rectangle 45"/>
            <p:cNvSpPr/>
            <p:nvPr/>
          </p:nvSpPr>
          <p:spPr>
            <a:xfrm>
              <a:off x="3298895" y="3409860"/>
              <a:ext cx="2559600" cy="466465"/>
            </a:xfrm>
            <a:prstGeom prst="rect">
              <a:avLst/>
            </a:prstGeom>
            <a:ln/>
            <a:effectLst/>
          </p:spPr>
          <p:style>
            <a:lnRef idx="1">
              <a:schemeClr val="accent2"/>
            </a:lnRef>
            <a:fillRef idx="3">
              <a:schemeClr val="accent2"/>
            </a:fillRef>
            <a:effectRef idx="2">
              <a:schemeClr val="accent2"/>
            </a:effectRef>
            <a:fontRef idx="minor">
              <a:schemeClr val="lt1"/>
            </a:fontRef>
          </p:style>
          <p:txBody>
            <a:bodyPr wrap="square" anchor="ctr">
              <a:noAutofit/>
            </a:bodyPr>
            <a:lstStyle/>
            <a:p>
              <a:pPr algn="ctr"/>
              <a:r>
                <a:rPr lang="en-US" sz="1400" b="1" dirty="0" smtClean="0">
                  <a:solidFill>
                    <a:srgbClr val="FFFFFF"/>
                  </a:solidFill>
                  <a:cs typeface="Arial" pitchFamily="34" charset="0"/>
                </a:rPr>
                <a:t>2. Product </a:t>
              </a:r>
              <a:r>
                <a:rPr lang="en-US" sz="1400" b="1" dirty="0">
                  <a:solidFill>
                    <a:srgbClr val="FFFFFF"/>
                  </a:solidFill>
                  <a:cs typeface="Arial" pitchFamily="34" charset="0"/>
                </a:rPr>
                <a:t>centric evaluation</a:t>
              </a:r>
              <a:endParaRPr lang="en-US" sz="1400" dirty="0">
                <a:solidFill>
                  <a:srgbClr val="FFFFFF"/>
                </a:solidFill>
                <a:cs typeface="Arial" pitchFamily="34" charset="0"/>
              </a:endParaRPr>
            </a:p>
          </p:txBody>
        </p:sp>
        <p:sp>
          <p:nvSpPr>
            <p:cNvPr id="48" name="Rectangle 47"/>
            <p:cNvSpPr/>
            <p:nvPr/>
          </p:nvSpPr>
          <p:spPr>
            <a:xfrm>
              <a:off x="397072" y="3628867"/>
              <a:ext cx="2561147" cy="834695"/>
            </a:xfrm>
            <a:prstGeom prst="rect">
              <a:avLst/>
            </a:prstGeom>
            <a:solidFill>
              <a:schemeClr val="bg1">
                <a:lumMod val="95000"/>
              </a:schemeClr>
            </a:solidFill>
            <a:ln w="9525">
              <a:noFill/>
            </a:ln>
          </p:spPr>
          <p:style>
            <a:lnRef idx="2">
              <a:schemeClr val="accent1"/>
            </a:lnRef>
            <a:fillRef idx="1">
              <a:schemeClr val="lt1"/>
            </a:fillRef>
            <a:effectRef idx="0">
              <a:schemeClr val="accent1"/>
            </a:effectRef>
            <a:fontRef idx="minor">
              <a:schemeClr val="dk1"/>
            </a:fontRef>
          </p:style>
          <p:txBody>
            <a:bodyPr wrap="square" anchor="ctr">
              <a:noAutofit/>
            </a:bodyPr>
            <a:lstStyle/>
            <a:p>
              <a:pPr algn="ctr"/>
              <a:endParaRPr lang="en-US" sz="1400" dirty="0" smtClean="0">
                <a:solidFill>
                  <a:srgbClr val="000000"/>
                </a:solidFill>
                <a:cs typeface="Arial" pitchFamily="34" charset="0"/>
              </a:endParaRPr>
            </a:p>
            <a:p>
              <a:pPr algn="ctr"/>
              <a:r>
                <a:rPr lang="en-US" sz="1400" dirty="0" smtClean="0">
                  <a:solidFill>
                    <a:srgbClr val="000000"/>
                  </a:solidFill>
                  <a:cs typeface="Arial" pitchFamily="34" charset="0"/>
                </a:rPr>
                <a:t>Crash Prevention, Crash Worthiness, Algorithm.</a:t>
              </a:r>
              <a:endParaRPr lang="en-US" sz="1400" dirty="0">
                <a:solidFill>
                  <a:srgbClr val="000000"/>
                </a:solidFill>
                <a:cs typeface="Arial" pitchFamily="34" charset="0"/>
              </a:endParaRPr>
            </a:p>
          </p:txBody>
        </p:sp>
        <p:sp>
          <p:nvSpPr>
            <p:cNvPr id="54" name="Rectangle 53"/>
            <p:cNvSpPr/>
            <p:nvPr/>
          </p:nvSpPr>
          <p:spPr>
            <a:xfrm>
              <a:off x="397072" y="3409860"/>
              <a:ext cx="2559600" cy="466465"/>
            </a:xfrm>
            <a:prstGeom prst="rect">
              <a:avLst/>
            </a:prstGeom>
            <a:ln/>
            <a:effectLst/>
          </p:spPr>
          <p:style>
            <a:lnRef idx="1">
              <a:schemeClr val="accent2"/>
            </a:lnRef>
            <a:fillRef idx="3">
              <a:schemeClr val="accent2"/>
            </a:fillRef>
            <a:effectRef idx="2">
              <a:schemeClr val="accent2"/>
            </a:effectRef>
            <a:fontRef idx="minor">
              <a:schemeClr val="lt1"/>
            </a:fontRef>
          </p:style>
          <p:txBody>
            <a:bodyPr wrap="square" anchor="ctr">
              <a:noAutofit/>
            </a:bodyPr>
            <a:lstStyle/>
            <a:p>
              <a:pPr algn="ctr"/>
              <a:r>
                <a:rPr lang="en-US" sz="1400" b="1" dirty="0" smtClean="0">
                  <a:solidFill>
                    <a:srgbClr val="FFFFFF"/>
                  </a:solidFill>
                  <a:cs typeface="Arial" pitchFamily="34" charset="0"/>
                </a:rPr>
                <a:t>1. Brand centric evaluation</a:t>
              </a:r>
              <a:endParaRPr lang="en-US" sz="1400" dirty="0">
                <a:solidFill>
                  <a:srgbClr val="FFFFFF"/>
                </a:solidFill>
                <a:cs typeface="Arial" pitchFamily="34" charset="0"/>
              </a:endParaRPr>
            </a:p>
          </p:txBody>
        </p:sp>
        <p:sp>
          <p:nvSpPr>
            <p:cNvPr id="34" name="TextBox 33"/>
            <p:cNvSpPr txBox="1"/>
            <p:nvPr/>
          </p:nvSpPr>
          <p:spPr>
            <a:xfrm>
              <a:off x="5925383" y="3999060"/>
              <a:ext cx="209994" cy="215444"/>
            </a:xfrm>
            <a:prstGeom prst="rect">
              <a:avLst/>
            </a:prstGeom>
            <a:noFill/>
          </p:spPr>
          <p:txBody>
            <a:bodyPr wrap="none" lIns="0" tIns="0" rIns="0" bIns="0" rtlCol="0" anchor="ctr" anchorCtr="1">
              <a:spAutoFit/>
            </a:bodyPr>
            <a:lstStyle/>
            <a:p>
              <a:r>
                <a:rPr lang="en-US" sz="1400" b="1" dirty="0" smtClean="0">
                  <a:solidFill>
                    <a:schemeClr val="tx2"/>
                  </a:solidFill>
                </a:rPr>
                <a:t>Or</a:t>
              </a:r>
              <a:endParaRPr lang="en-GB" sz="1400" b="1" dirty="0">
                <a:solidFill>
                  <a:schemeClr val="tx2"/>
                </a:solidFill>
              </a:endParaRPr>
            </a:p>
          </p:txBody>
        </p:sp>
      </p:grpSp>
      <p:sp>
        <p:nvSpPr>
          <p:cNvPr id="39" name="Text Box 80"/>
          <p:cNvSpPr txBox="1">
            <a:spLocks noChangeArrowheads="1"/>
          </p:cNvSpPr>
          <p:nvPr/>
        </p:nvSpPr>
        <p:spPr bwMode="auto">
          <a:xfrm>
            <a:off x="7685074"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a:t>
            </a:r>
            <a:r>
              <a:rPr lang="en-US" sz="900" dirty="0" smtClean="0">
                <a:solidFill>
                  <a:srgbClr val="517496"/>
                </a:solidFill>
              </a:rPr>
              <a:t>Sullivan</a:t>
            </a:r>
            <a:endParaRPr lang="en-US" sz="900" dirty="0">
              <a:solidFill>
                <a:srgbClr val="517496"/>
              </a:solidFill>
            </a:endParaRPr>
          </a:p>
        </p:txBody>
      </p:sp>
    </p:spTree>
    <p:extLst>
      <p:ext uri="{BB962C8B-B14F-4D97-AF65-F5344CB8AC3E}">
        <p14:creationId xmlns:p14="http://schemas.microsoft.com/office/powerpoint/2010/main" val="269147199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161"/>
          <p:cNvGraphicFramePr>
            <a:graphicFrameLocks noChangeAspect="1"/>
          </p:cNvGraphicFramePr>
          <p:nvPr>
            <p:extLst>
              <p:ext uri="{D42A27DB-BD31-4B8C-83A1-F6EECF244321}">
                <p14:modId xmlns:p14="http://schemas.microsoft.com/office/powerpoint/2010/main" val="3552198955"/>
              </p:ext>
            </p:extLst>
          </p:nvPr>
        </p:nvGraphicFramePr>
        <p:xfrm>
          <a:off x="-326136" y="1268760"/>
          <a:ext cx="2057399" cy="47519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Object 161"/>
          <p:cNvGraphicFramePr>
            <a:graphicFrameLocks noChangeAspect="1"/>
          </p:cNvGraphicFramePr>
          <p:nvPr>
            <p:extLst>
              <p:ext uri="{D42A27DB-BD31-4B8C-83A1-F6EECF244321}">
                <p14:modId xmlns:p14="http://schemas.microsoft.com/office/powerpoint/2010/main" val="3055835004"/>
              </p:ext>
            </p:extLst>
          </p:nvPr>
        </p:nvGraphicFramePr>
        <p:xfrm>
          <a:off x="7232905" y="1274856"/>
          <a:ext cx="2057399" cy="475198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Object 163"/>
          <p:cNvGraphicFramePr>
            <a:graphicFrameLocks noChangeAspect="1"/>
          </p:cNvGraphicFramePr>
          <p:nvPr>
            <p:extLst>
              <p:ext uri="{D42A27DB-BD31-4B8C-83A1-F6EECF244321}">
                <p14:modId xmlns:p14="http://schemas.microsoft.com/office/powerpoint/2010/main" val="3479439127"/>
              </p:ext>
            </p:extLst>
          </p:nvPr>
        </p:nvGraphicFramePr>
        <p:xfrm>
          <a:off x="1367028" y="1619138"/>
          <a:ext cx="6409944" cy="4407702"/>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 Box 60"/>
          <p:cNvSpPr txBox="1">
            <a:spLocks noChangeArrowheads="1"/>
          </p:cNvSpPr>
          <p:nvPr/>
        </p:nvSpPr>
        <p:spPr bwMode="auto">
          <a:xfrm rot="-5400000">
            <a:off x="851527" y="4795883"/>
            <a:ext cx="883254" cy="138499"/>
          </a:xfrm>
          <a:prstGeom prst="rect">
            <a:avLst/>
          </a:prstGeom>
          <a:noFill/>
          <a:ln w="9525" algn="ctr">
            <a:noFill/>
            <a:miter lim="800000"/>
            <a:headEnd/>
            <a:tailEnd/>
          </a:ln>
        </p:spPr>
        <p:txBody>
          <a:bodyPr wrap="none" lIns="0" tIns="0" rIns="0" bIns="0">
            <a:spAutoFit/>
          </a:bodyPr>
          <a:lstStyle/>
          <a:p>
            <a:pPr algn="ctr">
              <a:lnSpc>
                <a:spcPct val="90000"/>
              </a:lnSpc>
              <a:spcBef>
                <a:spcPct val="20000"/>
              </a:spcBef>
              <a:buSzPct val="75000"/>
            </a:pPr>
            <a:r>
              <a:rPr lang="en-GB" sz="1000" b="1" dirty="0">
                <a:solidFill>
                  <a:srgbClr val="000000"/>
                </a:solidFill>
              </a:rPr>
              <a:t> Units (Million)</a:t>
            </a:r>
          </a:p>
        </p:txBody>
      </p:sp>
      <p:sp>
        <p:nvSpPr>
          <p:cNvPr id="19" name="Text Box 35"/>
          <p:cNvSpPr txBox="1">
            <a:spLocks noChangeArrowheads="1"/>
          </p:cNvSpPr>
          <p:nvPr/>
        </p:nvSpPr>
        <p:spPr bwMode="auto">
          <a:xfrm>
            <a:off x="2689518" y="4025641"/>
            <a:ext cx="598303"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FFFFFF"/>
                </a:solidFill>
              </a:rPr>
              <a:t>China </a:t>
            </a:r>
            <a:r>
              <a:rPr lang="en-GB" sz="900" b="1" dirty="0" smtClean="0">
                <a:solidFill>
                  <a:srgbClr val="FFFFFF"/>
                </a:solidFill>
              </a:rPr>
              <a:t>26</a:t>
            </a:r>
            <a:endParaRPr lang="en-GB" sz="900" b="1" dirty="0">
              <a:solidFill>
                <a:srgbClr val="FFFFFF"/>
              </a:solidFill>
            </a:endParaRPr>
          </a:p>
        </p:txBody>
      </p:sp>
      <p:sp>
        <p:nvSpPr>
          <p:cNvPr id="20" name="Text Box 37"/>
          <p:cNvSpPr txBox="1">
            <a:spLocks noChangeArrowheads="1"/>
          </p:cNvSpPr>
          <p:nvPr/>
        </p:nvSpPr>
        <p:spPr bwMode="auto">
          <a:xfrm>
            <a:off x="2702511" y="3089686"/>
            <a:ext cx="572316"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FFFFFF"/>
                </a:solidFill>
              </a:rPr>
              <a:t>Japan </a:t>
            </a:r>
            <a:r>
              <a:rPr lang="en-GB" sz="900" b="1" dirty="0" smtClean="0">
                <a:solidFill>
                  <a:srgbClr val="FFFFFF"/>
                </a:solidFill>
              </a:rPr>
              <a:t>4.9</a:t>
            </a:r>
            <a:endParaRPr lang="en-GB" sz="900" b="1" dirty="0">
              <a:solidFill>
                <a:srgbClr val="FFFFFF"/>
              </a:solidFill>
            </a:endParaRPr>
          </a:p>
        </p:txBody>
      </p:sp>
      <p:sp>
        <p:nvSpPr>
          <p:cNvPr id="21" name="Text Box 37"/>
          <p:cNvSpPr txBox="1">
            <a:spLocks noChangeArrowheads="1"/>
          </p:cNvSpPr>
          <p:nvPr/>
        </p:nvSpPr>
        <p:spPr bwMode="auto">
          <a:xfrm>
            <a:off x="2646976" y="2833336"/>
            <a:ext cx="701675" cy="124650"/>
          </a:xfrm>
          <a:prstGeom prst="rect">
            <a:avLst/>
          </a:prstGeom>
          <a:noFill/>
          <a:ln w="9525" algn="ctr">
            <a:noFill/>
            <a:miter lim="800000"/>
            <a:headEnd/>
            <a:tailEnd/>
          </a:ln>
        </p:spPr>
        <p:txBody>
          <a:bodyPr lIns="0" tIns="0" rIns="0" bIns="0">
            <a:spAutoFit/>
          </a:bodyPr>
          <a:lstStyle/>
          <a:p>
            <a:pPr algn="ctr">
              <a:lnSpc>
                <a:spcPct val="90000"/>
              </a:lnSpc>
              <a:buSzPct val="75000"/>
            </a:pPr>
            <a:r>
              <a:rPr lang="en-GB" sz="900" b="1" dirty="0">
                <a:solidFill>
                  <a:srgbClr val="000000"/>
                </a:solidFill>
              </a:rPr>
              <a:t>India </a:t>
            </a:r>
            <a:r>
              <a:rPr lang="en-GB" sz="900" b="1" dirty="0" smtClean="0">
                <a:solidFill>
                  <a:srgbClr val="000000"/>
                </a:solidFill>
              </a:rPr>
              <a:t>3.3</a:t>
            </a:r>
            <a:endParaRPr lang="en-GB" sz="900" b="1" dirty="0">
              <a:solidFill>
                <a:srgbClr val="000000"/>
              </a:solidFill>
            </a:endParaRPr>
          </a:p>
        </p:txBody>
      </p:sp>
      <p:sp>
        <p:nvSpPr>
          <p:cNvPr id="22" name="Text Box 37"/>
          <p:cNvSpPr txBox="1">
            <a:spLocks noChangeArrowheads="1"/>
          </p:cNvSpPr>
          <p:nvPr/>
        </p:nvSpPr>
        <p:spPr bwMode="auto">
          <a:xfrm>
            <a:off x="2760797" y="2137144"/>
            <a:ext cx="468078"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smtClean="0">
                <a:solidFill>
                  <a:srgbClr val="000000"/>
                </a:solidFill>
              </a:rPr>
              <a:t>Other4.0</a:t>
            </a:r>
            <a:endParaRPr lang="en-GB" sz="900" b="1" dirty="0">
              <a:solidFill>
                <a:srgbClr val="000000"/>
              </a:solidFill>
            </a:endParaRPr>
          </a:p>
        </p:txBody>
      </p:sp>
      <p:sp>
        <p:nvSpPr>
          <p:cNvPr id="23" name="Text Box 37"/>
          <p:cNvSpPr txBox="1">
            <a:spLocks noChangeArrowheads="1"/>
          </p:cNvSpPr>
          <p:nvPr/>
        </p:nvSpPr>
        <p:spPr bwMode="auto">
          <a:xfrm>
            <a:off x="3362487" y="2687708"/>
            <a:ext cx="896359"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cs typeface="Arial" pitchFamily="34" charset="0"/>
              </a:rPr>
              <a:t>South Korea </a:t>
            </a:r>
            <a:r>
              <a:rPr lang="en-GB" sz="900" b="1" dirty="0" smtClean="0">
                <a:solidFill>
                  <a:srgbClr val="000000"/>
                </a:solidFill>
                <a:cs typeface="Arial" pitchFamily="34" charset="0"/>
              </a:rPr>
              <a:t>1.7</a:t>
            </a:r>
            <a:endParaRPr lang="en-GB" sz="900" b="1" dirty="0">
              <a:solidFill>
                <a:srgbClr val="000000"/>
              </a:solidFill>
              <a:cs typeface="Arial" pitchFamily="34" charset="0"/>
            </a:endParaRPr>
          </a:p>
        </p:txBody>
      </p:sp>
      <p:sp>
        <p:nvSpPr>
          <p:cNvPr id="24" name="Text Box 38"/>
          <p:cNvSpPr txBox="1">
            <a:spLocks noChangeArrowheads="1"/>
          </p:cNvSpPr>
          <p:nvPr/>
        </p:nvSpPr>
        <p:spPr bwMode="auto">
          <a:xfrm>
            <a:off x="3521563" y="4458317"/>
            <a:ext cx="698500"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FFFFFF"/>
                </a:solidFill>
              </a:rPr>
              <a:t>Russia 2.8</a:t>
            </a:r>
          </a:p>
        </p:txBody>
      </p:sp>
      <p:sp>
        <p:nvSpPr>
          <p:cNvPr id="25" name="Text Box 38"/>
          <p:cNvSpPr txBox="1">
            <a:spLocks noChangeArrowheads="1"/>
          </p:cNvSpPr>
          <p:nvPr/>
        </p:nvSpPr>
        <p:spPr bwMode="auto">
          <a:xfrm>
            <a:off x="3347864" y="4946720"/>
            <a:ext cx="816996"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Others </a:t>
            </a:r>
            <a:r>
              <a:rPr lang="en-GB" sz="900" b="1" dirty="0" smtClean="0">
                <a:solidFill>
                  <a:srgbClr val="000000"/>
                </a:solidFill>
              </a:rPr>
              <a:t>1</a:t>
            </a:r>
            <a:endParaRPr lang="en-GB" sz="900" b="1" dirty="0">
              <a:solidFill>
                <a:srgbClr val="000000"/>
              </a:solidFill>
            </a:endParaRPr>
          </a:p>
        </p:txBody>
      </p:sp>
      <p:sp>
        <p:nvSpPr>
          <p:cNvPr id="26" name="Text Box 41"/>
          <p:cNvSpPr txBox="1">
            <a:spLocks noChangeArrowheads="1"/>
          </p:cNvSpPr>
          <p:nvPr/>
        </p:nvSpPr>
        <p:spPr bwMode="auto">
          <a:xfrm>
            <a:off x="3851920" y="4946720"/>
            <a:ext cx="914400" cy="124650"/>
          </a:xfrm>
          <a:prstGeom prst="rect">
            <a:avLst/>
          </a:prstGeom>
          <a:noFill/>
          <a:ln w="9525" algn="ctr">
            <a:noFill/>
            <a:miter lim="800000"/>
            <a:headEnd/>
            <a:tailEnd/>
          </a:ln>
        </p:spPr>
        <p:txBody>
          <a:bodyPr lIns="0" tIns="0" rIns="0" bIns="0">
            <a:spAutoFit/>
          </a:bodyPr>
          <a:lstStyle/>
          <a:p>
            <a:pPr algn="ctr">
              <a:lnSpc>
                <a:spcPct val="90000"/>
              </a:lnSpc>
              <a:buSzPct val="75000"/>
            </a:pPr>
            <a:r>
              <a:rPr lang="en-GB" sz="900" b="1" dirty="0">
                <a:solidFill>
                  <a:srgbClr val="000000"/>
                </a:solidFill>
              </a:rPr>
              <a:t>Poland </a:t>
            </a:r>
            <a:r>
              <a:rPr lang="en-GB" sz="900" b="1" dirty="0" smtClean="0">
                <a:solidFill>
                  <a:srgbClr val="000000"/>
                </a:solidFill>
              </a:rPr>
              <a:t>0.4</a:t>
            </a:r>
            <a:endParaRPr lang="en-GB" sz="900" b="1" dirty="0">
              <a:solidFill>
                <a:srgbClr val="000000"/>
              </a:solidFill>
            </a:endParaRPr>
          </a:p>
        </p:txBody>
      </p:sp>
      <p:sp>
        <p:nvSpPr>
          <p:cNvPr id="27" name="Line 40"/>
          <p:cNvSpPr>
            <a:spLocks noChangeShapeType="1"/>
          </p:cNvSpPr>
          <p:nvPr/>
        </p:nvSpPr>
        <p:spPr bwMode="auto">
          <a:xfrm flipH="1">
            <a:off x="4056136" y="5053400"/>
            <a:ext cx="222504" cy="167640"/>
          </a:xfrm>
          <a:prstGeom prst="line">
            <a:avLst/>
          </a:prstGeom>
          <a:noFill/>
          <a:ln w="9525">
            <a:solidFill>
              <a:schemeClr val="tx1"/>
            </a:solidFill>
            <a:round/>
            <a:headEnd type="diamond" w="med" len="med"/>
            <a:tailEnd type="triangle" w="med" len="med"/>
          </a:ln>
        </p:spPr>
        <p:txBody>
          <a:bodyPr/>
          <a:lstStyle/>
          <a:p>
            <a:endParaRPr lang="en-GB" dirty="0">
              <a:solidFill>
                <a:srgbClr val="000000"/>
              </a:solidFill>
            </a:endParaRPr>
          </a:p>
        </p:txBody>
      </p:sp>
      <p:sp>
        <p:nvSpPr>
          <p:cNvPr id="28" name="Text Box 41"/>
          <p:cNvSpPr txBox="1">
            <a:spLocks noChangeArrowheads="1"/>
          </p:cNvSpPr>
          <p:nvPr/>
        </p:nvSpPr>
        <p:spPr bwMode="auto">
          <a:xfrm>
            <a:off x="3422974" y="4310594"/>
            <a:ext cx="914400" cy="124650"/>
          </a:xfrm>
          <a:prstGeom prst="rect">
            <a:avLst/>
          </a:prstGeom>
          <a:noFill/>
          <a:ln w="9525" algn="ctr">
            <a:noFill/>
            <a:miter lim="800000"/>
            <a:headEnd/>
            <a:tailEnd/>
          </a:ln>
        </p:spPr>
        <p:txBody>
          <a:bodyPr lIns="0" tIns="0" rIns="0" bIns="0">
            <a:spAutoFit/>
          </a:bodyPr>
          <a:lstStyle/>
          <a:p>
            <a:pPr algn="ctr">
              <a:lnSpc>
                <a:spcPct val="90000"/>
              </a:lnSpc>
              <a:buSzPct val="75000"/>
            </a:pPr>
            <a:r>
              <a:rPr lang="en-GB" sz="900" b="1" dirty="0">
                <a:solidFill>
                  <a:srgbClr val="FFFFFF"/>
                </a:solidFill>
              </a:rPr>
              <a:t>Turkey 0.8</a:t>
            </a:r>
          </a:p>
        </p:txBody>
      </p:sp>
      <p:sp>
        <p:nvSpPr>
          <p:cNvPr id="29" name="Text Box 45"/>
          <p:cNvSpPr txBox="1">
            <a:spLocks noChangeArrowheads="1"/>
          </p:cNvSpPr>
          <p:nvPr/>
        </p:nvSpPr>
        <p:spPr bwMode="auto">
          <a:xfrm>
            <a:off x="5220072" y="3699286"/>
            <a:ext cx="768350" cy="124650"/>
          </a:xfrm>
          <a:prstGeom prst="rect">
            <a:avLst/>
          </a:prstGeom>
          <a:noFill/>
          <a:ln w="9525" algn="ctr">
            <a:noFill/>
            <a:miter lim="800000"/>
            <a:headEnd/>
            <a:tailEnd/>
          </a:ln>
        </p:spPr>
        <p:txBody>
          <a:bodyPr lIns="0" tIns="0" rIns="0" bIns="0">
            <a:spAutoFit/>
          </a:bodyPr>
          <a:lstStyle/>
          <a:p>
            <a:pPr algn="ctr">
              <a:lnSpc>
                <a:spcPct val="90000"/>
              </a:lnSpc>
              <a:buSzPct val="75000"/>
            </a:pPr>
            <a:r>
              <a:rPr lang="en-GB" sz="900" b="1" dirty="0">
                <a:solidFill>
                  <a:srgbClr val="000000"/>
                </a:solidFill>
              </a:rPr>
              <a:t>Mexico </a:t>
            </a:r>
            <a:r>
              <a:rPr lang="en-GB" sz="900" b="1" dirty="0" smtClean="0">
                <a:solidFill>
                  <a:srgbClr val="000000"/>
                </a:solidFill>
              </a:rPr>
              <a:t>1.4</a:t>
            </a:r>
            <a:endParaRPr lang="en-GB" sz="900" b="1" dirty="0">
              <a:solidFill>
                <a:srgbClr val="000000"/>
              </a:solidFill>
            </a:endParaRPr>
          </a:p>
        </p:txBody>
      </p:sp>
      <p:sp>
        <p:nvSpPr>
          <p:cNvPr id="30" name="Text Box 45"/>
          <p:cNvSpPr txBox="1">
            <a:spLocks noChangeArrowheads="1"/>
          </p:cNvSpPr>
          <p:nvPr/>
        </p:nvSpPr>
        <p:spPr bwMode="auto">
          <a:xfrm>
            <a:off x="5248726" y="3470975"/>
            <a:ext cx="723900"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FFFFFF"/>
                </a:solidFill>
              </a:rPr>
              <a:t>Canada 1.8</a:t>
            </a:r>
          </a:p>
        </p:txBody>
      </p:sp>
      <p:sp>
        <p:nvSpPr>
          <p:cNvPr id="31" name="Text Box 38"/>
          <p:cNvSpPr txBox="1">
            <a:spLocks noChangeArrowheads="1"/>
          </p:cNvSpPr>
          <p:nvPr/>
        </p:nvSpPr>
        <p:spPr bwMode="auto">
          <a:xfrm>
            <a:off x="5353394" y="4534038"/>
            <a:ext cx="500138"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a:solidFill>
                  <a:srgbClr val="FFFFFF"/>
                </a:solidFill>
              </a:rPr>
              <a:t>USA </a:t>
            </a:r>
            <a:r>
              <a:rPr lang="en-GB" sz="900" b="1" dirty="0" smtClean="0">
                <a:solidFill>
                  <a:srgbClr val="FFFFFF"/>
                </a:solidFill>
              </a:rPr>
              <a:t>18.6</a:t>
            </a:r>
            <a:endParaRPr lang="en-GB" sz="900" b="1" dirty="0">
              <a:solidFill>
                <a:srgbClr val="FFFFFF"/>
              </a:solidFill>
            </a:endParaRPr>
          </a:p>
        </p:txBody>
      </p:sp>
      <p:sp>
        <p:nvSpPr>
          <p:cNvPr id="32" name="Text Box 46"/>
          <p:cNvSpPr txBox="1">
            <a:spLocks noChangeArrowheads="1"/>
          </p:cNvSpPr>
          <p:nvPr/>
        </p:nvSpPr>
        <p:spPr bwMode="auto">
          <a:xfrm>
            <a:off x="6102096" y="4415715"/>
            <a:ext cx="723900" cy="103875"/>
          </a:xfrm>
          <a:prstGeom prst="rect">
            <a:avLst/>
          </a:prstGeom>
          <a:noFill/>
          <a:ln w="9525" algn="ctr">
            <a:noFill/>
            <a:miter lim="800000"/>
            <a:headEnd/>
            <a:tailEnd/>
          </a:ln>
        </p:spPr>
        <p:txBody>
          <a:bodyPr wrap="square" lIns="0" tIns="0" rIns="0" bIns="0">
            <a:spAutoFit/>
          </a:bodyPr>
          <a:lstStyle/>
          <a:p>
            <a:pPr algn="ctr">
              <a:lnSpc>
                <a:spcPct val="75000"/>
              </a:lnSpc>
              <a:buSzPct val="75000"/>
            </a:pPr>
            <a:r>
              <a:rPr lang="en-GB" sz="900" b="1" dirty="0">
                <a:solidFill>
                  <a:srgbClr val="FFFFFF"/>
                </a:solidFill>
              </a:rPr>
              <a:t>Brazil 3.9</a:t>
            </a:r>
          </a:p>
        </p:txBody>
      </p:sp>
      <p:sp>
        <p:nvSpPr>
          <p:cNvPr id="33" name="Text Box 41"/>
          <p:cNvSpPr txBox="1">
            <a:spLocks noChangeArrowheads="1"/>
          </p:cNvSpPr>
          <p:nvPr/>
        </p:nvSpPr>
        <p:spPr bwMode="auto">
          <a:xfrm>
            <a:off x="6149657" y="4514672"/>
            <a:ext cx="571500" cy="249299"/>
          </a:xfrm>
          <a:prstGeom prst="rect">
            <a:avLst/>
          </a:prstGeom>
          <a:noFill/>
          <a:ln w="9525" algn="ctr">
            <a:noFill/>
            <a:miter lim="800000"/>
            <a:headEnd/>
            <a:tailEnd/>
          </a:ln>
        </p:spPr>
        <p:txBody>
          <a:bodyPr lIns="0" tIns="0" rIns="0" bIns="0">
            <a:spAutoFit/>
          </a:bodyPr>
          <a:lstStyle/>
          <a:p>
            <a:pPr algn="ctr">
              <a:lnSpc>
                <a:spcPct val="90000"/>
              </a:lnSpc>
              <a:buSzPct val="75000"/>
            </a:pPr>
            <a:r>
              <a:rPr lang="en-GB" sz="900" b="1" dirty="0">
                <a:solidFill>
                  <a:srgbClr val="000000"/>
                </a:solidFill>
              </a:rPr>
              <a:t>Argentina</a:t>
            </a:r>
          </a:p>
          <a:p>
            <a:pPr algn="ctr">
              <a:lnSpc>
                <a:spcPct val="90000"/>
              </a:lnSpc>
              <a:buSzPct val="75000"/>
            </a:pPr>
            <a:r>
              <a:rPr lang="en-GB" sz="900" b="1" dirty="0" smtClean="0">
                <a:solidFill>
                  <a:srgbClr val="000000"/>
                </a:solidFill>
              </a:rPr>
              <a:t>0.6</a:t>
            </a:r>
            <a:endParaRPr lang="en-GB" sz="900" b="1" dirty="0">
              <a:solidFill>
                <a:srgbClr val="000000"/>
              </a:solidFill>
            </a:endParaRPr>
          </a:p>
        </p:txBody>
      </p:sp>
      <p:cxnSp>
        <p:nvCxnSpPr>
          <p:cNvPr id="34" name="AutoShape 74"/>
          <p:cNvCxnSpPr>
            <a:cxnSpLocks noChangeShapeType="1"/>
          </p:cNvCxnSpPr>
          <p:nvPr/>
        </p:nvCxnSpPr>
        <p:spPr bwMode="auto">
          <a:xfrm rot="10800000" flipH="1" flipV="1">
            <a:off x="6096000" y="4545152"/>
            <a:ext cx="85725" cy="542925"/>
          </a:xfrm>
          <a:prstGeom prst="bentConnector4">
            <a:avLst>
              <a:gd name="adj1" fmla="val -164819"/>
              <a:gd name="adj2" fmla="val 100292"/>
            </a:avLst>
          </a:prstGeom>
          <a:noFill/>
          <a:ln w="9525">
            <a:solidFill>
              <a:schemeClr val="tx1"/>
            </a:solidFill>
            <a:round/>
            <a:headEnd type="diamond" w="med" len="med"/>
            <a:tailEnd type="triangle" w="med" len="med"/>
          </a:ln>
        </p:spPr>
      </p:cxnSp>
      <p:sp>
        <p:nvSpPr>
          <p:cNvPr id="35" name="Text Box 38"/>
          <p:cNvSpPr txBox="1">
            <a:spLocks noChangeArrowheads="1"/>
          </p:cNvSpPr>
          <p:nvPr/>
        </p:nvSpPr>
        <p:spPr bwMode="auto">
          <a:xfrm>
            <a:off x="7073098" y="4318014"/>
            <a:ext cx="564257"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a:solidFill>
                  <a:schemeClr val="bg1"/>
                </a:solidFill>
              </a:rPr>
              <a:t>Others </a:t>
            </a:r>
            <a:r>
              <a:rPr lang="en-GB" sz="900" b="1" dirty="0" smtClean="0">
                <a:solidFill>
                  <a:schemeClr val="bg1"/>
                </a:solidFill>
              </a:rPr>
              <a:t>3.2</a:t>
            </a:r>
            <a:endParaRPr lang="en-GB" sz="900" b="1" dirty="0">
              <a:solidFill>
                <a:schemeClr val="bg1"/>
              </a:solidFill>
            </a:endParaRPr>
          </a:p>
        </p:txBody>
      </p:sp>
      <p:sp>
        <p:nvSpPr>
          <p:cNvPr id="36" name="Text Box 38"/>
          <p:cNvSpPr txBox="1">
            <a:spLocks noChangeArrowheads="1"/>
          </p:cNvSpPr>
          <p:nvPr/>
        </p:nvSpPr>
        <p:spPr bwMode="auto">
          <a:xfrm>
            <a:off x="7059259" y="4966086"/>
            <a:ext cx="570669"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a:solidFill>
                  <a:srgbClr val="FFFFFF"/>
                </a:solidFill>
              </a:rPr>
              <a:t>France </a:t>
            </a:r>
            <a:r>
              <a:rPr lang="en-GB" sz="900" b="1" dirty="0" smtClean="0">
                <a:solidFill>
                  <a:srgbClr val="FFFFFF"/>
                </a:solidFill>
              </a:rPr>
              <a:t>2.3</a:t>
            </a:r>
            <a:endParaRPr lang="en-GB" sz="900" b="1" dirty="0">
              <a:solidFill>
                <a:srgbClr val="FFFFFF"/>
              </a:solidFill>
            </a:endParaRPr>
          </a:p>
        </p:txBody>
      </p:sp>
      <p:sp>
        <p:nvSpPr>
          <p:cNvPr id="37" name="Text Box 38"/>
          <p:cNvSpPr txBox="1">
            <a:spLocks noChangeArrowheads="1"/>
          </p:cNvSpPr>
          <p:nvPr/>
        </p:nvSpPr>
        <p:spPr bwMode="auto">
          <a:xfrm>
            <a:off x="7010400" y="5157169"/>
            <a:ext cx="595940" cy="221599"/>
          </a:xfrm>
          <a:prstGeom prst="rect">
            <a:avLst/>
          </a:prstGeom>
          <a:noFill/>
          <a:ln w="9525" algn="ctr">
            <a:noFill/>
            <a:miter lim="800000"/>
            <a:headEnd/>
            <a:tailEnd/>
          </a:ln>
        </p:spPr>
        <p:txBody>
          <a:bodyPr wrap="square" lIns="0" tIns="0" rIns="0" bIns="0">
            <a:spAutoFit/>
          </a:bodyPr>
          <a:lstStyle>
            <a:defPPr>
              <a:defRPr lang="en-US"/>
            </a:defPPr>
            <a:lvl1pPr algn="ctr">
              <a:lnSpc>
                <a:spcPct val="80000"/>
              </a:lnSpc>
              <a:buSzPct val="75000"/>
              <a:defRPr sz="800">
                <a:solidFill>
                  <a:schemeClr val="bg1"/>
                </a:solidFill>
              </a:defRPr>
            </a:lvl1pPr>
          </a:lstStyle>
          <a:p>
            <a:r>
              <a:rPr lang="en-GB" sz="900" b="1" dirty="0">
                <a:solidFill>
                  <a:srgbClr val="FFFFFF"/>
                </a:solidFill>
              </a:rPr>
              <a:t>Germany </a:t>
            </a:r>
            <a:r>
              <a:rPr lang="en-GB" sz="900" b="1" dirty="0" smtClean="0">
                <a:solidFill>
                  <a:srgbClr val="FFFFFF"/>
                </a:solidFill>
              </a:rPr>
              <a:t>3.5</a:t>
            </a:r>
            <a:endParaRPr lang="en-GB" sz="900" b="1" dirty="0">
              <a:solidFill>
                <a:srgbClr val="FFFFFF"/>
              </a:solidFill>
            </a:endParaRPr>
          </a:p>
        </p:txBody>
      </p:sp>
      <p:sp>
        <p:nvSpPr>
          <p:cNvPr id="38" name="Text Box 38"/>
          <p:cNvSpPr txBox="1">
            <a:spLocks noChangeArrowheads="1"/>
          </p:cNvSpPr>
          <p:nvPr/>
        </p:nvSpPr>
        <p:spPr bwMode="auto">
          <a:xfrm>
            <a:off x="6974478" y="4842286"/>
            <a:ext cx="762000"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Italy </a:t>
            </a:r>
            <a:r>
              <a:rPr lang="en-GB" sz="900" b="1" dirty="0" smtClean="0">
                <a:solidFill>
                  <a:srgbClr val="000000"/>
                </a:solidFill>
              </a:rPr>
              <a:t>1.8</a:t>
            </a:r>
            <a:endParaRPr lang="en-GB" sz="900" b="1" dirty="0">
              <a:solidFill>
                <a:srgbClr val="000000"/>
              </a:solidFill>
            </a:endParaRPr>
          </a:p>
        </p:txBody>
      </p:sp>
      <p:sp>
        <p:nvSpPr>
          <p:cNvPr id="39" name="Text Box 38"/>
          <p:cNvSpPr txBox="1">
            <a:spLocks noChangeArrowheads="1"/>
          </p:cNvSpPr>
          <p:nvPr/>
        </p:nvSpPr>
        <p:spPr bwMode="auto">
          <a:xfrm>
            <a:off x="6657738" y="4653211"/>
            <a:ext cx="506550"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a:solidFill>
                  <a:srgbClr val="000000"/>
                </a:solidFill>
              </a:rPr>
              <a:t>Spain </a:t>
            </a:r>
            <a:r>
              <a:rPr lang="en-GB" sz="900" b="1" dirty="0" smtClean="0">
                <a:solidFill>
                  <a:srgbClr val="000000"/>
                </a:solidFill>
              </a:rPr>
              <a:t>1.3</a:t>
            </a:r>
            <a:endParaRPr lang="en-GB" sz="900" b="1" dirty="0">
              <a:solidFill>
                <a:srgbClr val="000000"/>
              </a:solidFill>
            </a:endParaRPr>
          </a:p>
        </p:txBody>
      </p:sp>
      <p:sp>
        <p:nvSpPr>
          <p:cNvPr id="40" name="Text Box 38"/>
          <p:cNvSpPr txBox="1">
            <a:spLocks noChangeArrowheads="1"/>
          </p:cNvSpPr>
          <p:nvPr/>
        </p:nvSpPr>
        <p:spPr bwMode="auto">
          <a:xfrm>
            <a:off x="7175941" y="4534038"/>
            <a:ext cx="359074"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a:solidFill>
                  <a:srgbClr val="000000"/>
                </a:solidFill>
              </a:rPr>
              <a:t>UK </a:t>
            </a:r>
            <a:r>
              <a:rPr lang="en-GB" sz="900" b="1" dirty="0" smtClean="0">
                <a:solidFill>
                  <a:srgbClr val="000000"/>
                </a:solidFill>
              </a:rPr>
              <a:t>2.8</a:t>
            </a:r>
            <a:endParaRPr lang="en-GB" sz="900" b="1" dirty="0">
              <a:solidFill>
                <a:srgbClr val="000000"/>
              </a:solidFill>
            </a:endParaRPr>
          </a:p>
        </p:txBody>
      </p:sp>
      <p:sp>
        <p:nvSpPr>
          <p:cNvPr id="41" name="Text Box 37"/>
          <p:cNvSpPr txBox="1">
            <a:spLocks noChangeArrowheads="1"/>
          </p:cNvSpPr>
          <p:nvPr/>
        </p:nvSpPr>
        <p:spPr bwMode="auto">
          <a:xfrm>
            <a:off x="3318581" y="2329611"/>
            <a:ext cx="730969"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a:solidFill>
                  <a:srgbClr val="000000"/>
                </a:solidFill>
                <a:cs typeface="Arial" pitchFamily="34" charset="0"/>
              </a:rPr>
              <a:t>Indonesia </a:t>
            </a:r>
            <a:r>
              <a:rPr lang="en-GB" sz="900" b="1" dirty="0" smtClean="0">
                <a:solidFill>
                  <a:srgbClr val="000000"/>
                </a:solidFill>
                <a:cs typeface="Arial" pitchFamily="34" charset="0"/>
              </a:rPr>
              <a:t>0.7</a:t>
            </a:r>
            <a:endParaRPr lang="en-GB" sz="900" b="1" dirty="0">
              <a:solidFill>
                <a:srgbClr val="000000"/>
              </a:solidFill>
              <a:cs typeface="Arial" pitchFamily="34" charset="0"/>
            </a:endParaRPr>
          </a:p>
        </p:txBody>
      </p:sp>
      <p:sp>
        <p:nvSpPr>
          <p:cNvPr id="43" name="Text Box 46"/>
          <p:cNvSpPr txBox="1">
            <a:spLocks noChangeArrowheads="1"/>
          </p:cNvSpPr>
          <p:nvPr/>
        </p:nvSpPr>
        <p:spPr bwMode="auto">
          <a:xfrm>
            <a:off x="6134100" y="5015461"/>
            <a:ext cx="723900" cy="103875"/>
          </a:xfrm>
          <a:prstGeom prst="rect">
            <a:avLst/>
          </a:prstGeom>
          <a:noFill/>
          <a:ln w="9525" algn="ctr">
            <a:noFill/>
            <a:miter lim="800000"/>
            <a:headEnd/>
            <a:tailEnd/>
          </a:ln>
        </p:spPr>
        <p:txBody>
          <a:bodyPr wrap="square" lIns="0" tIns="0" rIns="0" bIns="0">
            <a:spAutoFit/>
          </a:bodyPr>
          <a:lstStyle/>
          <a:p>
            <a:pPr algn="ctr">
              <a:lnSpc>
                <a:spcPct val="75000"/>
              </a:lnSpc>
              <a:buSzPct val="75000"/>
            </a:pPr>
            <a:r>
              <a:rPr lang="en-GB" sz="900" b="1" dirty="0">
                <a:solidFill>
                  <a:srgbClr val="000000"/>
                </a:solidFill>
              </a:rPr>
              <a:t>Other 1.1</a:t>
            </a:r>
          </a:p>
        </p:txBody>
      </p:sp>
      <p:sp>
        <p:nvSpPr>
          <p:cNvPr id="44" name="Text Box 9"/>
          <p:cNvSpPr txBox="1">
            <a:spLocks noChangeArrowheads="1"/>
          </p:cNvSpPr>
          <p:nvPr/>
        </p:nvSpPr>
        <p:spPr bwMode="auto">
          <a:xfrm>
            <a:off x="7955126" y="1393163"/>
            <a:ext cx="692497" cy="138499"/>
          </a:xfrm>
          <a:prstGeom prst="rect">
            <a:avLst/>
          </a:prstGeom>
          <a:noFill/>
          <a:ln w="9525" algn="ctr">
            <a:noFill/>
            <a:miter lim="800000"/>
            <a:headEnd/>
            <a:tailEnd/>
          </a:ln>
        </p:spPr>
        <p:txBody>
          <a:bodyPr wrap="none" lIns="0" tIns="0" rIns="0" bIns="0">
            <a:spAutoFit/>
          </a:bodyPr>
          <a:lstStyle>
            <a:defPPr>
              <a:defRPr lang="en-US"/>
            </a:defPPr>
            <a:lvl1pPr algn="ctr">
              <a:lnSpc>
                <a:spcPct val="90000"/>
              </a:lnSpc>
              <a:spcBef>
                <a:spcPct val="20000"/>
              </a:spcBef>
              <a:buSzPct val="75000"/>
              <a:defRPr sz="1000" b="1">
                <a:solidFill>
                  <a:srgbClr val="000000"/>
                </a:solidFill>
              </a:defRPr>
            </a:lvl1pPr>
          </a:lstStyle>
          <a:p>
            <a:r>
              <a:rPr lang="en-GB" dirty="0"/>
              <a:t>~ 91 Million</a:t>
            </a:r>
          </a:p>
        </p:txBody>
      </p:sp>
      <p:sp>
        <p:nvSpPr>
          <p:cNvPr id="55" name="Text Box 38"/>
          <p:cNvSpPr txBox="1">
            <a:spLocks noChangeArrowheads="1"/>
          </p:cNvSpPr>
          <p:nvPr/>
        </p:nvSpPr>
        <p:spPr bwMode="auto">
          <a:xfrm>
            <a:off x="220730" y="5398134"/>
            <a:ext cx="1104488"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FFFFFF"/>
                </a:solidFill>
              </a:rPr>
              <a:t>Africa 1%</a:t>
            </a:r>
          </a:p>
        </p:txBody>
      </p:sp>
      <p:sp>
        <p:nvSpPr>
          <p:cNvPr id="56" name="Text Box 38"/>
          <p:cNvSpPr txBox="1">
            <a:spLocks noChangeArrowheads="1"/>
          </p:cNvSpPr>
          <p:nvPr/>
        </p:nvSpPr>
        <p:spPr bwMode="auto">
          <a:xfrm>
            <a:off x="220730" y="4822070"/>
            <a:ext cx="1104488"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t>Asia </a:t>
            </a:r>
            <a:r>
              <a:rPr lang="en-GB" sz="900" b="1" dirty="0" smtClean="0"/>
              <a:t>45%</a:t>
            </a:r>
            <a:endParaRPr lang="en-GB" sz="900" b="1" dirty="0"/>
          </a:p>
        </p:txBody>
      </p:sp>
      <p:sp>
        <p:nvSpPr>
          <p:cNvPr id="57" name="Text Box 38"/>
          <p:cNvSpPr txBox="1">
            <a:spLocks noChangeArrowheads="1"/>
          </p:cNvSpPr>
          <p:nvPr/>
        </p:nvSpPr>
        <p:spPr bwMode="auto">
          <a:xfrm>
            <a:off x="1341" y="3957974"/>
            <a:ext cx="1543266"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Eastern Europe </a:t>
            </a:r>
            <a:r>
              <a:rPr lang="en-GB" sz="900" b="1" dirty="0" smtClean="0">
                <a:solidFill>
                  <a:srgbClr val="000000"/>
                </a:solidFill>
              </a:rPr>
              <a:t>4%</a:t>
            </a:r>
            <a:endParaRPr lang="en-GB" sz="900" b="1" dirty="0">
              <a:solidFill>
                <a:srgbClr val="000000"/>
              </a:solidFill>
            </a:endParaRPr>
          </a:p>
        </p:txBody>
      </p:sp>
      <p:sp>
        <p:nvSpPr>
          <p:cNvPr id="58" name="Text Box 38"/>
          <p:cNvSpPr txBox="1">
            <a:spLocks noChangeArrowheads="1"/>
          </p:cNvSpPr>
          <p:nvPr/>
        </p:nvSpPr>
        <p:spPr bwMode="auto">
          <a:xfrm>
            <a:off x="134545" y="3704362"/>
            <a:ext cx="1276859"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The Middle East 1%</a:t>
            </a:r>
          </a:p>
        </p:txBody>
      </p:sp>
      <p:sp>
        <p:nvSpPr>
          <p:cNvPr id="59" name="Text Box 38"/>
          <p:cNvSpPr txBox="1">
            <a:spLocks noChangeArrowheads="1"/>
          </p:cNvSpPr>
          <p:nvPr/>
        </p:nvSpPr>
        <p:spPr bwMode="auto">
          <a:xfrm>
            <a:off x="80828" y="3381910"/>
            <a:ext cx="1384292"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000000"/>
                </a:solidFill>
              </a:rPr>
              <a:t>NA 22</a:t>
            </a:r>
            <a:r>
              <a:rPr lang="en-GB" sz="900" b="1" dirty="0">
                <a:solidFill>
                  <a:srgbClr val="000000"/>
                </a:solidFill>
              </a:rPr>
              <a:t>%</a:t>
            </a:r>
          </a:p>
        </p:txBody>
      </p:sp>
      <p:sp>
        <p:nvSpPr>
          <p:cNvPr id="60" name="Text Box 38"/>
          <p:cNvSpPr txBox="1">
            <a:spLocks noChangeArrowheads="1"/>
          </p:cNvSpPr>
          <p:nvPr/>
        </p:nvSpPr>
        <p:spPr bwMode="auto">
          <a:xfrm>
            <a:off x="80828" y="3021870"/>
            <a:ext cx="1384292"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Others 5%</a:t>
            </a:r>
          </a:p>
        </p:txBody>
      </p:sp>
      <p:sp>
        <p:nvSpPr>
          <p:cNvPr id="61" name="Text Box 38"/>
          <p:cNvSpPr txBox="1">
            <a:spLocks noChangeArrowheads="1"/>
          </p:cNvSpPr>
          <p:nvPr/>
        </p:nvSpPr>
        <p:spPr bwMode="auto">
          <a:xfrm>
            <a:off x="274048" y="2819696"/>
            <a:ext cx="997853" cy="110800"/>
          </a:xfrm>
          <a:prstGeom prst="rect">
            <a:avLst/>
          </a:prstGeom>
          <a:noFill/>
          <a:ln w="9525" algn="ctr">
            <a:noFill/>
            <a:miter lim="800000"/>
            <a:headEnd/>
            <a:tailEnd/>
          </a:ln>
        </p:spPr>
        <p:txBody>
          <a:bodyPr wrap="square" lIns="0" tIns="0" rIns="0" bIns="0">
            <a:spAutoFit/>
          </a:bodyPr>
          <a:lstStyle/>
          <a:p>
            <a:pPr algn="ctr">
              <a:lnSpc>
                <a:spcPct val="80000"/>
              </a:lnSpc>
              <a:buSzPct val="75000"/>
            </a:pPr>
            <a:r>
              <a:rPr lang="en-GB" sz="900" b="1" dirty="0">
                <a:solidFill>
                  <a:srgbClr val="000000"/>
                </a:solidFill>
              </a:rPr>
              <a:t>Latin America </a:t>
            </a:r>
            <a:r>
              <a:rPr lang="en-GB" sz="900" b="1" dirty="0" smtClean="0">
                <a:solidFill>
                  <a:srgbClr val="000000"/>
                </a:solidFill>
              </a:rPr>
              <a:t>5%</a:t>
            </a:r>
            <a:endParaRPr lang="en-GB" sz="900" b="1" dirty="0">
              <a:solidFill>
                <a:srgbClr val="000000"/>
              </a:solidFill>
            </a:endParaRPr>
          </a:p>
        </p:txBody>
      </p:sp>
      <p:sp>
        <p:nvSpPr>
          <p:cNvPr id="62" name="Text Box 38"/>
          <p:cNvSpPr txBox="1">
            <a:spLocks noChangeArrowheads="1"/>
          </p:cNvSpPr>
          <p:nvPr/>
        </p:nvSpPr>
        <p:spPr bwMode="auto">
          <a:xfrm>
            <a:off x="215182" y="2393165"/>
            <a:ext cx="1115585"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000000"/>
                </a:solidFill>
              </a:rPr>
              <a:t>WE 16%</a:t>
            </a:r>
            <a:endParaRPr lang="en-GB" sz="900" b="1" dirty="0">
              <a:solidFill>
                <a:srgbClr val="000000"/>
              </a:solidFill>
            </a:endParaRPr>
          </a:p>
        </p:txBody>
      </p:sp>
      <p:sp>
        <p:nvSpPr>
          <p:cNvPr id="63" name="Text Box 9"/>
          <p:cNvSpPr txBox="1">
            <a:spLocks noChangeArrowheads="1"/>
          </p:cNvSpPr>
          <p:nvPr/>
        </p:nvSpPr>
        <p:spPr bwMode="auto">
          <a:xfrm>
            <a:off x="419199" y="1817811"/>
            <a:ext cx="727763" cy="138499"/>
          </a:xfrm>
          <a:prstGeom prst="rect">
            <a:avLst/>
          </a:prstGeom>
          <a:noFill/>
          <a:ln w="9525" algn="ctr">
            <a:noFill/>
            <a:miter lim="800000"/>
            <a:headEnd/>
            <a:tailEnd/>
          </a:ln>
        </p:spPr>
        <p:txBody>
          <a:bodyPr wrap="none" lIns="0" tIns="0" rIns="0" bIns="0">
            <a:spAutoFit/>
          </a:bodyPr>
          <a:lstStyle/>
          <a:p>
            <a:pPr algn="ctr">
              <a:lnSpc>
                <a:spcPct val="90000"/>
              </a:lnSpc>
              <a:spcBef>
                <a:spcPct val="20000"/>
              </a:spcBef>
              <a:buSzPct val="75000"/>
            </a:pPr>
            <a:r>
              <a:rPr lang="en-GB" sz="1000" b="1" dirty="0">
                <a:solidFill>
                  <a:srgbClr val="000000"/>
                </a:solidFill>
              </a:rPr>
              <a:t> ~ </a:t>
            </a:r>
            <a:r>
              <a:rPr lang="en-GB" sz="1000" b="1" dirty="0" smtClean="0">
                <a:solidFill>
                  <a:srgbClr val="000000"/>
                </a:solidFill>
              </a:rPr>
              <a:t>89 </a:t>
            </a:r>
            <a:r>
              <a:rPr lang="en-GB" sz="1000" b="1" dirty="0">
                <a:solidFill>
                  <a:srgbClr val="000000"/>
                </a:solidFill>
              </a:rPr>
              <a:t>Million</a:t>
            </a:r>
          </a:p>
        </p:txBody>
      </p:sp>
      <p:cxnSp>
        <p:nvCxnSpPr>
          <p:cNvPr id="65" name="Straight Arrow Connector 64"/>
          <p:cNvCxnSpPr/>
          <p:nvPr/>
        </p:nvCxnSpPr>
        <p:spPr>
          <a:xfrm>
            <a:off x="728732" y="5522784"/>
            <a:ext cx="128518" cy="59145"/>
          </a:xfrm>
          <a:prstGeom prst="straightConnector1">
            <a:avLst/>
          </a:prstGeom>
          <a:ln>
            <a:solidFill>
              <a:schemeClr val="bg1"/>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Line 40"/>
          <p:cNvSpPr>
            <a:spLocks noChangeShapeType="1"/>
          </p:cNvSpPr>
          <p:nvPr/>
        </p:nvSpPr>
        <p:spPr bwMode="auto">
          <a:xfrm flipH="1">
            <a:off x="3288932" y="2476830"/>
            <a:ext cx="262341" cy="26581"/>
          </a:xfrm>
          <a:prstGeom prst="line">
            <a:avLst/>
          </a:prstGeom>
          <a:noFill/>
          <a:ln w="9525">
            <a:solidFill>
              <a:schemeClr val="tx1"/>
            </a:solidFill>
            <a:round/>
            <a:headEnd type="diamond" w="med" len="med"/>
            <a:tailEnd type="triangle" w="med" len="med"/>
          </a:ln>
        </p:spPr>
        <p:txBody>
          <a:bodyPr/>
          <a:lstStyle/>
          <a:p>
            <a:endParaRPr lang="en-GB" dirty="0">
              <a:solidFill>
                <a:srgbClr val="000000"/>
              </a:solidFill>
            </a:endParaRPr>
          </a:p>
        </p:txBody>
      </p:sp>
      <p:sp>
        <p:nvSpPr>
          <p:cNvPr id="71" name="Line 40"/>
          <p:cNvSpPr>
            <a:spLocks noChangeShapeType="1"/>
          </p:cNvSpPr>
          <p:nvPr/>
        </p:nvSpPr>
        <p:spPr bwMode="auto">
          <a:xfrm>
            <a:off x="6953282" y="4770807"/>
            <a:ext cx="180755" cy="31897"/>
          </a:xfrm>
          <a:prstGeom prst="line">
            <a:avLst/>
          </a:prstGeom>
          <a:noFill/>
          <a:ln w="9525">
            <a:solidFill>
              <a:schemeClr val="tx1"/>
            </a:solidFill>
            <a:round/>
            <a:headEnd type="diamond" w="med" len="med"/>
            <a:tailEnd type="triangle" w="med" len="med"/>
          </a:ln>
        </p:spPr>
        <p:txBody>
          <a:bodyPr/>
          <a:lstStyle/>
          <a:p>
            <a:endParaRPr lang="en-GB" dirty="0">
              <a:solidFill>
                <a:srgbClr val="000000"/>
              </a:solidFill>
            </a:endParaRPr>
          </a:p>
        </p:txBody>
      </p:sp>
      <p:sp>
        <p:nvSpPr>
          <p:cNvPr id="7" name="Right Brace 6"/>
          <p:cNvSpPr/>
          <p:nvPr/>
        </p:nvSpPr>
        <p:spPr>
          <a:xfrm rot="16200000">
            <a:off x="4708478" y="-888351"/>
            <a:ext cx="204716" cy="6073254"/>
          </a:xfrm>
          <a:prstGeom prst="rightBrace">
            <a:avLst/>
          </a:prstGeom>
          <a:noFill/>
          <a:ln w="9525" cap="rnd">
            <a:solidFill>
              <a:schemeClr val="tx1"/>
            </a:solidFill>
            <a:prstDash val="sysDot"/>
            <a:round/>
            <a:headEnd type="oval" w="med" len="med"/>
            <a:tailEnd type="oval" w="med" len="med"/>
          </a:ln>
        </p:spPr>
        <p:txBody>
          <a:bodyPr/>
          <a:lstStyle/>
          <a:p>
            <a:endParaRPr lang="en-US" dirty="0">
              <a:solidFill>
                <a:srgbClr val="000000"/>
              </a:solidFill>
            </a:endParaRPr>
          </a:p>
        </p:txBody>
      </p:sp>
      <p:sp>
        <p:nvSpPr>
          <p:cNvPr id="81" name="Text Box 63"/>
          <p:cNvSpPr txBox="1">
            <a:spLocks noChangeArrowheads="1"/>
          </p:cNvSpPr>
          <p:nvPr/>
        </p:nvSpPr>
        <p:spPr bwMode="auto">
          <a:xfrm>
            <a:off x="4574313" y="1756040"/>
            <a:ext cx="524503" cy="276999"/>
          </a:xfrm>
          <a:prstGeom prst="rect">
            <a:avLst/>
          </a:prstGeom>
          <a:solidFill>
            <a:srgbClr val="003366"/>
          </a:solidFill>
          <a:ln>
            <a:noFill/>
          </a:ln>
        </p:spPr>
        <p:txBody>
          <a:bodyPr wrap="none">
            <a:spAutoFit/>
          </a:bodyPr>
          <a:lstStyle>
            <a:lvl1pPr eaLnBrk="0" hangingPunct="0">
              <a:defRPr sz="800" i="1">
                <a:solidFill>
                  <a:schemeClr val="tx1"/>
                </a:solidFill>
                <a:latin typeface="Verdana" pitchFamily="34" charset="0"/>
              </a:defRPr>
            </a:lvl1pPr>
            <a:lvl2pPr marL="742950" indent="-285750" eaLnBrk="0" hangingPunct="0">
              <a:defRPr sz="800" i="1">
                <a:solidFill>
                  <a:schemeClr val="tx1"/>
                </a:solidFill>
                <a:latin typeface="Verdana" pitchFamily="34" charset="0"/>
              </a:defRPr>
            </a:lvl2pPr>
            <a:lvl3pPr marL="1143000" indent="-228600" eaLnBrk="0" hangingPunct="0">
              <a:defRPr sz="800" i="1">
                <a:solidFill>
                  <a:schemeClr val="tx1"/>
                </a:solidFill>
                <a:latin typeface="Verdana" pitchFamily="34" charset="0"/>
              </a:defRPr>
            </a:lvl3pPr>
            <a:lvl4pPr marL="1600200" indent="-228600" eaLnBrk="0" hangingPunct="0">
              <a:defRPr sz="800" i="1">
                <a:solidFill>
                  <a:schemeClr val="tx1"/>
                </a:solidFill>
                <a:latin typeface="Verdana" pitchFamily="34" charset="0"/>
              </a:defRPr>
            </a:lvl4pPr>
            <a:lvl5pPr marL="2057400" indent="-228600" eaLnBrk="0" hangingPunct="0">
              <a:defRPr sz="800" i="1">
                <a:solidFill>
                  <a:schemeClr val="tx1"/>
                </a:solidFill>
                <a:latin typeface="Verdana" pitchFamily="34" charset="0"/>
              </a:defRPr>
            </a:lvl5pPr>
            <a:lvl6pPr marL="2514600" indent="-228600" eaLnBrk="0" fontAlgn="base" hangingPunct="0">
              <a:spcBef>
                <a:spcPct val="0"/>
              </a:spcBef>
              <a:spcAft>
                <a:spcPct val="0"/>
              </a:spcAft>
              <a:defRPr sz="800" i="1">
                <a:solidFill>
                  <a:schemeClr val="tx1"/>
                </a:solidFill>
                <a:latin typeface="Verdana" pitchFamily="34" charset="0"/>
              </a:defRPr>
            </a:lvl6pPr>
            <a:lvl7pPr marL="2971800" indent="-228600" eaLnBrk="0" fontAlgn="base" hangingPunct="0">
              <a:spcBef>
                <a:spcPct val="0"/>
              </a:spcBef>
              <a:spcAft>
                <a:spcPct val="0"/>
              </a:spcAft>
              <a:defRPr sz="800" i="1">
                <a:solidFill>
                  <a:schemeClr val="tx1"/>
                </a:solidFill>
                <a:latin typeface="Verdana" pitchFamily="34" charset="0"/>
              </a:defRPr>
            </a:lvl7pPr>
            <a:lvl8pPr marL="3429000" indent="-228600" eaLnBrk="0" fontAlgn="base" hangingPunct="0">
              <a:spcBef>
                <a:spcPct val="0"/>
              </a:spcBef>
              <a:spcAft>
                <a:spcPct val="0"/>
              </a:spcAft>
              <a:defRPr sz="800" i="1">
                <a:solidFill>
                  <a:schemeClr val="tx1"/>
                </a:solidFill>
                <a:latin typeface="Verdana" pitchFamily="34" charset="0"/>
              </a:defRPr>
            </a:lvl8pPr>
            <a:lvl9pPr marL="3886200" indent="-228600" eaLnBrk="0" fontAlgn="base" hangingPunct="0">
              <a:spcBef>
                <a:spcPct val="0"/>
              </a:spcBef>
              <a:spcAft>
                <a:spcPct val="0"/>
              </a:spcAft>
              <a:defRPr sz="800" i="1">
                <a:solidFill>
                  <a:schemeClr val="tx1"/>
                </a:solidFill>
                <a:latin typeface="Verdana" pitchFamily="34" charset="0"/>
              </a:defRPr>
            </a:lvl9pPr>
          </a:lstStyle>
          <a:p>
            <a:pPr>
              <a:spcBef>
                <a:spcPct val="50000"/>
              </a:spcBef>
            </a:pPr>
            <a:r>
              <a:rPr lang="en-GB" sz="1200" b="1" i="0" dirty="0" smtClean="0">
                <a:solidFill>
                  <a:srgbClr val="FFFFFF"/>
                </a:solidFill>
                <a:latin typeface="Arial"/>
              </a:rPr>
              <a:t>2016</a:t>
            </a:r>
            <a:endParaRPr lang="en-GB" sz="1200" b="1" i="0" dirty="0">
              <a:solidFill>
                <a:srgbClr val="FFFFFF"/>
              </a:solidFill>
              <a:latin typeface="Arial"/>
            </a:endParaRPr>
          </a:p>
        </p:txBody>
      </p:sp>
      <p:sp>
        <p:nvSpPr>
          <p:cNvPr id="3" name="TextBox 2"/>
          <p:cNvSpPr txBox="1"/>
          <p:nvPr/>
        </p:nvSpPr>
        <p:spPr>
          <a:xfrm>
            <a:off x="3571501" y="1412199"/>
            <a:ext cx="2433514" cy="276999"/>
          </a:xfrm>
          <a:prstGeom prst="rect">
            <a:avLst/>
          </a:prstGeom>
          <a:noFill/>
        </p:spPr>
        <p:txBody>
          <a:bodyPr wrap="square" rtlCol="0">
            <a:spAutoFit/>
          </a:bodyPr>
          <a:lstStyle/>
          <a:p>
            <a:pPr algn="ctr">
              <a:spcBef>
                <a:spcPct val="50000"/>
              </a:spcBef>
            </a:pPr>
            <a:r>
              <a:rPr lang="en-GB" sz="1200" b="1" i="1" dirty="0" smtClean="0">
                <a:solidFill>
                  <a:srgbClr val="000000"/>
                </a:solidFill>
              </a:rPr>
              <a:t>2-3% </a:t>
            </a:r>
            <a:r>
              <a:rPr lang="en-GB" sz="1200" b="1" i="1" dirty="0">
                <a:solidFill>
                  <a:srgbClr val="000000"/>
                </a:solidFill>
              </a:rPr>
              <a:t>YoY growth (</a:t>
            </a:r>
            <a:r>
              <a:rPr lang="en-GB" sz="1200" b="1" i="1" dirty="0" smtClean="0">
                <a:solidFill>
                  <a:srgbClr val="000000"/>
                </a:solidFill>
              </a:rPr>
              <a:t>2015</a:t>
            </a:r>
            <a:r>
              <a:rPr lang="en-GB" sz="1200" b="1" dirty="0" smtClean="0">
                <a:solidFill>
                  <a:srgbClr val="000000"/>
                </a:solidFill>
              </a:rPr>
              <a:t>–</a:t>
            </a:r>
            <a:r>
              <a:rPr lang="en-GB" sz="1200" b="1" i="1" dirty="0" smtClean="0">
                <a:solidFill>
                  <a:srgbClr val="000000"/>
                </a:solidFill>
              </a:rPr>
              <a:t>16)</a:t>
            </a:r>
            <a:endParaRPr lang="en-GB" sz="1200" b="1" i="1" dirty="0">
              <a:solidFill>
                <a:srgbClr val="000000"/>
              </a:solidFill>
            </a:endParaRPr>
          </a:p>
        </p:txBody>
      </p:sp>
      <p:sp>
        <p:nvSpPr>
          <p:cNvPr id="73" name="Line 40"/>
          <p:cNvSpPr>
            <a:spLocks noChangeShapeType="1"/>
          </p:cNvSpPr>
          <p:nvPr/>
        </p:nvSpPr>
        <p:spPr bwMode="auto">
          <a:xfrm flipH="1" flipV="1">
            <a:off x="3299813" y="2579609"/>
            <a:ext cx="248929" cy="90441"/>
          </a:xfrm>
          <a:prstGeom prst="line">
            <a:avLst/>
          </a:prstGeom>
          <a:noFill/>
          <a:ln w="9525">
            <a:solidFill>
              <a:schemeClr val="tx1"/>
            </a:solidFill>
            <a:round/>
            <a:headEnd type="diamond" w="med" len="med"/>
            <a:tailEnd type="triangle" w="med" len="med"/>
          </a:ln>
        </p:spPr>
        <p:txBody>
          <a:bodyPr/>
          <a:lstStyle/>
          <a:p>
            <a:endParaRPr lang="en-GB" dirty="0">
              <a:solidFill>
                <a:srgbClr val="000000"/>
              </a:solidFill>
            </a:endParaRPr>
          </a:p>
        </p:txBody>
      </p:sp>
      <p:sp>
        <p:nvSpPr>
          <p:cNvPr id="72" name="Text Box 38"/>
          <p:cNvSpPr txBox="1">
            <a:spLocks noChangeArrowheads="1"/>
          </p:cNvSpPr>
          <p:nvPr/>
        </p:nvSpPr>
        <p:spPr bwMode="auto">
          <a:xfrm>
            <a:off x="3450204" y="5299486"/>
            <a:ext cx="816996"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t>Russia 1.1</a:t>
            </a:r>
            <a:endParaRPr lang="en-GB" sz="900" b="1" dirty="0"/>
          </a:p>
        </p:txBody>
      </p:sp>
      <p:sp>
        <p:nvSpPr>
          <p:cNvPr id="74" name="Text Box 38"/>
          <p:cNvSpPr txBox="1">
            <a:spLocks noChangeArrowheads="1"/>
          </p:cNvSpPr>
          <p:nvPr/>
        </p:nvSpPr>
        <p:spPr bwMode="auto">
          <a:xfrm>
            <a:off x="4406900" y="5299486"/>
            <a:ext cx="698500"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Iran </a:t>
            </a:r>
            <a:r>
              <a:rPr lang="en-GB" sz="900" b="1" dirty="0" smtClean="0">
                <a:solidFill>
                  <a:srgbClr val="000000"/>
                </a:solidFill>
              </a:rPr>
              <a:t>1.2</a:t>
            </a:r>
            <a:endParaRPr lang="en-GB" sz="900" b="1" dirty="0">
              <a:solidFill>
                <a:srgbClr val="000000"/>
              </a:solidFill>
            </a:endParaRPr>
          </a:p>
        </p:txBody>
      </p:sp>
      <p:sp>
        <p:nvSpPr>
          <p:cNvPr id="75" name="Text Box 38"/>
          <p:cNvSpPr txBox="1">
            <a:spLocks noChangeArrowheads="1"/>
          </p:cNvSpPr>
          <p:nvPr/>
        </p:nvSpPr>
        <p:spPr bwMode="auto">
          <a:xfrm>
            <a:off x="4331068" y="5162744"/>
            <a:ext cx="816996"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a:solidFill>
                  <a:srgbClr val="000000"/>
                </a:solidFill>
              </a:rPr>
              <a:t>Egypt </a:t>
            </a:r>
            <a:r>
              <a:rPr lang="en-GB" sz="900" b="1" dirty="0" smtClean="0">
                <a:solidFill>
                  <a:srgbClr val="000000"/>
                </a:solidFill>
              </a:rPr>
              <a:t>0.3</a:t>
            </a:r>
            <a:endParaRPr lang="en-GB" sz="900" b="1" dirty="0">
              <a:solidFill>
                <a:srgbClr val="000000"/>
              </a:solidFill>
            </a:endParaRPr>
          </a:p>
        </p:txBody>
      </p:sp>
      <p:sp>
        <p:nvSpPr>
          <p:cNvPr id="76" name="Text Box 38"/>
          <p:cNvSpPr txBox="1">
            <a:spLocks noChangeArrowheads="1"/>
          </p:cNvSpPr>
          <p:nvPr/>
        </p:nvSpPr>
        <p:spPr bwMode="auto">
          <a:xfrm>
            <a:off x="5313505" y="3851686"/>
            <a:ext cx="609141"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smtClean="0">
                <a:solidFill>
                  <a:srgbClr val="FFFFFF"/>
                </a:solidFill>
              </a:rPr>
              <a:t>Canada 1.8</a:t>
            </a:r>
            <a:endParaRPr lang="en-GB" sz="900" b="1" dirty="0">
              <a:solidFill>
                <a:srgbClr val="FFFFFF"/>
              </a:solidFill>
            </a:endParaRPr>
          </a:p>
        </p:txBody>
      </p:sp>
      <p:sp>
        <p:nvSpPr>
          <p:cNvPr id="77" name="Text Box 38"/>
          <p:cNvSpPr txBox="1">
            <a:spLocks noChangeArrowheads="1"/>
          </p:cNvSpPr>
          <p:nvPr/>
        </p:nvSpPr>
        <p:spPr bwMode="auto">
          <a:xfrm>
            <a:off x="6228897" y="5234752"/>
            <a:ext cx="506550" cy="124650"/>
          </a:xfrm>
          <a:prstGeom prst="rect">
            <a:avLst/>
          </a:prstGeom>
          <a:noFill/>
          <a:ln w="9525" algn="ctr">
            <a:noFill/>
            <a:miter lim="800000"/>
            <a:headEnd/>
            <a:tailEnd/>
          </a:ln>
        </p:spPr>
        <p:txBody>
          <a:bodyPr wrap="none" lIns="0" tIns="0" rIns="0" bIns="0">
            <a:spAutoFit/>
          </a:bodyPr>
          <a:lstStyle/>
          <a:p>
            <a:pPr algn="ctr">
              <a:lnSpc>
                <a:spcPct val="90000"/>
              </a:lnSpc>
              <a:buSzPct val="75000"/>
            </a:pPr>
            <a:r>
              <a:rPr lang="en-GB" sz="900" b="1" dirty="0" smtClean="0">
                <a:solidFill>
                  <a:srgbClr val="FFFFFF"/>
                </a:solidFill>
              </a:rPr>
              <a:t>Brazil 3.2</a:t>
            </a:r>
            <a:endParaRPr lang="en-GB" sz="900" b="1" dirty="0">
              <a:solidFill>
                <a:srgbClr val="FFFFFF"/>
              </a:solidFill>
            </a:endParaRPr>
          </a:p>
        </p:txBody>
      </p:sp>
      <p:cxnSp>
        <p:nvCxnSpPr>
          <p:cNvPr id="78" name="Straight Arrow Connector 77"/>
          <p:cNvCxnSpPr/>
          <p:nvPr/>
        </p:nvCxnSpPr>
        <p:spPr>
          <a:xfrm>
            <a:off x="683568" y="3807455"/>
            <a:ext cx="128518" cy="59145"/>
          </a:xfrm>
          <a:prstGeom prst="straightConnector1">
            <a:avLst/>
          </a:prstGeom>
          <a:ln>
            <a:solidFill>
              <a:schemeClr val="bg1"/>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Text Box 38"/>
          <p:cNvSpPr txBox="1">
            <a:spLocks noChangeArrowheads="1"/>
          </p:cNvSpPr>
          <p:nvPr/>
        </p:nvSpPr>
        <p:spPr bwMode="auto">
          <a:xfrm>
            <a:off x="7743717" y="5431409"/>
            <a:ext cx="1104488"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FFFFFF"/>
                </a:solidFill>
              </a:rPr>
              <a:t>1</a:t>
            </a:r>
            <a:r>
              <a:rPr lang="en-GB" sz="900" b="1" dirty="0">
                <a:solidFill>
                  <a:srgbClr val="FFFFFF"/>
                </a:solidFill>
              </a:rPr>
              <a:t>%</a:t>
            </a:r>
          </a:p>
        </p:txBody>
      </p:sp>
      <p:sp>
        <p:nvSpPr>
          <p:cNvPr id="82" name="Text Box 38"/>
          <p:cNvSpPr txBox="1">
            <a:spLocks noChangeArrowheads="1"/>
          </p:cNvSpPr>
          <p:nvPr/>
        </p:nvSpPr>
        <p:spPr bwMode="auto">
          <a:xfrm>
            <a:off x="7743717" y="4855345"/>
            <a:ext cx="1104488"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t>46%</a:t>
            </a:r>
            <a:endParaRPr lang="en-GB" sz="900" b="1" dirty="0"/>
          </a:p>
        </p:txBody>
      </p:sp>
      <p:sp>
        <p:nvSpPr>
          <p:cNvPr id="83" name="Text Box 38"/>
          <p:cNvSpPr txBox="1">
            <a:spLocks noChangeArrowheads="1"/>
          </p:cNvSpPr>
          <p:nvPr/>
        </p:nvSpPr>
        <p:spPr bwMode="auto">
          <a:xfrm>
            <a:off x="7565238" y="3722584"/>
            <a:ext cx="1543266"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000000"/>
                </a:solidFill>
              </a:rPr>
              <a:t>4%</a:t>
            </a:r>
            <a:endParaRPr lang="en-GB" sz="900" b="1" dirty="0">
              <a:solidFill>
                <a:srgbClr val="000000"/>
              </a:solidFill>
            </a:endParaRPr>
          </a:p>
        </p:txBody>
      </p:sp>
      <p:sp>
        <p:nvSpPr>
          <p:cNvPr id="84" name="Text Box 38"/>
          <p:cNvSpPr txBox="1">
            <a:spLocks noChangeArrowheads="1"/>
          </p:cNvSpPr>
          <p:nvPr/>
        </p:nvSpPr>
        <p:spPr bwMode="auto">
          <a:xfrm>
            <a:off x="7657532" y="3506560"/>
            <a:ext cx="1276859"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000000"/>
                </a:solidFill>
              </a:rPr>
              <a:t>2%</a:t>
            </a:r>
            <a:endParaRPr lang="en-GB" sz="900" b="1" dirty="0">
              <a:solidFill>
                <a:srgbClr val="000000"/>
              </a:solidFill>
            </a:endParaRPr>
          </a:p>
        </p:txBody>
      </p:sp>
      <p:sp>
        <p:nvSpPr>
          <p:cNvPr id="85" name="Text Box 38"/>
          <p:cNvSpPr txBox="1">
            <a:spLocks noChangeArrowheads="1"/>
          </p:cNvSpPr>
          <p:nvPr/>
        </p:nvSpPr>
        <p:spPr bwMode="auto">
          <a:xfrm>
            <a:off x="7603815" y="3074512"/>
            <a:ext cx="1384292"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000000"/>
                </a:solidFill>
              </a:rPr>
              <a:t>22</a:t>
            </a:r>
            <a:r>
              <a:rPr lang="en-GB" sz="900" b="1" dirty="0">
                <a:solidFill>
                  <a:srgbClr val="000000"/>
                </a:solidFill>
              </a:rPr>
              <a:t>%</a:t>
            </a:r>
          </a:p>
        </p:txBody>
      </p:sp>
      <p:sp>
        <p:nvSpPr>
          <p:cNvPr id="86" name="Text Box 38"/>
          <p:cNvSpPr txBox="1">
            <a:spLocks noChangeArrowheads="1"/>
          </p:cNvSpPr>
          <p:nvPr/>
        </p:nvSpPr>
        <p:spPr bwMode="auto">
          <a:xfrm>
            <a:off x="7652204" y="2589822"/>
            <a:ext cx="1384292"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chemeClr val="bg1"/>
                </a:solidFill>
              </a:rPr>
              <a:t>5</a:t>
            </a:r>
            <a:r>
              <a:rPr lang="en-GB" sz="900" b="1" dirty="0">
                <a:solidFill>
                  <a:schemeClr val="bg1"/>
                </a:solidFill>
              </a:rPr>
              <a:t>%</a:t>
            </a:r>
          </a:p>
        </p:txBody>
      </p:sp>
      <p:sp>
        <p:nvSpPr>
          <p:cNvPr id="87" name="Text Box 38"/>
          <p:cNvSpPr txBox="1">
            <a:spLocks noChangeArrowheads="1"/>
          </p:cNvSpPr>
          <p:nvPr/>
        </p:nvSpPr>
        <p:spPr bwMode="auto">
          <a:xfrm>
            <a:off x="7822619" y="2387648"/>
            <a:ext cx="997853" cy="110800"/>
          </a:xfrm>
          <a:prstGeom prst="rect">
            <a:avLst/>
          </a:prstGeom>
          <a:noFill/>
          <a:ln w="9525" algn="ctr">
            <a:noFill/>
            <a:miter lim="800000"/>
            <a:headEnd/>
            <a:tailEnd/>
          </a:ln>
        </p:spPr>
        <p:txBody>
          <a:bodyPr wrap="square" lIns="0" tIns="0" rIns="0" bIns="0">
            <a:spAutoFit/>
          </a:bodyPr>
          <a:lstStyle/>
          <a:p>
            <a:pPr algn="ctr">
              <a:lnSpc>
                <a:spcPct val="80000"/>
              </a:lnSpc>
              <a:buSzPct val="75000"/>
            </a:pPr>
            <a:r>
              <a:rPr lang="en-GB" sz="900" b="1" dirty="0" smtClean="0">
                <a:solidFill>
                  <a:srgbClr val="000000"/>
                </a:solidFill>
              </a:rPr>
              <a:t>5%</a:t>
            </a:r>
            <a:endParaRPr lang="en-GB" sz="900" b="1" dirty="0">
              <a:solidFill>
                <a:srgbClr val="000000"/>
              </a:solidFill>
            </a:endParaRPr>
          </a:p>
        </p:txBody>
      </p:sp>
      <p:sp>
        <p:nvSpPr>
          <p:cNvPr id="88" name="Text Box 38"/>
          <p:cNvSpPr txBox="1">
            <a:spLocks noChangeArrowheads="1"/>
          </p:cNvSpPr>
          <p:nvPr/>
        </p:nvSpPr>
        <p:spPr bwMode="auto">
          <a:xfrm>
            <a:off x="7738169" y="1922384"/>
            <a:ext cx="1115585" cy="124650"/>
          </a:xfrm>
          <a:prstGeom prst="rect">
            <a:avLst/>
          </a:prstGeom>
          <a:noFill/>
          <a:ln w="9525" algn="ctr">
            <a:noFill/>
            <a:miter lim="800000"/>
            <a:headEnd/>
            <a:tailEnd/>
          </a:ln>
        </p:spPr>
        <p:txBody>
          <a:bodyPr wrap="square" lIns="0" tIns="0" rIns="0" bIns="0">
            <a:spAutoFit/>
          </a:bodyPr>
          <a:lstStyle/>
          <a:p>
            <a:pPr algn="ctr">
              <a:lnSpc>
                <a:spcPct val="90000"/>
              </a:lnSpc>
              <a:buSzPct val="75000"/>
            </a:pPr>
            <a:r>
              <a:rPr lang="en-GB" sz="900" b="1" dirty="0" smtClean="0">
                <a:solidFill>
                  <a:srgbClr val="000000"/>
                </a:solidFill>
              </a:rPr>
              <a:t>16%</a:t>
            </a:r>
            <a:endParaRPr lang="en-GB" sz="900" b="1" dirty="0">
              <a:solidFill>
                <a:srgbClr val="000000"/>
              </a:solidFill>
            </a:endParaRPr>
          </a:p>
        </p:txBody>
      </p:sp>
      <p:cxnSp>
        <p:nvCxnSpPr>
          <p:cNvPr id="89" name="Straight Arrow Connector 88"/>
          <p:cNvCxnSpPr/>
          <p:nvPr/>
        </p:nvCxnSpPr>
        <p:spPr>
          <a:xfrm>
            <a:off x="8251719" y="5995029"/>
            <a:ext cx="128518" cy="59145"/>
          </a:xfrm>
          <a:prstGeom prst="straightConnector1">
            <a:avLst/>
          </a:prstGeom>
          <a:ln>
            <a:solidFill>
              <a:schemeClr val="bg1"/>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4" name="Title 1"/>
          <p:cNvSpPr txBox="1">
            <a:spLocks/>
          </p:cNvSpPr>
          <p:nvPr/>
        </p:nvSpPr>
        <p:spPr bwMode="auto">
          <a:xfrm>
            <a:off x="217716" y="152400"/>
            <a:ext cx="8697826"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lvl1pPr algn="l" rtl="0" eaLnBrk="0" fontAlgn="base" hangingPunct="0">
              <a:spcBef>
                <a:spcPct val="0"/>
              </a:spcBef>
              <a:spcAft>
                <a:spcPct val="0"/>
              </a:spcAft>
              <a:defRPr sz="20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endParaRPr lang="en-GB" sz="1400" b="0" dirty="0"/>
          </a:p>
        </p:txBody>
      </p:sp>
      <p:sp>
        <p:nvSpPr>
          <p:cNvPr id="68" name="Text Box 80"/>
          <p:cNvSpPr txBox="1">
            <a:spLocks noChangeArrowheads="1"/>
          </p:cNvSpPr>
          <p:nvPr/>
        </p:nvSpPr>
        <p:spPr bwMode="auto">
          <a:xfrm>
            <a:off x="5905353" y="6054174"/>
            <a:ext cx="3053973" cy="230832"/>
          </a:xfrm>
          <a:prstGeom prst="rect">
            <a:avLst/>
          </a:prstGeom>
          <a:noFill/>
          <a:ln w="9525">
            <a:noFill/>
            <a:miter lim="800000"/>
            <a:headEnd/>
            <a:tailEnd/>
          </a:ln>
        </p:spPr>
        <p:txBody>
          <a:bodyPr wrap="square" lIns="0" rIns="0" anchor="ctr" anchorCtr="0">
            <a:noAutofit/>
          </a:bodyPr>
          <a:lstStyle/>
          <a:p>
            <a:pPr algn="r"/>
            <a:r>
              <a:rPr lang="en-GB" sz="900" dirty="0">
                <a:solidFill>
                  <a:schemeClr val="accent2"/>
                </a:solidFill>
              </a:rPr>
              <a:t>Source: LMC Automotive, Frost &amp; Sullivan</a:t>
            </a:r>
          </a:p>
        </p:txBody>
      </p:sp>
      <p:sp>
        <p:nvSpPr>
          <p:cNvPr id="6" name="Title 5"/>
          <p:cNvSpPr>
            <a:spLocks noGrp="1"/>
          </p:cNvSpPr>
          <p:nvPr>
            <p:ph type="title"/>
          </p:nvPr>
        </p:nvSpPr>
        <p:spPr/>
        <p:txBody>
          <a:bodyPr/>
          <a:lstStyle/>
          <a:p>
            <a:r>
              <a:rPr lang="en-US" sz="2000" dirty="0"/>
              <a:t>Global Light Vehicle Sales by Region in 2016—A </a:t>
            </a:r>
            <a:r>
              <a:rPr lang="en-US" sz="2000" dirty="0" smtClean="0"/>
              <a:t>Snapshot</a:t>
            </a:r>
            <a:endParaRPr lang="en-US" sz="2000" dirty="0"/>
          </a:p>
        </p:txBody>
      </p:sp>
      <p:sp>
        <p:nvSpPr>
          <p:cNvPr id="9" name="Text Placeholder 8"/>
          <p:cNvSpPr>
            <a:spLocks noGrp="1"/>
          </p:cNvSpPr>
          <p:nvPr>
            <p:ph type="body" sz="quarter" idx="11"/>
          </p:nvPr>
        </p:nvSpPr>
        <p:spPr/>
        <p:txBody>
          <a:bodyPr/>
          <a:lstStyle/>
          <a:p>
            <a:r>
              <a:rPr lang="en-GB" dirty="0"/>
              <a:t>US to drive global sales reaching 17.5 ml.  Chinese sales to remain flat in 2016</a:t>
            </a:r>
            <a:endParaRPr lang="en-US" dirty="0"/>
          </a:p>
        </p:txBody>
      </p:sp>
    </p:spTree>
    <p:extLst>
      <p:ext uri="{BB962C8B-B14F-4D97-AF65-F5344CB8AC3E}">
        <p14:creationId xmlns:p14="http://schemas.microsoft.com/office/powerpoint/2010/main" val="7228681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2156183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defPPr>
              <a:defRPr lang="en-US"/>
            </a:defPPr>
            <a:lvl1pPr eaLnBrk="0" fontAlgn="base" hangingPunct="0">
              <a:spcBef>
                <a:spcPct val="0"/>
              </a:spcBef>
              <a:spcAft>
                <a:spcPct val="0"/>
              </a:spcAft>
              <a:defRPr sz="2000" b="1">
                <a:solidFill>
                  <a:srgbClr val="002060"/>
                </a:solidFill>
                <a:latin typeface="+mj-lt"/>
                <a:ea typeface="Cambria Math" pitchFamily="18" charset="0"/>
                <a:cs typeface="+mj-cs"/>
              </a:defRPr>
            </a:lvl1pPr>
            <a:lvl2pPr eaLnBrk="0" fontAlgn="base" hangingPunct="0">
              <a:spcBef>
                <a:spcPct val="0"/>
              </a:spcBef>
              <a:spcAft>
                <a:spcPct val="0"/>
              </a:spcAft>
              <a:defRPr sz="2400" b="1">
                <a:solidFill>
                  <a:srgbClr val="17426B"/>
                </a:solidFill>
                <a:latin typeface="Arial" charset="0"/>
              </a:defRPr>
            </a:lvl2pPr>
            <a:lvl3pPr eaLnBrk="0" fontAlgn="base" hangingPunct="0">
              <a:spcBef>
                <a:spcPct val="0"/>
              </a:spcBef>
              <a:spcAft>
                <a:spcPct val="0"/>
              </a:spcAft>
              <a:defRPr sz="2400" b="1">
                <a:solidFill>
                  <a:srgbClr val="17426B"/>
                </a:solidFill>
                <a:latin typeface="Arial" charset="0"/>
              </a:defRPr>
            </a:lvl3pPr>
            <a:lvl4pPr eaLnBrk="0" fontAlgn="base" hangingPunct="0">
              <a:spcBef>
                <a:spcPct val="0"/>
              </a:spcBef>
              <a:spcAft>
                <a:spcPct val="0"/>
              </a:spcAft>
              <a:defRPr sz="2400" b="1">
                <a:solidFill>
                  <a:srgbClr val="17426B"/>
                </a:solidFill>
                <a:latin typeface="Arial" charset="0"/>
              </a:defRPr>
            </a:lvl4pPr>
            <a:lvl5pPr eaLnBrk="0" fontAlgn="base" hangingPunct="0">
              <a:spcBef>
                <a:spcPct val="0"/>
              </a:spcBef>
              <a:spcAft>
                <a:spcPct val="0"/>
              </a:spcAft>
              <a:defRPr sz="2400" b="1">
                <a:solidFill>
                  <a:srgbClr val="17426B"/>
                </a:solidFill>
                <a:latin typeface="Arial" charset="0"/>
              </a:defRPr>
            </a:lvl5pPr>
            <a:lvl6pPr marL="457200" fontAlgn="base">
              <a:spcBef>
                <a:spcPct val="0"/>
              </a:spcBef>
              <a:spcAft>
                <a:spcPct val="0"/>
              </a:spcAft>
              <a:defRPr sz="2400" b="1">
                <a:solidFill>
                  <a:srgbClr val="17426B"/>
                </a:solidFill>
                <a:latin typeface="Arial" charset="0"/>
              </a:defRPr>
            </a:lvl6pPr>
            <a:lvl7pPr marL="914400" fontAlgn="base">
              <a:spcBef>
                <a:spcPct val="0"/>
              </a:spcBef>
              <a:spcAft>
                <a:spcPct val="0"/>
              </a:spcAft>
              <a:defRPr sz="2400" b="1">
                <a:solidFill>
                  <a:srgbClr val="17426B"/>
                </a:solidFill>
                <a:latin typeface="Arial" charset="0"/>
              </a:defRPr>
            </a:lvl7pPr>
            <a:lvl8pPr marL="1371600" fontAlgn="base">
              <a:spcBef>
                <a:spcPct val="0"/>
              </a:spcBef>
              <a:spcAft>
                <a:spcPct val="0"/>
              </a:spcAft>
              <a:defRPr sz="2400" b="1">
                <a:solidFill>
                  <a:srgbClr val="17426B"/>
                </a:solidFill>
                <a:latin typeface="Arial" charset="0"/>
              </a:defRPr>
            </a:lvl8pPr>
            <a:lvl9pPr marL="1828800" fontAlgn="base">
              <a:spcBef>
                <a:spcPct val="0"/>
              </a:spcBef>
              <a:spcAft>
                <a:spcPct val="0"/>
              </a:spcAft>
              <a:defRPr sz="2400" b="1">
                <a:solidFill>
                  <a:srgbClr val="17426B"/>
                </a:solidFill>
                <a:latin typeface="Arial" charset="0"/>
              </a:defRPr>
            </a:lvl9pPr>
          </a:lstStyle>
          <a:p>
            <a:r>
              <a:rPr lang="en-IN" dirty="0"/>
              <a:t>Future to evolve to bundling of motor insurance with other </a:t>
            </a:r>
            <a:r>
              <a:rPr lang="en-IN" dirty="0" smtClean="0"/>
              <a:t>services: </a:t>
            </a:r>
          </a:p>
          <a:p>
            <a:r>
              <a:rPr lang="en-IN" dirty="0" smtClean="0"/>
              <a:t>Four possible scenarios of Motor insurance</a:t>
            </a:r>
            <a:endParaRPr lang="en-IN" dirty="0"/>
          </a:p>
        </p:txBody>
      </p:sp>
      <p:sp>
        <p:nvSpPr>
          <p:cNvPr id="24" name="Up Arrow 23"/>
          <p:cNvSpPr/>
          <p:nvPr/>
        </p:nvSpPr>
        <p:spPr>
          <a:xfrm>
            <a:off x="2516268" y="5517232"/>
            <a:ext cx="4169527" cy="632628"/>
          </a:xfrm>
          <a:prstGeom prst="upArrow">
            <a:avLst>
              <a:gd name="adj1" fmla="val 92055"/>
              <a:gd name="adj2" fmla="val 3122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ounded Rectangle 29"/>
          <p:cNvSpPr/>
          <p:nvPr/>
        </p:nvSpPr>
        <p:spPr>
          <a:xfrm>
            <a:off x="7413515" y="1457749"/>
            <a:ext cx="1440375" cy="2653247"/>
          </a:xfrm>
          <a:prstGeom prst="roundRect">
            <a:avLst/>
          </a:prstGeom>
          <a:solidFill>
            <a:schemeClr val="bg1"/>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ounded Rectangle 30"/>
          <p:cNvSpPr/>
          <p:nvPr/>
        </p:nvSpPr>
        <p:spPr>
          <a:xfrm>
            <a:off x="251305" y="1398421"/>
            <a:ext cx="1440375" cy="2756740"/>
          </a:xfrm>
          <a:prstGeom prst="roundRect">
            <a:avLst/>
          </a:prstGeom>
          <a:solidFill>
            <a:schemeClr val="bg1"/>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ed Rectangle 31"/>
          <p:cNvSpPr/>
          <p:nvPr/>
        </p:nvSpPr>
        <p:spPr>
          <a:xfrm>
            <a:off x="1752657" y="1398420"/>
            <a:ext cx="2747335" cy="1432420"/>
          </a:xfrm>
          <a:prstGeom prst="roundRect">
            <a:avLst/>
          </a:prstGeom>
          <a:solidFill>
            <a:schemeClr val="bg1"/>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p:cNvSpPr/>
          <p:nvPr/>
        </p:nvSpPr>
        <p:spPr>
          <a:xfrm>
            <a:off x="4560969" y="1396063"/>
            <a:ext cx="2747335" cy="1415332"/>
          </a:xfrm>
          <a:prstGeom prst="roundRect">
            <a:avLst/>
          </a:prstGeom>
          <a:solidFill>
            <a:schemeClr val="bg1"/>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2" descr="http://www.bankingsense.com/wp-content/uploads/2014/11/extended-warranty-for-used-cars.jpg"/>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0" b="100000" l="10000" r="90000"/>
                    </a14:imgEffect>
                  </a14:imgLayer>
                </a14:imgProps>
              </a:ext>
              <a:ext uri="{28A0092B-C50C-407E-A947-70E740481C1C}">
                <a14:useLocalDpi xmlns:a14="http://schemas.microsoft.com/office/drawing/2010/main" val="0"/>
              </a:ext>
            </a:extLst>
          </a:blip>
          <a:srcRect/>
          <a:stretch>
            <a:fillRect/>
          </a:stretch>
        </p:blipFill>
        <p:spPr bwMode="auto">
          <a:xfrm>
            <a:off x="251305" y="2986330"/>
            <a:ext cx="1422779" cy="97083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http://cdn.toptenreviews.com/rev/site/cms/category_headers/361-h_main-w.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64288" y="2779038"/>
            <a:ext cx="2138222" cy="96564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descr="http://incomebooster.org/wp-content/uploads/2010/04/file-hosting-money-300x290.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99640" y="1624044"/>
            <a:ext cx="986094" cy="95322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http://www.lanesinsurance.com/wp-content/uploads/2014/03/home-auto-bundle-larg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22653" y="1584456"/>
            <a:ext cx="1080120" cy="1082685"/>
          </a:xfrm>
          <a:prstGeom prst="rect">
            <a:avLst/>
          </a:prstGeom>
          <a:noFill/>
          <a:extLst>
            <a:ext uri="{909E8E84-426E-40DD-AFC4-6F175D3DCCD1}">
              <a14:hiddenFill xmlns:a14="http://schemas.microsoft.com/office/drawing/2010/main">
                <a:solidFill>
                  <a:srgbClr val="FFFFFF"/>
                </a:solidFill>
              </a14:hiddenFill>
            </a:ext>
          </a:extLst>
        </p:spPr>
      </p:pic>
      <p:sp>
        <p:nvSpPr>
          <p:cNvPr id="38" name="Oval 37"/>
          <p:cNvSpPr/>
          <p:nvPr/>
        </p:nvSpPr>
        <p:spPr>
          <a:xfrm>
            <a:off x="1950645" y="1454279"/>
            <a:ext cx="1296144" cy="1284870"/>
          </a:xfrm>
          <a:prstGeom prst="ellipse">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p:cNvSpPr/>
          <p:nvPr/>
        </p:nvSpPr>
        <p:spPr>
          <a:xfrm>
            <a:off x="345895" y="2830840"/>
            <a:ext cx="1233600" cy="1249887"/>
          </a:xfrm>
          <a:prstGeom prst="ellipse">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p:cNvSpPr/>
          <p:nvPr/>
        </p:nvSpPr>
        <p:spPr>
          <a:xfrm>
            <a:off x="5832118" y="1462688"/>
            <a:ext cx="1321139" cy="1275939"/>
          </a:xfrm>
          <a:prstGeom prst="ellipse">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p:nvPr/>
        </p:nvSpPr>
        <p:spPr>
          <a:xfrm>
            <a:off x="7452320" y="2632125"/>
            <a:ext cx="1362767" cy="1327623"/>
          </a:xfrm>
          <a:prstGeom prst="ellipse">
            <a:avLst/>
          </a:prstGeom>
          <a:no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Picture 14" descr="http://www.its.dot.gov/newsletter/images/Image26.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037774" y="2887195"/>
            <a:ext cx="5126514" cy="224790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3" name="Rectangle 42"/>
          <p:cNvSpPr/>
          <p:nvPr/>
        </p:nvSpPr>
        <p:spPr>
          <a:xfrm>
            <a:off x="2836830" y="5970766"/>
            <a:ext cx="3528402" cy="338554"/>
          </a:xfrm>
          <a:prstGeom prst="rect">
            <a:avLst/>
          </a:prstGeom>
          <a:solidFill>
            <a:schemeClr val="bg1"/>
          </a:solidFill>
        </p:spPr>
        <p:txBody>
          <a:bodyPr wrap="none">
            <a:spAutoFit/>
          </a:bodyPr>
          <a:lstStyle/>
          <a:p>
            <a:pPr algn="ctr"/>
            <a:r>
              <a:rPr lang="en-GB" sz="1600" b="1" dirty="0">
                <a:solidFill>
                  <a:schemeClr val="tx2"/>
                </a:solidFill>
              </a:rPr>
              <a:t>Traditional Motor Insurance Model</a:t>
            </a:r>
          </a:p>
        </p:txBody>
      </p:sp>
      <p:sp>
        <p:nvSpPr>
          <p:cNvPr id="44" name="Rectangle 43"/>
          <p:cNvSpPr/>
          <p:nvPr/>
        </p:nvSpPr>
        <p:spPr>
          <a:xfrm>
            <a:off x="2809483" y="5135096"/>
            <a:ext cx="3583096" cy="369332"/>
          </a:xfrm>
          <a:prstGeom prst="rect">
            <a:avLst/>
          </a:prstGeom>
        </p:spPr>
        <p:txBody>
          <a:bodyPr wrap="none">
            <a:spAutoFit/>
          </a:bodyPr>
          <a:lstStyle/>
          <a:p>
            <a:pPr algn="ctr"/>
            <a:r>
              <a:rPr lang="en-GB" b="1" dirty="0">
                <a:solidFill>
                  <a:schemeClr val="tx2"/>
                </a:solidFill>
              </a:rPr>
              <a:t>Fully-automated Driving Traffic</a:t>
            </a:r>
          </a:p>
        </p:txBody>
      </p:sp>
      <p:sp>
        <p:nvSpPr>
          <p:cNvPr id="45" name="Rectangle 44"/>
          <p:cNvSpPr/>
          <p:nvPr/>
        </p:nvSpPr>
        <p:spPr>
          <a:xfrm>
            <a:off x="251305" y="1678712"/>
            <a:ext cx="1440375" cy="954107"/>
          </a:xfrm>
          <a:prstGeom prst="rect">
            <a:avLst/>
          </a:prstGeom>
        </p:spPr>
        <p:txBody>
          <a:bodyPr wrap="square">
            <a:spAutoFit/>
          </a:bodyPr>
          <a:lstStyle/>
          <a:p>
            <a:pPr algn="ctr"/>
            <a:r>
              <a:rPr lang="en-GB" sz="1400" dirty="0">
                <a:solidFill>
                  <a:schemeClr val="tx2"/>
                </a:solidFill>
              </a:rPr>
              <a:t>Motor insurance built into extended warranty</a:t>
            </a:r>
          </a:p>
        </p:txBody>
      </p:sp>
      <p:sp>
        <p:nvSpPr>
          <p:cNvPr id="46" name="Rectangle 45"/>
          <p:cNvSpPr/>
          <p:nvPr/>
        </p:nvSpPr>
        <p:spPr>
          <a:xfrm>
            <a:off x="3275856" y="1390680"/>
            <a:ext cx="1224136" cy="1384995"/>
          </a:xfrm>
          <a:prstGeom prst="rect">
            <a:avLst/>
          </a:prstGeom>
        </p:spPr>
        <p:txBody>
          <a:bodyPr wrap="square">
            <a:spAutoFit/>
          </a:bodyPr>
          <a:lstStyle/>
          <a:p>
            <a:r>
              <a:rPr lang="en-GB" sz="1400" dirty="0">
                <a:solidFill>
                  <a:schemeClr val="tx2"/>
                </a:solidFill>
              </a:rPr>
              <a:t>Motor insurance bundled along with property insurance</a:t>
            </a:r>
          </a:p>
        </p:txBody>
      </p:sp>
      <p:sp>
        <p:nvSpPr>
          <p:cNvPr id="47" name="Rectangle 46"/>
          <p:cNvSpPr/>
          <p:nvPr/>
        </p:nvSpPr>
        <p:spPr>
          <a:xfrm>
            <a:off x="4632977" y="1534696"/>
            <a:ext cx="1440160" cy="1169551"/>
          </a:xfrm>
          <a:prstGeom prst="rect">
            <a:avLst/>
          </a:prstGeom>
        </p:spPr>
        <p:txBody>
          <a:bodyPr wrap="square">
            <a:spAutoFit/>
          </a:bodyPr>
          <a:lstStyle/>
          <a:p>
            <a:r>
              <a:rPr lang="en-US" sz="1400" dirty="0">
                <a:solidFill>
                  <a:schemeClr val="tx2"/>
                </a:solidFill>
              </a:rPr>
              <a:t>Insurance risk split between manufacturer and other stakeholders</a:t>
            </a:r>
          </a:p>
        </p:txBody>
      </p:sp>
      <p:sp>
        <p:nvSpPr>
          <p:cNvPr id="48" name="Rectangle 47"/>
          <p:cNvSpPr/>
          <p:nvPr/>
        </p:nvSpPr>
        <p:spPr>
          <a:xfrm>
            <a:off x="7454275" y="1462574"/>
            <a:ext cx="1438205" cy="1169551"/>
          </a:xfrm>
          <a:prstGeom prst="rect">
            <a:avLst/>
          </a:prstGeom>
        </p:spPr>
        <p:txBody>
          <a:bodyPr wrap="square">
            <a:spAutoFit/>
          </a:bodyPr>
          <a:lstStyle/>
          <a:p>
            <a:pPr algn="ctr"/>
            <a:r>
              <a:rPr lang="en-US" sz="1400" dirty="0">
                <a:solidFill>
                  <a:schemeClr val="tx2"/>
                </a:solidFill>
              </a:rPr>
              <a:t>Motor insurance offered by vehicle manufacturers</a:t>
            </a:r>
          </a:p>
        </p:txBody>
      </p:sp>
      <p:sp>
        <p:nvSpPr>
          <p:cNvPr id="49" name="Oval 48"/>
          <p:cNvSpPr/>
          <p:nvPr/>
        </p:nvSpPr>
        <p:spPr>
          <a:xfrm>
            <a:off x="191199" y="1318672"/>
            <a:ext cx="420361" cy="39106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b="1" dirty="0" smtClean="0">
                <a:solidFill>
                  <a:schemeClr val="tx2"/>
                </a:solidFill>
              </a:rPr>
              <a:t>1</a:t>
            </a:r>
            <a:endParaRPr lang="en-US" b="1" dirty="0">
              <a:solidFill>
                <a:schemeClr val="tx2"/>
              </a:solidFill>
            </a:endParaRPr>
          </a:p>
        </p:txBody>
      </p:sp>
      <p:sp>
        <p:nvSpPr>
          <p:cNvPr id="50" name="Oval 49"/>
          <p:cNvSpPr/>
          <p:nvPr/>
        </p:nvSpPr>
        <p:spPr>
          <a:xfrm>
            <a:off x="1691680" y="1281958"/>
            <a:ext cx="420361" cy="39106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b="1" dirty="0" smtClean="0">
                <a:solidFill>
                  <a:schemeClr val="tx2"/>
                </a:solidFill>
              </a:rPr>
              <a:t>2</a:t>
            </a:r>
            <a:endParaRPr lang="en-US" b="1" dirty="0">
              <a:solidFill>
                <a:schemeClr val="tx2"/>
              </a:solidFill>
            </a:endParaRPr>
          </a:p>
        </p:txBody>
      </p:sp>
      <p:sp>
        <p:nvSpPr>
          <p:cNvPr id="51" name="Oval 50"/>
          <p:cNvSpPr/>
          <p:nvPr/>
        </p:nvSpPr>
        <p:spPr>
          <a:xfrm>
            <a:off x="6993154" y="1292979"/>
            <a:ext cx="420361" cy="39106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b="1" dirty="0" smtClean="0">
                <a:solidFill>
                  <a:schemeClr val="tx2"/>
                </a:solidFill>
              </a:rPr>
              <a:t>3</a:t>
            </a:r>
            <a:endParaRPr lang="en-US" b="1" dirty="0">
              <a:solidFill>
                <a:schemeClr val="tx2"/>
              </a:solidFill>
            </a:endParaRPr>
          </a:p>
        </p:txBody>
      </p:sp>
      <p:sp>
        <p:nvSpPr>
          <p:cNvPr id="52" name="Oval 51"/>
          <p:cNvSpPr/>
          <p:nvPr/>
        </p:nvSpPr>
        <p:spPr>
          <a:xfrm>
            <a:off x="8532440" y="1318672"/>
            <a:ext cx="420361" cy="39106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b="1" dirty="0" smtClean="0">
                <a:solidFill>
                  <a:schemeClr val="tx2"/>
                </a:solidFill>
              </a:rPr>
              <a:t>4</a:t>
            </a:r>
            <a:endParaRPr lang="en-US" b="1" dirty="0">
              <a:solidFill>
                <a:schemeClr val="tx2"/>
              </a:solidFill>
            </a:endParaRPr>
          </a:p>
        </p:txBody>
      </p:sp>
    </p:spTree>
    <p:extLst>
      <p:ext uri="{BB962C8B-B14F-4D97-AF65-F5344CB8AC3E}">
        <p14:creationId xmlns:p14="http://schemas.microsoft.com/office/powerpoint/2010/main" val="9408486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ct 70" hidden="1"/>
          <p:cNvGraphicFramePr>
            <a:graphicFrameLocks noChangeAspect="1"/>
          </p:cNvGraphicFramePr>
          <p:nvPr>
            <p:custDataLst>
              <p:tags r:id="rId2"/>
            </p:custDataLst>
            <p:extLst>
              <p:ext uri="{D42A27DB-BD31-4B8C-83A1-F6EECF244321}">
                <p14:modId xmlns:p14="http://schemas.microsoft.com/office/powerpoint/2010/main" val="2227052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3" name="Rectangle 32"/>
          <p:cNvSpPr>
            <a:spLocks noChangeArrowheads="1"/>
          </p:cNvSpPr>
          <p:nvPr/>
        </p:nvSpPr>
        <p:spPr bwMode="auto">
          <a:xfrm>
            <a:off x="1185863" y="2541464"/>
            <a:ext cx="4763" cy="3233737"/>
          </a:xfrm>
          <a:prstGeom prst="rect">
            <a:avLst/>
          </a:prstGeom>
          <a:solidFill>
            <a:schemeClr val="accent2"/>
          </a:solidFill>
          <a:ln w="9525">
            <a:solidFill>
              <a:schemeClr val="accent2"/>
            </a:solidFill>
            <a:miter lim="800000"/>
            <a:headEnd/>
            <a:tailEnd/>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0" name="Freeform 36"/>
          <p:cNvSpPr>
            <a:spLocks/>
          </p:cNvSpPr>
          <p:nvPr/>
        </p:nvSpPr>
        <p:spPr bwMode="auto">
          <a:xfrm>
            <a:off x="2312988" y="2541464"/>
            <a:ext cx="4763" cy="1584325"/>
          </a:xfrm>
          <a:custGeom>
            <a:avLst/>
            <a:gdLst>
              <a:gd name="T0" fmla="*/ 0 w 3"/>
              <a:gd name="T1" fmla="*/ 0 h 998"/>
              <a:gd name="T2" fmla="*/ 0 w 3"/>
              <a:gd name="T3" fmla="*/ 998 h 998"/>
              <a:gd name="T4" fmla="*/ 3 w 3"/>
              <a:gd name="T5" fmla="*/ 998 h 998"/>
              <a:gd name="T6" fmla="*/ 3 w 3"/>
              <a:gd name="T7" fmla="*/ 0 h 998"/>
            </a:gdLst>
            <a:ahLst/>
            <a:cxnLst>
              <a:cxn ang="0">
                <a:pos x="T0" y="T1"/>
              </a:cxn>
              <a:cxn ang="0">
                <a:pos x="T2" y="T3"/>
              </a:cxn>
              <a:cxn ang="0">
                <a:pos x="T4" y="T5"/>
              </a:cxn>
              <a:cxn ang="0">
                <a:pos x="T6" y="T7"/>
              </a:cxn>
            </a:cxnLst>
            <a:rect l="0" t="0" r="r" b="b"/>
            <a:pathLst>
              <a:path w="3" h="998">
                <a:moveTo>
                  <a:pt x="0" y="0"/>
                </a:moveTo>
                <a:lnTo>
                  <a:pt x="0" y="998"/>
                </a:lnTo>
                <a:lnTo>
                  <a:pt x="3" y="998"/>
                </a:lnTo>
                <a:lnTo>
                  <a:pt x="3" y="0"/>
                </a:lnTo>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2" name="Rectangle 38"/>
          <p:cNvSpPr>
            <a:spLocks noChangeArrowheads="1"/>
          </p:cNvSpPr>
          <p:nvPr/>
        </p:nvSpPr>
        <p:spPr bwMode="auto">
          <a:xfrm>
            <a:off x="3440113" y="2541464"/>
            <a:ext cx="6350" cy="944562"/>
          </a:xfrm>
          <a:prstGeom prst="rect">
            <a:avLst/>
          </a:prstGeom>
          <a:solidFill>
            <a:schemeClr val="accent2"/>
          </a:solidFill>
          <a:ln w="9525">
            <a:solidFill>
              <a:schemeClr val="accent2"/>
            </a:solidFill>
            <a:miter lim="800000"/>
            <a:headEnd/>
            <a:tailEnd/>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8" name="Rectangle 41"/>
          <p:cNvSpPr>
            <a:spLocks noChangeArrowheads="1"/>
          </p:cNvSpPr>
          <p:nvPr/>
        </p:nvSpPr>
        <p:spPr bwMode="auto">
          <a:xfrm>
            <a:off x="4540251" y="2541464"/>
            <a:ext cx="4763" cy="782637"/>
          </a:xfrm>
          <a:prstGeom prst="rect">
            <a:avLst/>
          </a:prstGeom>
          <a:solidFill>
            <a:schemeClr val="accent2"/>
          </a:solidFill>
          <a:ln w="9525">
            <a:solidFill>
              <a:schemeClr val="accent2"/>
            </a:solidFill>
            <a:miter lim="800000"/>
            <a:headEnd/>
            <a:tailEnd/>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57" name="Freeform 45"/>
          <p:cNvSpPr>
            <a:spLocks/>
          </p:cNvSpPr>
          <p:nvPr/>
        </p:nvSpPr>
        <p:spPr bwMode="auto">
          <a:xfrm>
            <a:off x="5695951" y="2541464"/>
            <a:ext cx="4763" cy="782637"/>
          </a:xfrm>
          <a:custGeom>
            <a:avLst/>
            <a:gdLst>
              <a:gd name="T0" fmla="*/ 0 w 3"/>
              <a:gd name="T1" fmla="*/ 0 h 493"/>
              <a:gd name="T2" fmla="*/ 0 w 3"/>
              <a:gd name="T3" fmla="*/ 493 h 493"/>
              <a:gd name="T4" fmla="*/ 3 w 3"/>
              <a:gd name="T5" fmla="*/ 493 h 493"/>
              <a:gd name="T6" fmla="*/ 3 w 3"/>
              <a:gd name="T7" fmla="*/ 0 h 493"/>
            </a:gdLst>
            <a:ahLst/>
            <a:cxnLst>
              <a:cxn ang="0">
                <a:pos x="T0" y="T1"/>
              </a:cxn>
              <a:cxn ang="0">
                <a:pos x="T2" y="T3"/>
              </a:cxn>
              <a:cxn ang="0">
                <a:pos x="T4" y="T5"/>
              </a:cxn>
              <a:cxn ang="0">
                <a:pos x="T6" y="T7"/>
              </a:cxn>
            </a:cxnLst>
            <a:rect l="0" t="0" r="r" b="b"/>
            <a:pathLst>
              <a:path w="3" h="493">
                <a:moveTo>
                  <a:pt x="0" y="0"/>
                </a:moveTo>
                <a:lnTo>
                  <a:pt x="0" y="493"/>
                </a:lnTo>
                <a:lnTo>
                  <a:pt x="3" y="493"/>
                </a:lnTo>
                <a:lnTo>
                  <a:pt x="3" y="0"/>
                </a:lnTo>
              </a:path>
            </a:pathLst>
          </a:custGeom>
          <a:solidFill>
            <a:schemeClr val="accent2"/>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5" name="Rectangle 47"/>
          <p:cNvSpPr>
            <a:spLocks noChangeArrowheads="1"/>
          </p:cNvSpPr>
          <p:nvPr/>
        </p:nvSpPr>
        <p:spPr bwMode="auto">
          <a:xfrm>
            <a:off x="6823076" y="2541464"/>
            <a:ext cx="4763" cy="1584325"/>
          </a:xfrm>
          <a:prstGeom prst="rect">
            <a:avLst/>
          </a:prstGeom>
          <a:solidFill>
            <a:schemeClr val="accent2"/>
          </a:solidFill>
          <a:ln w="12700">
            <a:solidFill>
              <a:schemeClr val="accent2"/>
            </a:solid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8" name="Rectangle 50"/>
          <p:cNvSpPr>
            <a:spLocks noChangeArrowheads="1"/>
          </p:cNvSpPr>
          <p:nvPr/>
        </p:nvSpPr>
        <p:spPr bwMode="auto">
          <a:xfrm>
            <a:off x="7950201" y="2541464"/>
            <a:ext cx="6350" cy="3200400"/>
          </a:xfrm>
          <a:prstGeom prst="rect">
            <a:avLst/>
          </a:prstGeom>
          <a:solidFill>
            <a:schemeClr val="accent2"/>
          </a:solidFill>
          <a:ln w="12700">
            <a:solidFill>
              <a:schemeClr val="accent2"/>
            </a:solid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59" name="WordArt 25"/>
          <p:cNvSpPr>
            <a:spLocks noChangeArrowheads="1" noChangeShapeType="1" noTextEdit="1"/>
          </p:cNvSpPr>
          <p:nvPr/>
        </p:nvSpPr>
        <p:spPr bwMode="auto">
          <a:xfrm>
            <a:off x="3217214" y="4616134"/>
            <a:ext cx="2497127" cy="204252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532543"/>
              </a:avLst>
            </a:prstTxWarp>
          </a:bodyPr>
          <a:lstStyle/>
          <a:p>
            <a:pPr algn="ctr" fontAlgn="base" latinLnBrk="1">
              <a:spcBef>
                <a:spcPct val="0"/>
              </a:spcBef>
              <a:spcAft>
                <a:spcPct val="0"/>
              </a:spcAft>
            </a:pPr>
            <a:endParaRPr kumimoji="1" lang="en-US" sz="2800" kern="10" dirty="0" smtClean="0">
              <a:solidFill>
                <a:srgbClr val="FFFFFF"/>
              </a:solidFill>
              <a:ea typeface="Gulim" panose="020B0600000101010101" pitchFamily="34" charset="-127"/>
              <a:cs typeface="Arial" panose="020B0604020202020204" pitchFamily="34" charset="0"/>
            </a:endParaRPr>
          </a:p>
        </p:txBody>
      </p:sp>
      <p:sp>
        <p:nvSpPr>
          <p:cNvPr id="73" name="Title 1"/>
          <p:cNvSpPr>
            <a:spLocks noGrp="1"/>
          </p:cNvSpPr>
          <p:nvPr>
            <p:ph type="title"/>
          </p:nvPr>
        </p:nvSpPr>
        <p:spPr>
          <a:xfrm>
            <a:off x="238124" y="161925"/>
            <a:ext cx="8677275" cy="762000"/>
          </a:xfrm>
        </p:spPr>
        <p:txBody>
          <a:bodyPr/>
          <a:lstStyle/>
          <a:p>
            <a:r>
              <a:rPr lang="en-US" sz="2000" dirty="0" smtClean="0"/>
              <a:t>The Car of the Future: Self Learning Cars</a:t>
            </a:r>
            <a:br>
              <a:rPr lang="en-US" sz="2000" dirty="0" smtClean="0"/>
            </a:br>
            <a:r>
              <a:rPr lang="en-US" sz="1600" b="0" dirty="0"/>
              <a:t>U</a:t>
            </a:r>
            <a:r>
              <a:rPr lang="en-US" sz="1600" b="0" dirty="0" smtClean="0"/>
              <a:t>se of automated driving and connectivity to create a predictive environment that is safe and contextually relevant</a:t>
            </a:r>
            <a:endParaRPr lang="en-US" sz="1600" b="0" dirty="0">
              <a:solidFill>
                <a:srgbClr val="003366"/>
              </a:solidFill>
              <a:latin typeface="+mn-lt"/>
              <a:ea typeface="+mn-ea"/>
            </a:endParaRPr>
          </a:p>
        </p:txBody>
      </p:sp>
      <p:sp>
        <p:nvSpPr>
          <p:cNvPr id="25" name="Text Box 80"/>
          <p:cNvSpPr txBox="1">
            <a:spLocks noChangeArrowheads="1"/>
          </p:cNvSpPr>
          <p:nvPr/>
        </p:nvSpPr>
        <p:spPr bwMode="auto">
          <a:xfrm>
            <a:off x="7685074" y="6242829"/>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a:t>
            </a:r>
            <a:r>
              <a:rPr lang="en-US" sz="900" dirty="0" smtClean="0">
                <a:solidFill>
                  <a:srgbClr val="517496"/>
                </a:solidFill>
              </a:rPr>
              <a:t>Sullivan</a:t>
            </a:r>
            <a:endParaRPr lang="en-US" sz="900" dirty="0">
              <a:solidFill>
                <a:srgbClr val="517496"/>
              </a:solidFill>
            </a:endParaRPr>
          </a:p>
        </p:txBody>
      </p:sp>
      <p:sp>
        <p:nvSpPr>
          <p:cNvPr id="6" name="Freeform 6"/>
          <p:cNvSpPr>
            <a:spLocks/>
          </p:cNvSpPr>
          <p:nvPr/>
        </p:nvSpPr>
        <p:spPr bwMode="auto">
          <a:xfrm>
            <a:off x="1177926" y="3314576"/>
            <a:ext cx="6784975" cy="2452687"/>
          </a:xfrm>
          <a:custGeom>
            <a:avLst/>
            <a:gdLst>
              <a:gd name="T0" fmla="*/ 8 w 2684"/>
              <a:gd name="T1" fmla="*/ 970 h 970"/>
              <a:gd name="T2" fmla="*/ 333 w 2684"/>
              <a:gd name="T3" fmla="*/ 435 h 970"/>
              <a:gd name="T4" fmla="*/ 1344 w 2684"/>
              <a:gd name="T5" fmla="*/ 8 h 970"/>
              <a:gd name="T6" fmla="*/ 2322 w 2684"/>
              <a:gd name="T7" fmla="*/ 404 h 970"/>
              <a:gd name="T8" fmla="*/ 2676 w 2684"/>
              <a:gd name="T9" fmla="*/ 962 h 970"/>
              <a:gd name="T10" fmla="*/ 2684 w 2684"/>
              <a:gd name="T11" fmla="*/ 959 h 970"/>
              <a:gd name="T12" fmla="*/ 2328 w 2684"/>
              <a:gd name="T13" fmla="*/ 398 h 970"/>
              <a:gd name="T14" fmla="*/ 1344 w 2684"/>
              <a:gd name="T15" fmla="*/ 0 h 970"/>
              <a:gd name="T16" fmla="*/ 328 w 2684"/>
              <a:gd name="T17" fmla="*/ 429 h 970"/>
              <a:gd name="T18" fmla="*/ 0 w 2684"/>
              <a:gd name="T19" fmla="*/ 968 h 970"/>
              <a:gd name="T20" fmla="*/ 8 w 2684"/>
              <a:gd name="T21" fmla="*/ 970 h 970"/>
              <a:gd name="T22" fmla="*/ 8 w 2684"/>
              <a:gd name="T23" fmla="*/ 97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84" h="970">
                <a:moveTo>
                  <a:pt x="8" y="970"/>
                </a:moveTo>
                <a:cubicBezTo>
                  <a:pt x="73" y="776"/>
                  <a:pt x="181" y="592"/>
                  <a:pt x="333" y="435"/>
                </a:cubicBezTo>
                <a:cubicBezTo>
                  <a:pt x="609" y="151"/>
                  <a:pt x="976" y="8"/>
                  <a:pt x="1344" y="8"/>
                </a:cubicBezTo>
                <a:cubicBezTo>
                  <a:pt x="1696" y="8"/>
                  <a:pt x="2049" y="139"/>
                  <a:pt x="2322" y="404"/>
                </a:cubicBezTo>
                <a:cubicBezTo>
                  <a:pt x="2489" y="565"/>
                  <a:pt x="2607" y="757"/>
                  <a:pt x="2676" y="962"/>
                </a:cubicBezTo>
                <a:cubicBezTo>
                  <a:pt x="2684" y="959"/>
                  <a:pt x="2684" y="959"/>
                  <a:pt x="2684" y="959"/>
                </a:cubicBezTo>
                <a:cubicBezTo>
                  <a:pt x="2614" y="753"/>
                  <a:pt x="2495" y="560"/>
                  <a:pt x="2328" y="398"/>
                </a:cubicBezTo>
                <a:cubicBezTo>
                  <a:pt x="2053" y="132"/>
                  <a:pt x="1698" y="0"/>
                  <a:pt x="1344" y="0"/>
                </a:cubicBezTo>
                <a:cubicBezTo>
                  <a:pt x="974" y="0"/>
                  <a:pt x="605" y="143"/>
                  <a:pt x="328" y="429"/>
                </a:cubicBezTo>
                <a:cubicBezTo>
                  <a:pt x="174" y="587"/>
                  <a:pt x="65" y="772"/>
                  <a:pt x="0" y="968"/>
                </a:cubicBezTo>
                <a:cubicBezTo>
                  <a:pt x="8" y="970"/>
                  <a:pt x="8" y="970"/>
                  <a:pt x="8" y="970"/>
                </a:cubicBezTo>
                <a:cubicBezTo>
                  <a:pt x="8" y="970"/>
                  <a:pt x="8" y="970"/>
                  <a:pt x="8" y="970"/>
                </a:cubicBezTo>
              </a:path>
            </a:pathLst>
          </a:custGeom>
          <a:solidFill>
            <a:schemeClr val="tx2"/>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7" name="Oval 7"/>
          <p:cNvSpPr>
            <a:spLocks noChangeArrowheads="1"/>
          </p:cNvSpPr>
          <p:nvPr/>
        </p:nvSpPr>
        <p:spPr bwMode="auto">
          <a:xfrm>
            <a:off x="7789863" y="5581526"/>
            <a:ext cx="325438" cy="32543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8" name="Oval 8"/>
          <p:cNvSpPr>
            <a:spLocks noChangeArrowheads="1"/>
          </p:cNvSpPr>
          <p:nvPr/>
        </p:nvSpPr>
        <p:spPr bwMode="auto">
          <a:xfrm>
            <a:off x="1025526" y="5581526"/>
            <a:ext cx="327025" cy="32543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9" name="Oval 9"/>
          <p:cNvSpPr>
            <a:spLocks noChangeArrowheads="1"/>
          </p:cNvSpPr>
          <p:nvPr/>
        </p:nvSpPr>
        <p:spPr bwMode="auto">
          <a:xfrm>
            <a:off x="5534026" y="3324101"/>
            <a:ext cx="325438" cy="32702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0" name="Oval 10"/>
          <p:cNvSpPr>
            <a:spLocks noChangeArrowheads="1"/>
          </p:cNvSpPr>
          <p:nvPr/>
        </p:nvSpPr>
        <p:spPr bwMode="auto">
          <a:xfrm>
            <a:off x="6661151" y="3962276"/>
            <a:ext cx="327025" cy="32543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1" name="Oval 11"/>
          <p:cNvSpPr>
            <a:spLocks noChangeArrowheads="1"/>
          </p:cNvSpPr>
          <p:nvPr/>
        </p:nvSpPr>
        <p:spPr bwMode="auto">
          <a:xfrm>
            <a:off x="4408488" y="3160589"/>
            <a:ext cx="327025" cy="32543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2" name="Oval 12"/>
          <p:cNvSpPr>
            <a:spLocks noChangeArrowheads="1"/>
          </p:cNvSpPr>
          <p:nvPr/>
        </p:nvSpPr>
        <p:spPr bwMode="auto">
          <a:xfrm>
            <a:off x="3281363" y="3324101"/>
            <a:ext cx="325438" cy="32702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3" name="Oval 13"/>
          <p:cNvSpPr>
            <a:spLocks noChangeArrowheads="1"/>
          </p:cNvSpPr>
          <p:nvPr/>
        </p:nvSpPr>
        <p:spPr bwMode="auto">
          <a:xfrm>
            <a:off x="2154238" y="3962276"/>
            <a:ext cx="325438" cy="325437"/>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4" name="Freeform 14"/>
          <p:cNvSpPr>
            <a:spLocks/>
          </p:cNvSpPr>
          <p:nvPr/>
        </p:nvSpPr>
        <p:spPr bwMode="auto">
          <a:xfrm>
            <a:off x="2070101" y="4196039"/>
            <a:ext cx="5000625" cy="1878012"/>
          </a:xfrm>
          <a:custGeom>
            <a:avLst/>
            <a:gdLst>
              <a:gd name="T0" fmla="*/ 1869 w 1978"/>
              <a:gd name="T1" fmla="*/ 741 h 742"/>
              <a:gd name="T2" fmla="*/ 110 w 1978"/>
              <a:gd name="T3" fmla="*/ 741 h 742"/>
              <a:gd name="T4" fmla="*/ 27 w 1978"/>
              <a:gd name="T5" fmla="*/ 700 h 742"/>
              <a:gd name="T6" fmla="*/ 17 w 1978"/>
              <a:gd name="T7" fmla="*/ 594 h 742"/>
              <a:gd name="T8" fmla="*/ 989 w 1978"/>
              <a:gd name="T9" fmla="*/ 0 h 742"/>
              <a:gd name="T10" fmla="*/ 1960 w 1978"/>
              <a:gd name="T11" fmla="*/ 593 h 742"/>
              <a:gd name="T12" fmla="*/ 1952 w 1978"/>
              <a:gd name="T13" fmla="*/ 699 h 742"/>
              <a:gd name="T14" fmla="*/ 1869 w 1978"/>
              <a:gd name="T15" fmla="*/ 741 h 7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8" h="742">
                <a:moveTo>
                  <a:pt x="1869" y="741"/>
                </a:moveTo>
                <a:cubicBezTo>
                  <a:pt x="110" y="741"/>
                  <a:pt x="110" y="741"/>
                  <a:pt x="110" y="741"/>
                </a:cubicBezTo>
                <a:cubicBezTo>
                  <a:pt x="78" y="741"/>
                  <a:pt x="46" y="724"/>
                  <a:pt x="27" y="700"/>
                </a:cubicBezTo>
                <a:cubicBezTo>
                  <a:pt x="2" y="669"/>
                  <a:pt x="0" y="630"/>
                  <a:pt x="17" y="594"/>
                </a:cubicBezTo>
                <a:cubicBezTo>
                  <a:pt x="199" y="226"/>
                  <a:pt x="580" y="0"/>
                  <a:pt x="989" y="0"/>
                </a:cubicBezTo>
                <a:cubicBezTo>
                  <a:pt x="1399" y="0"/>
                  <a:pt x="1776" y="227"/>
                  <a:pt x="1960" y="593"/>
                </a:cubicBezTo>
                <a:cubicBezTo>
                  <a:pt x="1978" y="629"/>
                  <a:pt x="1976" y="668"/>
                  <a:pt x="1952" y="699"/>
                </a:cubicBezTo>
                <a:cubicBezTo>
                  <a:pt x="1933" y="724"/>
                  <a:pt x="1901" y="742"/>
                  <a:pt x="1869" y="74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5" name="Freeform 15"/>
          <p:cNvSpPr>
            <a:spLocks noEditPoints="1"/>
          </p:cNvSpPr>
          <p:nvPr/>
        </p:nvSpPr>
        <p:spPr bwMode="auto">
          <a:xfrm>
            <a:off x="2082801" y="5724394"/>
            <a:ext cx="4986338" cy="379412"/>
          </a:xfrm>
          <a:custGeom>
            <a:avLst/>
            <a:gdLst>
              <a:gd name="T0" fmla="*/ 1947 w 1972"/>
              <a:gd name="T1" fmla="*/ 110 h 150"/>
              <a:gd name="T2" fmla="*/ 1884 w 1972"/>
              <a:gd name="T3" fmla="*/ 150 h 150"/>
              <a:gd name="T4" fmla="*/ 1947 w 1972"/>
              <a:gd name="T5" fmla="*/ 110 h 150"/>
              <a:gd name="T6" fmla="*/ 14 w 1972"/>
              <a:gd name="T7" fmla="*/ 1 h 150"/>
              <a:gd name="T8" fmla="*/ 12 w 1972"/>
              <a:gd name="T9" fmla="*/ 5 h 150"/>
              <a:gd name="T10" fmla="*/ 1 w 1972"/>
              <a:gd name="T11" fmla="*/ 58 h 150"/>
              <a:gd name="T12" fmla="*/ 12 w 1972"/>
              <a:gd name="T13" fmla="*/ 5 h 150"/>
              <a:gd name="T14" fmla="*/ 14 w 1972"/>
              <a:gd name="T15" fmla="*/ 1 h 150"/>
              <a:gd name="T16" fmla="*/ 1953 w 1972"/>
              <a:gd name="T17" fmla="*/ 0 h 150"/>
              <a:gd name="T18" fmla="*/ 1955 w 1972"/>
              <a:gd name="T19" fmla="*/ 4 h 150"/>
              <a:gd name="T20" fmla="*/ 1950 w 1972"/>
              <a:gd name="T21" fmla="*/ 106 h 150"/>
              <a:gd name="T22" fmla="*/ 1955 w 1972"/>
              <a:gd name="T23" fmla="*/ 4 h 150"/>
              <a:gd name="T24" fmla="*/ 1953 w 1972"/>
              <a:gd name="T2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2" h="150">
                <a:moveTo>
                  <a:pt x="1947" y="110"/>
                </a:moveTo>
                <a:cubicBezTo>
                  <a:pt x="1932" y="130"/>
                  <a:pt x="1909" y="145"/>
                  <a:pt x="1884" y="150"/>
                </a:cubicBezTo>
                <a:cubicBezTo>
                  <a:pt x="1909" y="145"/>
                  <a:pt x="1932" y="130"/>
                  <a:pt x="1947" y="110"/>
                </a:cubicBezTo>
                <a:moveTo>
                  <a:pt x="14" y="1"/>
                </a:moveTo>
                <a:cubicBezTo>
                  <a:pt x="14" y="2"/>
                  <a:pt x="13" y="4"/>
                  <a:pt x="12" y="5"/>
                </a:cubicBezTo>
                <a:cubicBezTo>
                  <a:pt x="4" y="23"/>
                  <a:pt x="0" y="41"/>
                  <a:pt x="1" y="58"/>
                </a:cubicBezTo>
                <a:cubicBezTo>
                  <a:pt x="0" y="41"/>
                  <a:pt x="4" y="23"/>
                  <a:pt x="12" y="5"/>
                </a:cubicBezTo>
                <a:cubicBezTo>
                  <a:pt x="13" y="4"/>
                  <a:pt x="14" y="2"/>
                  <a:pt x="14" y="1"/>
                </a:cubicBezTo>
                <a:moveTo>
                  <a:pt x="1953" y="0"/>
                </a:moveTo>
                <a:cubicBezTo>
                  <a:pt x="1954" y="1"/>
                  <a:pt x="1955" y="3"/>
                  <a:pt x="1955" y="4"/>
                </a:cubicBezTo>
                <a:cubicBezTo>
                  <a:pt x="1972" y="38"/>
                  <a:pt x="1971" y="75"/>
                  <a:pt x="1950" y="106"/>
                </a:cubicBezTo>
                <a:cubicBezTo>
                  <a:pt x="1971" y="75"/>
                  <a:pt x="1972" y="38"/>
                  <a:pt x="1955" y="4"/>
                </a:cubicBezTo>
                <a:cubicBezTo>
                  <a:pt x="1955" y="3"/>
                  <a:pt x="1954" y="1"/>
                  <a:pt x="1953" y="0"/>
                </a:cubicBezTo>
              </a:path>
            </a:pathLst>
          </a:custGeom>
          <a:solidFill>
            <a:srgbClr val="E2E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16" name="Freeform 16"/>
          <p:cNvSpPr>
            <a:spLocks/>
          </p:cNvSpPr>
          <p:nvPr/>
        </p:nvSpPr>
        <p:spPr bwMode="auto">
          <a:xfrm>
            <a:off x="2082801" y="5445224"/>
            <a:ext cx="4986338" cy="674687"/>
          </a:xfrm>
          <a:custGeom>
            <a:avLst/>
            <a:gdLst>
              <a:gd name="T0" fmla="*/ 82 w 1972"/>
              <a:gd name="T1" fmla="*/ 0 h 267"/>
              <a:gd name="T2" fmla="*/ 14 w 1972"/>
              <a:gd name="T3" fmla="*/ 116 h 267"/>
              <a:gd name="T4" fmla="*/ 12 w 1972"/>
              <a:gd name="T5" fmla="*/ 120 h 267"/>
              <a:gd name="T6" fmla="*/ 1 w 1972"/>
              <a:gd name="T7" fmla="*/ 173 h 267"/>
              <a:gd name="T8" fmla="*/ 22 w 1972"/>
              <a:gd name="T9" fmla="*/ 226 h 267"/>
              <a:gd name="T10" fmla="*/ 105 w 1972"/>
              <a:gd name="T11" fmla="*/ 267 h 267"/>
              <a:gd name="T12" fmla="*/ 1864 w 1972"/>
              <a:gd name="T13" fmla="*/ 267 h 267"/>
              <a:gd name="T14" fmla="*/ 1867 w 1972"/>
              <a:gd name="T15" fmla="*/ 267 h 267"/>
              <a:gd name="T16" fmla="*/ 1884 w 1972"/>
              <a:gd name="T17" fmla="*/ 265 h 267"/>
              <a:gd name="T18" fmla="*/ 1947 w 1972"/>
              <a:gd name="T19" fmla="*/ 225 h 267"/>
              <a:gd name="T20" fmla="*/ 1947 w 1972"/>
              <a:gd name="T21" fmla="*/ 225 h 267"/>
              <a:gd name="T22" fmla="*/ 1950 w 1972"/>
              <a:gd name="T23" fmla="*/ 221 h 267"/>
              <a:gd name="T24" fmla="*/ 1955 w 1972"/>
              <a:gd name="T25" fmla="*/ 119 h 267"/>
              <a:gd name="T26" fmla="*/ 1953 w 1972"/>
              <a:gd name="T27" fmla="*/ 115 h 267"/>
              <a:gd name="T28" fmla="*/ 1885 w 1972"/>
              <a:gd name="T29" fmla="*/ 0 h 267"/>
              <a:gd name="T30" fmla="*/ 82 w 1972"/>
              <a:gd name="T31"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2" h="267">
                <a:moveTo>
                  <a:pt x="82" y="0"/>
                </a:moveTo>
                <a:cubicBezTo>
                  <a:pt x="57" y="37"/>
                  <a:pt x="35" y="75"/>
                  <a:pt x="14" y="116"/>
                </a:cubicBezTo>
                <a:cubicBezTo>
                  <a:pt x="14" y="117"/>
                  <a:pt x="13" y="119"/>
                  <a:pt x="12" y="120"/>
                </a:cubicBezTo>
                <a:cubicBezTo>
                  <a:pt x="4" y="138"/>
                  <a:pt x="0" y="156"/>
                  <a:pt x="1" y="173"/>
                </a:cubicBezTo>
                <a:cubicBezTo>
                  <a:pt x="2" y="192"/>
                  <a:pt x="9" y="210"/>
                  <a:pt x="22" y="226"/>
                </a:cubicBezTo>
                <a:cubicBezTo>
                  <a:pt x="41" y="250"/>
                  <a:pt x="73" y="267"/>
                  <a:pt x="105" y="267"/>
                </a:cubicBezTo>
                <a:cubicBezTo>
                  <a:pt x="1864" y="267"/>
                  <a:pt x="1864" y="267"/>
                  <a:pt x="1864" y="267"/>
                </a:cubicBezTo>
                <a:cubicBezTo>
                  <a:pt x="1865" y="267"/>
                  <a:pt x="1866" y="267"/>
                  <a:pt x="1867" y="267"/>
                </a:cubicBezTo>
                <a:cubicBezTo>
                  <a:pt x="1873" y="267"/>
                  <a:pt x="1879" y="267"/>
                  <a:pt x="1884" y="265"/>
                </a:cubicBezTo>
                <a:cubicBezTo>
                  <a:pt x="1909" y="260"/>
                  <a:pt x="1932" y="245"/>
                  <a:pt x="1947" y="225"/>
                </a:cubicBezTo>
                <a:cubicBezTo>
                  <a:pt x="1947" y="225"/>
                  <a:pt x="1947" y="225"/>
                  <a:pt x="1947" y="225"/>
                </a:cubicBezTo>
                <a:cubicBezTo>
                  <a:pt x="1948" y="224"/>
                  <a:pt x="1949" y="222"/>
                  <a:pt x="1950" y="221"/>
                </a:cubicBezTo>
                <a:cubicBezTo>
                  <a:pt x="1971" y="190"/>
                  <a:pt x="1972" y="153"/>
                  <a:pt x="1955" y="119"/>
                </a:cubicBezTo>
                <a:cubicBezTo>
                  <a:pt x="1955" y="118"/>
                  <a:pt x="1954" y="116"/>
                  <a:pt x="1953" y="115"/>
                </a:cubicBezTo>
                <a:cubicBezTo>
                  <a:pt x="1933" y="75"/>
                  <a:pt x="1910" y="36"/>
                  <a:pt x="1885" y="0"/>
                </a:cubicBezTo>
                <a:cubicBezTo>
                  <a:pt x="82" y="0"/>
                  <a:pt x="82" y="0"/>
                  <a:pt x="82" y="0"/>
                </a:cubicBez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24" name="Freeform 24"/>
          <p:cNvSpPr>
            <a:spLocks/>
          </p:cNvSpPr>
          <p:nvPr/>
        </p:nvSpPr>
        <p:spPr bwMode="auto">
          <a:xfrm>
            <a:off x="696913" y="1412776"/>
            <a:ext cx="981075"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26" name="Freeform 25"/>
          <p:cNvSpPr>
            <a:spLocks/>
          </p:cNvSpPr>
          <p:nvPr/>
        </p:nvSpPr>
        <p:spPr bwMode="auto">
          <a:xfrm>
            <a:off x="1825626" y="1412776"/>
            <a:ext cx="981075"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27" name="Freeform 26"/>
          <p:cNvSpPr>
            <a:spLocks/>
          </p:cNvSpPr>
          <p:nvPr/>
        </p:nvSpPr>
        <p:spPr bwMode="auto">
          <a:xfrm>
            <a:off x="2952751" y="1412776"/>
            <a:ext cx="981075"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28" name="Freeform 27"/>
          <p:cNvSpPr>
            <a:spLocks/>
          </p:cNvSpPr>
          <p:nvPr/>
        </p:nvSpPr>
        <p:spPr bwMode="auto">
          <a:xfrm>
            <a:off x="4079876" y="1412776"/>
            <a:ext cx="981075"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29" name="Freeform 28"/>
          <p:cNvSpPr>
            <a:spLocks/>
          </p:cNvSpPr>
          <p:nvPr/>
        </p:nvSpPr>
        <p:spPr bwMode="auto">
          <a:xfrm>
            <a:off x="5208588" y="1412776"/>
            <a:ext cx="979488"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30" name="Freeform 29"/>
          <p:cNvSpPr>
            <a:spLocks/>
          </p:cNvSpPr>
          <p:nvPr/>
        </p:nvSpPr>
        <p:spPr bwMode="auto">
          <a:xfrm>
            <a:off x="6335713" y="1412776"/>
            <a:ext cx="981075"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31" name="Freeform 30"/>
          <p:cNvSpPr>
            <a:spLocks/>
          </p:cNvSpPr>
          <p:nvPr/>
        </p:nvSpPr>
        <p:spPr bwMode="auto">
          <a:xfrm>
            <a:off x="7462838" y="1412776"/>
            <a:ext cx="981075" cy="1041375"/>
          </a:xfrm>
          <a:custGeom>
            <a:avLst/>
            <a:gdLst>
              <a:gd name="T0" fmla="*/ 377 w 388"/>
              <a:gd name="T1" fmla="*/ 0 h 258"/>
              <a:gd name="T2" fmla="*/ 11 w 388"/>
              <a:gd name="T3" fmla="*/ 0 h 258"/>
              <a:gd name="T4" fmla="*/ 0 w 388"/>
              <a:gd name="T5" fmla="*/ 11 h 258"/>
              <a:gd name="T6" fmla="*/ 0 w 388"/>
              <a:gd name="T7" fmla="*/ 247 h 258"/>
              <a:gd name="T8" fmla="*/ 11 w 388"/>
              <a:gd name="T9" fmla="*/ 258 h 258"/>
              <a:gd name="T10" fmla="*/ 377 w 388"/>
              <a:gd name="T11" fmla="*/ 258 h 258"/>
              <a:gd name="T12" fmla="*/ 388 w 388"/>
              <a:gd name="T13" fmla="*/ 247 h 258"/>
              <a:gd name="T14" fmla="*/ 388 w 388"/>
              <a:gd name="T15" fmla="*/ 11 h 258"/>
              <a:gd name="T16" fmla="*/ 377 w 388"/>
              <a:gd name="T17"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58">
                <a:moveTo>
                  <a:pt x="377" y="0"/>
                </a:moveTo>
                <a:cubicBezTo>
                  <a:pt x="11" y="0"/>
                  <a:pt x="11" y="0"/>
                  <a:pt x="11" y="0"/>
                </a:cubicBezTo>
                <a:cubicBezTo>
                  <a:pt x="5" y="0"/>
                  <a:pt x="0" y="5"/>
                  <a:pt x="0" y="11"/>
                </a:cubicBezTo>
                <a:cubicBezTo>
                  <a:pt x="0" y="247"/>
                  <a:pt x="0" y="247"/>
                  <a:pt x="0" y="247"/>
                </a:cubicBezTo>
                <a:cubicBezTo>
                  <a:pt x="0" y="253"/>
                  <a:pt x="5" y="258"/>
                  <a:pt x="11" y="258"/>
                </a:cubicBezTo>
                <a:cubicBezTo>
                  <a:pt x="377" y="258"/>
                  <a:pt x="377" y="258"/>
                  <a:pt x="377" y="258"/>
                </a:cubicBezTo>
                <a:cubicBezTo>
                  <a:pt x="383" y="258"/>
                  <a:pt x="388" y="253"/>
                  <a:pt x="388" y="247"/>
                </a:cubicBezTo>
                <a:cubicBezTo>
                  <a:pt x="388" y="11"/>
                  <a:pt x="388" y="11"/>
                  <a:pt x="388" y="11"/>
                </a:cubicBezTo>
                <a:cubicBezTo>
                  <a:pt x="388" y="5"/>
                  <a:pt x="383" y="0"/>
                  <a:pt x="377" y="0"/>
                </a:cubicBezTo>
              </a:path>
            </a:pathLst>
          </a:custGeom>
          <a:solidFill>
            <a:srgbClr val="F3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200">
              <a:solidFill>
                <a:srgbClr val="000000"/>
              </a:solidFill>
            </a:endParaRPr>
          </a:p>
        </p:txBody>
      </p:sp>
      <p:sp>
        <p:nvSpPr>
          <p:cNvPr id="35" name="Oval 34"/>
          <p:cNvSpPr>
            <a:spLocks noChangeArrowheads="1"/>
          </p:cNvSpPr>
          <p:nvPr/>
        </p:nvSpPr>
        <p:spPr bwMode="auto">
          <a:xfrm>
            <a:off x="1155907" y="2508333"/>
            <a:ext cx="66262" cy="662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1" name="Oval 37"/>
          <p:cNvSpPr>
            <a:spLocks noChangeArrowheads="1"/>
          </p:cNvSpPr>
          <p:nvPr/>
        </p:nvSpPr>
        <p:spPr bwMode="auto">
          <a:xfrm>
            <a:off x="2283032" y="2508333"/>
            <a:ext cx="66262" cy="662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7" name="Oval 40"/>
          <p:cNvSpPr>
            <a:spLocks noChangeArrowheads="1"/>
          </p:cNvSpPr>
          <p:nvPr/>
        </p:nvSpPr>
        <p:spPr bwMode="auto">
          <a:xfrm>
            <a:off x="3411745" y="2508333"/>
            <a:ext cx="66262" cy="662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50" name="Oval 43"/>
          <p:cNvSpPr>
            <a:spLocks noChangeArrowheads="1"/>
          </p:cNvSpPr>
          <p:nvPr/>
        </p:nvSpPr>
        <p:spPr bwMode="auto">
          <a:xfrm>
            <a:off x="4512469" y="2508334"/>
            <a:ext cx="63502" cy="6626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4" name="Oval 46"/>
          <p:cNvSpPr>
            <a:spLocks noChangeArrowheads="1"/>
          </p:cNvSpPr>
          <p:nvPr/>
        </p:nvSpPr>
        <p:spPr bwMode="auto">
          <a:xfrm>
            <a:off x="5664407" y="2508333"/>
            <a:ext cx="66262" cy="662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7" name="Oval 49"/>
          <p:cNvSpPr>
            <a:spLocks noChangeArrowheads="1"/>
          </p:cNvSpPr>
          <p:nvPr/>
        </p:nvSpPr>
        <p:spPr bwMode="auto">
          <a:xfrm>
            <a:off x="6791532" y="2508333"/>
            <a:ext cx="66262" cy="662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9" name="Freeform 51"/>
          <p:cNvSpPr>
            <a:spLocks/>
          </p:cNvSpPr>
          <p:nvPr/>
        </p:nvSpPr>
        <p:spPr bwMode="auto">
          <a:xfrm>
            <a:off x="7950201" y="2541464"/>
            <a:ext cx="6350" cy="3200400"/>
          </a:xfrm>
          <a:custGeom>
            <a:avLst/>
            <a:gdLst>
              <a:gd name="T0" fmla="*/ 0 w 4"/>
              <a:gd name="T1" fmla="*/ 0 h 2016"/>
              <a:gd name="T2" fmla="*/ 0 w 4"/>
              <a:gd name="T3" fmla="*/ 2016 h 2016"/>
              <a:gd name="T4" fmla="*/ 4 w 4"/>
              <a:gd name="T5" fmla="*/ 2016 h 2016"/>
              <a:gd name="T6" fmla="*/ 4 w 4"/>
              <a:gd name="T7" fmla="*/ 0 h 2016"/>
            </a:gdLst>
            <a:ahLst/>
            <a:cxnLst>
              <a:cxn ang="0">
                <a:pos x="T0" y="T1"/>
              </a:cxn>
              <a:cxn ang="0">
                <a:pos x="T2" y="T3"/>
              </a:cxn>
              <a:cxn ang="0">
                <a:pos x="T4" y="T5"/>
              </a:cxn>
              <a:cxn ang="0">
                <a:pos x="T6" y="T7"/>
              </a:cxn>
            </a:cxnLst>
            <a:rect l="0" t="0" r="r" b="b"/>
            <a:pathLst>
              <a:path w="4" h="2016">
                <a:moveTo>
                  <a:pt x="0" y="0"/>
                </a:moveTo>
                <a:lnTo>
                  <a:pt x="0" y="2016"/>
                </a:lnTo>
                <a:lnTo>
                  <a:pt x="4" y="201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70" name="Oval 52"/>
          <p:cNvSpPr>
            <a:spLocks noChangeArrowheads="1"/>
          </p:cNvSpPr>
          <p:nvPr/>
        </p:nvSpPr>
        <p:spPr bwMode="auto">
          <a:xfrm>
            <a:off x="7918657" y="2508333"/>
            <a:ext cx="66262" cy="662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34" name="Freeform 33"/>
          <p:cNvSpPr>
            <a:spLocks/>
          </p:cNvSpPr>
          <p:nvPr/>
        </p:nvSpPr>
        <p:spPr bwMode="auto">
          <a:xfrm>
            <a:off x="1185863" y="2541464"/>
            <a:ext cx="4763" cy="3233737"/>
          </a:xfrm>
          <a:custGeom>
            <a:avLst/>
            <a:gdLst>
              <a:gd name="T0" fmla="*/ 0 w 3"/>
              <a:gd name="T1" fmla="*/ 0 h 2037"/>
              <a:gd name="T2" fmla="*/ 0 w 3"/>
              <a:gd name="T3" fmla="*/ 2037 h 2037"/>
              <a:gd name="T4" fmla="*/ 3 w 3"/>
              <a:gd name="T5" fmla="*/ 2037 h 2037"/>
              <a:gd name="T6" fmla="*/ 3 w 3"/>
              <a:gd name="T7" fmla="*/ 0 h 2037"/>
            </a:gdLst>
            <a:ahLst/>
            <a:cxnLst>
              <a:cxn ang="0">
                <a:pos x="T0" y="T1"/>
              </a:cxn>
              <a:cxn ang="0">
                <a:pos x="T2" y="T3"/>
              </a:cxn>
              <a:cxn ang="0">
                <a:pos x="T4" y="T5"/>
              </a:cxn>
              <a:cxn ang="0">
                <a:pos x="T6" y="T7"/>
              </a:cxn>
            </a:cxnLst>
            <a:rect l="0" t="0" r="r" b="b"/>
            <a:pathLst>
              <a:path w="3" h="2037">
                <a:moveTo>
                  <a:pt x="0" y="0"/>
                </a:moveTo>
                <a:lnTo>
                  <a:pt x="0" y="2037"/>
                </a:lnTo>
                <a:lnTo>
                  <a:pt x="3" y="2037"/>
                </a:lnTo>
                <a:lnTo>
                  <a:pt x="3"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36" name="Rectangle 35"/>
          <p:cNvSpPr>
            <a:spLocks noChangeArrowheads="1"/>
          </p:cNvSpPr>
          <p:nvPr/>
        </p:nvSpPr>
        <p:spPr bwMode="auto">
          <a:xfrm>
            <a:off x="2312988" y="2541464"/>
            <a:ext cx="4763" cy="158432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3" name="Freeform 39"/>
          <p:cNvSpPr>
            <a:spLocks/>
          </p:cNvSpPr>
          <p:nvPr/>
        </p:nvSpPr>
        <p:spPr bwMode="auto">
          <a:xfrm>
            <a:off x="3440113" y="2541464"/>
            <a:ext cx="6350" cy="944562"/>
          </a:xfrm>
          <a:custGeom>
            <a:avLst/>
            <a:gdLst>
              <a:gd name="T0" fmla="*/ 0 w 4"/>
              <a:gd name="T1" fmla="*/ 0 h 595"/>
              <a:gd name="T2" fmla="*/ 0 w 4"/>
              <a:gd name="T3" fmla="*/ 595 h 595"/>
              <a:gd name="T4" fmla="*/ 4 w 4"/>
              <a:gd name="T5" fmla="*/ 595 h 595"/>
              <a:gd name="T6" fmla="*/ 4 w 4"/>
              <a:gd name="T7" fmla="*/ 0 h 595"/>
            </a:gdLst>
            <a:ahLst/>
            <a:cxnLst>
              <a:cxn ang="0">
                <a:pos x="T0" y="T1"/>
              </a:cxn>
              <a:cxn ang="0">
                <a:pos x="T2" y="T3"/>
              </a:cxn>
              <a:cxn ang="0">
                <a:pos x="T4" y="T5"/>
              </a:cxn>
              <a:cxn ang="0">
                <a:pos x="T6" y="T7"/>
              </a:cxn>
            </a:cxnLst>
            <a:rect l="0" t="0" r="r" b="b"/>
            <a:pathLst>
              <a:path w="4" h="595">
                <a:moveTo>
                  <a:pt x="0" y="0"/>
                </a:moveTo>
                <a:lnTo>
                  <a:pt x="0" y="595"/>
                </a:lnTo>
                <a:lnTo>
                  <a:pt x="4" y="595"/>
                </a:lnTo>
                <a:lnTo>
                  <a:pt x="4"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49" name="Freeform 42"/>
          <p:cNvSpPr>
            <a:spLocks/>
          </p:cNvSpPr>
          <p:nvPr/>
        </p:nvSpPr>
        <p:spPr bwMode="auto">
          <a:xfrm>
            <a:off x="4540251" y="2541464"/>
            <a:ext cx="4763" cy="782637"/>
          </a:xfrm>
          <a:custGeom>
            <a:avLst/>
            <a:gdLst>
              <a:gd name="T0" fmla="*/ 0 w 3"/>
              <a:gd name="T1" fmla="*/ 0 h 493"/>
              <a:gd name="T2" fmla="*/ 0 w 3"/>
              <a:gd name="T3" fmla="*/ 493 h 493"/>
              <a:gd name="T4" fmla="*/ 3 w 3"/>
              <a:gd name="T5" fmla="*/ 493 h 493"/>
              <a:gd name="T6" fmla="*/ 3 w 3"/>
              <a:gd name="T7" fmla="*/ 0 h 493"/>
            </a:gdLst>
            <a:ahLst/>
            <a:cxnLst>
              <a:cxn ang="0">
                <a:pos x="T0" y="T1"/>
              </a:cxn>
              <a:cxn ang="0">
                <a:pos x="T2" y="T3"/>
              </a:cxn>
              <a:cxn ang="0">
                <a:pos x="T4" y="T5"/>
              </a:cxn>
              <a:cxn ang="0">
                <a:pos x="T6" y="T7"/>
              </a:cxn>
            </a:cxnLst>
            <a:rect l="0" t="0" r="r" b="b"/>
            <a:pathLst>
              <a:path w="3" h="493">
                <a:moveTo>
                  <a:pt x="0" y="0"/>
                </a:moveTo>
                <a:lnTo>
                  <a:pt x="0" y="493"/>
                </a:lnTo>
                <a:lnTo>
                  <a:pt x="3" y="493"/>
                </a:lnTo>
                <a:lnTo>
                  <a:pt x="3"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56" name="Rectangle 44"/>
          <p:cNvSpPr>
            <a:spLocks noChangeArrowheads="1"/>
          </p:cNvSpPr>
          <p:nvPr/>
        </p:nvSpPr>
        <p:spPr bwMode="auto">
          <a:xfrm>
            <a:off x="5695951" y="2541464"/>
            <a:ext cx="4763" cy="782637"/>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66" name="Freeform 48"/>
          <p:cNvSpPr>
            <a:spLocks/>
          </p:cNvSpPr>
          <p:nvPr/>
        </p:nvSpPr>
        <p:spPr bwMode="auto">
          <a:xfrm>
            <a:off x="6823076" y="2541464"/>
            <a:ext cx="4763" cy="1584325"/>
          </a:xfrm>
          <a:custGeom>
            <a:avLst/>
            <a:gdLst>
              <a:gd name="T0" fmla="*/ 0 w 3"/>
              <a:gd name="T1" fmla="*/ 0 h 998"/>
              <a:gd name="T2" fmla="*/ 0 w 3"/>
              <a:gd name="T3" fmla="*/ 998 h 998"/>
              <a:gd name="T4" fmla="*/ 3 w 3"/>
              <a:gd name="T5" fmla="*/ 998 h 998"/>
              <a:gd name="T6" fmla="*/ 3 w 3"/>
              <a:gd name="T7" fmla="*/ 0 h 998"/>
            </a:gdLst>
            <a:ahLst/>
            <a:cxnLst>
              <a:cxn ang="0">
                <a:pos x="T0" y="T1"/>
              </a:cxn>
              <a:cxn ang="0">
                <a:pos x="T2" y="T3"/>
              </a:cxn>
              <a:cxn ang="0">
                <a:pos x="T4" y="T5"/>
              </a:cxn>
              <a:cxn ang="0">
                <a:pos x="T6" y="T7"/>
              </a:cxn>
            </a:cxnLst>
            <a:rect l="0" t="0" r="r" b="b"/>
            <a:pathLst>
              <a:path w="3" h="998">
                <a:moveTo>
                  <a:pt x="0" y="0"/>
                </a:moveTo>
                <a:lnTo>
                  <a:pt x="0" y="998"/>
                </a:lnTo>
                <a:lnTo>
                  <a:pt x="3" y="998"/>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rgbClr val="000000"/>
              </a:solidFill>
            </a:endParaRPr>
          </a:p>
        </p:txBody>
      </p:sp>
      <p:sp>
        <p:nvSpPr>
          <p:cNvPr id="78" name="Rectangle 40"/>
          <p:cNvSpPr>
            <a:spLocks noChangeArrowheads="1"/>
          </p:cNvSpPr>
          <p:nvPr/>
        </p:nvSpPr>
        <p:spPr bwMode="auto">
          <a:xfrm>
            <a:off x="3124994" y="5626933"/>
            <a:ext cx="29019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600" dirty="0">
                <a:solidFill>
                  <a:srgbClr val="FFFFFF"/>
                </a:solidFill>
                <a:latin typeface="Arial"/>
              </a:rPr>
              <a:t>Self Learning Car</a:t>
            </a:r>
          </a:p>
        </p:txBody>
      </p:sp>
      <p:sp>
        <p:nvSpPr>
          <p:cNvPr id="79" name="WordArt 24"/>
          <p:cNvSpPr>
            <a:spLocks noChangeArrowheads="1" noChangeShapeType="1" noTextEdit="1"/>
          </p:cNvSpPr>
          <p:nvPr/>
        </p:nvSpPr>
        <p:spPr bwMode="auto">
          <a:xfrm>
            <a:off x="2165260" y="3964100"/>
            <a:ext cx="4810306" cy="2993292"/>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1616354"/>
              </a:avLst>
            </a:prstTxWarp>
          </a:bodyPr>
          <a:lstStyle/>
          <a:p>
            <a:pPr algn="ctr" fontAlgn="base" latinLnBrk="1">
              <a:spcBef>
                <a:spcPct val="0"/>
              </a:spcBef>
              <a:spcAft>
                <a:spcPct val="0"/>
              </a:spcAft>
            </a:pPr>
            <a:r>
              <a:rPr kumimoji="1" lang="en-US" kern="10" dirty="0" smtClean="0">
                <a:solidFill>
                  <a:srgbClr val="06325C"/>
                </a:solidFill>
                <a:ea typeface="Gulim" panose="020B0600000101010101" pitchFamily="34" charset="-127"/>
                <a:cs typeface="Arial" panose="020B0604020202020204" pitchFamily="34" charset="0"/>
              </a:rPr>
              <a:t>Safety Mobility Fuel Economy</a:t>
            </a:r>
          </a:p>
        </p:txBody>
      </p:sp>
      <p:sp>
        <p:nvSpPr>
          <p:cNvPr id="87" name="Rectangle 40"/>
          <p:cNvSpPr>
            <a:spLocks noChangeArrowheads="1"/>
          </p:cNvSpPr>
          <p:nvPr/>
        </p:nvSpPr>
        <p:spPr bwMode="auto">
          <a:xfrm>
            <a:off x="727869" y="1628800"/>
            <a:ext cx="91916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a:solidFill>
                  <a:srgbClr val="06325C"/>
                </a:solidFill>
                <a:latin typeface="+mn-lt"/>
              </a:rPr>
              <a:t>Naturalistic Automated Driving</a:t>
            </a:r>
          </a:p>
        </p:txBody>
      </p:sp>
      <p:sp>
        <p:nvSpPr>
          <p:cNvPr id="88" name="Rectangle 40"/>
          <p:cNvSpPr>
            <a:spLocks noChangeArrowheads="1"/>
          </p:cNvSpPr>
          <p:nvPr/>
        </p:nvSpPr>
        <p:spPr bwMode="auto">
          <a:xfrm>
            <a:off x="1846285" y="1628800"/>
            <a:ext cx="93763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smtClean="0">
                <a:solidFill>
                  <a:srgbClr val="06325C"/>
                </a:solidFill>
                <a:latin typeface="+mn-lt"/>
              </a:rPr>
              <a:t>NFC Vehicle </a:t>
            </a:r>
            <a:r>
              <a:rPr lang="en-GB" sz="1200" dirty="0" err="1" smtClean="0">
                <a:solidFill>
                  <a:srgbClr val="06325C"/>
                </a:solidFill>
                <a:latin typeface="+mn-lt"/>
              </a:rPr>
              <a:t>Personali-zation</a:t>
            </a:r>
            <a:endParaRPr lang="en-GB" sz="1200" dirty="0">
              <a:solidFill>
                <a:srgbClr val="06325C"/>
              </a:solidFill>
              <a:latin typeface="+mn-lt"/>
            </a:endParaRPr>
          </a:p>
        </p:txBody>
      </p:sp>
      <p:sp>
        <p:nvSpPr>
          <p:cNvPr id="89" name="Rectangle 40"/>
          <p:cNvSpPr>
            <a:spLocks noChangeArrowheads="1"/>
          </p:cNvSpPr>
          <p:nvPr/>
        </p:nvSpPr>
        <p:spPr bwMode="auto">
          <a:xfrm>
            <a:off x="2983177" y="1721133"/>
            <a:ext cx="9191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a:solidFill>
                  <a:srgbClr val="06325C"/>
                </a:solidFill>
                <a:latin typeface="+mn-lt"/>
              </a:rPr>
              <a:t>Predictive</a:t>
            </a:r>
          </a:p>
          <a:p>
            <a:pPr algn="ctr"/>
            <a:r>
              <a:rPr lang="en-GB" sz="1200" dirty="0">
                <a:solidFill>
                  <a:srgbClr val="06325C"/>
                </a:solidFill>
                <a:latin typeface="+mn-lt"/>
              </a:rPr>
              <a:t>Calling</a:t>
            </a:r>
          </a:p>
        </p:txBody>
      </p:sp>
      <p:sp>
        <p:nvSpPr>
          <p:cNvPr id="90" name="Rectangle 40"/>
          <p:cNvSpPr>
            <a:spLocks noChangeArrowheads="1"/>
          </p:cNvSpPr>
          <p:nvPr/>
        </p:nvSpPr>
        <p:spPr bwMode="auto">
          <a:xfrm>
            <a:off x="4110831" y="1721133"/>
            <a:ext cx="9191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a:solidFill>
                  <a:srgbClr val="06325C"/>
                </a:solidFill>
                <a:latin typeface="+mn-lt"/>
              </a:rPr>
              <a:t>Predictive </a:t>
            </a:r>
          </a:p>
          <a:p>
            <a:pPr algn="ctr"/>
            <a:r>
              <a:rPr lang="en-GB" sz="1200" dirty="0">
                <a:solidFill>
                  <a:srgbClr val="06325C"/>
                </a:solidFill>
                <a:latin typeface="+mn-lt"/>
              </a:rPr>
              <a:t>Destination </a:t>
            </a:r>
          </a:p>
        </p:txBody>
      </p:sp>
      <p:sp>
        <p:nvSpPr>
          <p:cNvPr id="91" name="Rectangle 40"/>
          <p:cNvSpPr>
            <a:spLocks noChangeArrowheads="1"/>
          </p:cNvSpPr>
          <p:nvPr/>
        </p:nvSpPr>
        <p:spPr bwMode="auto">
          <a:xfrm>
            <a:off x="5238485" y="1628800"/>
            <a:ext cx="919163"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a:solidFill>
                  <a:srgbClr val="06325C"/>
                </a:solidFill>
                <a:latin typeface="+mn-lt"/>
              </a:rPr>
              <a:t>Predictive </a:t>
            </a:r>
          </a:p>
          <a:p>
            <a:pPr algn="ctr"/>
            <a:r>
              <a:rPr lang="en-GB" sz="1200" dirty="0">
                <a:solidFill>
                  <a:srgbClr val="06325C"/>
                </a:solidFill>
                <a:latin typeface="+mn-lt"/>
              </a:rPr>
              <a:t>Connected </a:t>
            </a:r>
          </a:p>
          <a:p>
            <a:pPr algn="ctr"/>
            <a:r>
              <a:rPr lang="en-GB" sz="1200" dirty="0">
                <a:solidFill>
                  <a:srgbClr val="06325C"/>
                </a:solidFill>
                <a:latin typeface="+mn-lt"/>
              </a:rPr>
              <a:t>Services</a:t>
            </a:r>
          </a:p>
        </p:txBody>
      </p:sp>
      <p:sp>
        <p:nvSpPr>
          <p:cNvPr id="92" name="Rectangle 40"/>
          <p:cNvSpPr>
            <a:spLocks noChangeArrowheads="1"/>
          </p:cNvSpPr>
          <p:nvPr/>
        </p:nvSpPr>
        <p:spPr bwMode="auto">
          <a:xfrm>
            <a:off x="6366139" y="1721133"/>
            <a:ext cx="9191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a:solidFill>
                  <a:srgbClr val="06325C"/>
                </a:solidFill>
                <a:latin typeface="+mn-lt"/>
              </a:rPr>
              <a:t>Prognostic</a:t>
            </a:r>
          </a:p>
          <a:p>
            <a:pPr algn="ctr"/>
            <a:r>
              <a:rPr lang="en-GB" sz="1200" dirty="0">
                <a:solidFill>
                  <a:srgbClr val="06325C"/>
                </a:solidFill>
                <a:latin typeface="+mn-lt"/>
              </a:rPr>
              <a:t>Alerts</a:t>
            </a:r>
          </a:p>
        </p:txBody>
      </p:sp>
      <p:sp>
        <p:nvSpPr>
          <p:cNvPr id="93" name="Rectangle 40"/>
          <p:cNvSpPr>
            <a:spLocks noChangeArrowheads="1"/>
          </p:cNvSpPr>
          <p:nvPr/>
        </p:nvSpPr>
        <p:spPr bwMode="auto">
          <a:xfrm>
            <a:off x="7493794" y="1721133"/>
            <a:ext cx="91916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1">
            <a:spAutoFit/>
          </a:bodyPr>
          <a:lstStyle>
            <a:lvl1pPr defTabSz="895350">
              <a:defRPr kumimoji="1" sz="1700" b="1">
                <a:solidFill>
                  <a:srgbClr val="000000"/>
                </a:solidFill>
                <a:latin typeface="Arial" pitchFamily="34" charset="0"/>
                <a:ea typeface="SimSun" pitchFamily="2" charset="-122"/>
              </a:defRPr>
            </a:lvl1pPr>
            <a:lvl2pPr marL="144463" indent="-142875" defTabSz="895350">
              <a:buChar char="•"/>
              <a:defRPr kumimoji="1" sz="1700">
                <a:solidFill>
                  <a:srgbClr val="000000"/>
                </a:solidFill>
                <a:latin typeface="Arial" pitchFamily="34" charset="0"/>
                <a:ea typeface="SimSun" pitchFamily="2" charset="-122"/>
              </a:defRPr>
            </a:lvl2pPr>
            <a:lvl3pPr marL="295275" indent="-149225" defTabSz="895350">
              <a:buChar char="–"/>
              <a:defRPr kumimoji="1" sz="1700">
                <a:solidFill>
                  <a:srgbClr val="000000"/>
                </a:solidFill>
                <a:latin typeface="Arial" pitchFamily="34" charset="0"/>
                <a:ea typeface="SimSun" pitchFamily="2" charset="-122"/>
              </a:defRPr>
            </a:lvl3pPr>
            <a:lvl4pPr marL="431800" indent="-134938" defTabSz="895350">
              <a:buChar char="-"/>
              <a:defRPr kumimoji="1" sz="1700">
                <a:solidFill>
                  <a:srgbClr val="000000"/>
                </a:solidFill>
                <a:latin typeface="Arial" pitchFamily="34" charset="0"/>
                <a:ea typeface="SimSun" pitchFamily="2" charset="-122"/>
              </a:defRPr>
            </a:lvl4pPr>
            <a:lvl5pPr marL="582613" indent="-149225" algn="ctr" defTabSz="895350">
              <a:lnSpc>
                <a:spcPts val="1600"/>
              </a:lnSpc>
              <a:defRPr kumimoji="1" sz="1400" b="1">
                <a:solidFill>
                  <a:srgbClr val="000000"/>
                </a:solidFill>
                <a:latin typeface="Arial" pitchFamily="34" charset="0"/>
                <a:ea typeface="SimSun" pitchFamily="2" charset="-122"/>
              </a:defRPr>
            </a:lvl5pPr>
            <a:lvl6pPr marL="10398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6pPr>
            <a:lvl7pPr marL="14970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7pPr>
            <a:lvl8pPr marL="19542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8pPr>
            <a:lvl9pPr marL="2411413" indent="-149225" algn="ctr" defTabSz="895350" eaLnBrk="0" fontAlgn="base" hangingPunct="0">
              <a:lnSpc>
                <a:spcPts val="1600"/>
              </a:lnSpc>
              <a:spcBef>
                <a:spcPct val="0"/>
              </a:spcBef>
              <a:spcAft>
                <a:spcPct val="0"/>
              </a:spcAft>
              <a:defRPr kumimoji="1" sz="1400" b="1">
                <a:solidFill>
                  <a:srgbClr val="000000"/>
                </a:solidFill>
                <a:latin typeface="Arial" pitchFamily="34" charset="0"/>
                <a:ea typeface="SimSun" pitchFamily="2" charset="-122"/>
              </a:defRPr>
            </a:lvl9pPr>
          </a:lstStyle>
          <a:p>
            <a:pPr algn="ctr"/>
            <a:r>
              <a:rPr lang="en-GB" sz="1200" dirty="0">
                <a:solidFill>
                  <a:srgbClr val="06325C"/>
                </a:solidFill>
                <a:latin typeface="+mn-lt"/>
              </a:rPr>
              <a:t>Automatic</a:t>
            </a:r>
          </a:p>
          <a:p>
            <a:pPr algn="ctr"/>
            <a:r>
              <a:rPr lang="en-GB" sz="1200" dirty="0">
                <a:solidFill>
                  <a:srgbClr val="06325C"/>
                </a:solidFill>
                <a:latin typeface="+mn-lt"/>
              </a:rPr>
              <a:t>Parking</a:t>
            </a:r>
          </a:p>
        </p:txBody>
      </p:sp>
      <p:pic>
        <p:nvPicPr>
          <p:cNvPr id="574539" name="Picture 75" descr="http://www.diseno-art.com/images_8/future-car.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78686" y="4554536"/>
            <a:ext cx="2332655" cy="8327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1259622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ed Rectangle 27"/>
          <p:cNvSpPr/>
          <p:nvPr/>
        </p:nvSpPr>
        <p:spPr>
          <a:xfrm>
            <a:off x="1699486" y="4078548"/>
            <a:ext cx="1157055" cy="914400"/>
          </a:xfrm>
          <a:prstGeom prst="round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2"/>
                </a:solidFill>
              </a:rPr>
              <a:t>Ford</a:t>
            </a:r>
          </a:p>
          <a:p>
            <a:r>
              <a:rPr lang="en-US" sz="1200" dirty="0" smtClean="0">
                <a:solidFill>
                  <a:schemeClr val="tx2"/>
                </a:solidFill>
              </a:rPr>
              <a:t>Daimler</a:t>
            </a:r>
            <a:endParaRPr lang="en-US" sz="1200" dirty="0">
              <a:solidFill>
                <a:schemeClr val="tx2"/>
              </a:solidFill>
            </a:endParaRPr>
          </a:p>
          <a:p>
            <a:r>
              <a:rPr lang="en-US" sz="1200" dirty="0">
                <a:solidFill>
                  <a:schemeClr val="tx2"/>
                </a:solidFill>
              </a:rPr>
              <a:t>Honda</a:t>
            </a:r>
          </a:p>
        </p:txBody>
      </p:sp>
      <p:sp>
        <p:nvSpPr>
          <p:cNvPr id="29" name="Rounded Rectangle 28"/>
          <p:cNvSpPr/>
          <p:nvPr/>
        </p:nvSpPr>
        <p:spPr>
          <a:xfrm>
            <a:off x="2976284" y="2808312"/>
            <a:ext cx="1204904" cy="914400"/>
          </a:xfrm>
          <a:prstGeom prst="round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2"/>
                </a:solidFill>
              </a:rPr>
              <a:t>Eddie Stobart</a:t>
            </a:r>
          </a:p>
          <a:p>
            <a:r>
              <a:rPr lang="en-US" sz="1200" dirty="0" err="1">
                <a:solidFill>
                  <a:schemeClr val="tx2"/>
                </a:solidFill>
              </a:rPr>
              <a:t>Vos</a:t>
            </a:r>
            <a:r>
              <a:rPr lang="en-US" sz="1200" dirty="0">
                <a:solidFill>
                  <a:schemeClr val="tx2"/>
                </a:solidFill>
              </a:rPr>
              <a:t> </a:t>
            </a:r>
            <a:r>
              <a:rPr lang="en-US" sz="1200" dirty="0" smtClean="0">
                <a:solidFill>
                  <a:schemeClr val="tx2"/>
                </a:solidFill>
              </a:rPr>
              <a:t>Logistics</a:t>
            </a:r>
          </a:p>
          <a:p>
            <a:r>
              <a:rPr lang="en-US" sz="1200" dirty="0">
                <a:solidFill>
                  <a:schemeClr val="tx2"/>
                </a:solidFill>
              </a:rPr>
              <a:t>Simon Loos </a:t>
            </a:r>
          </a:p>
        </p:txBody>
      </p:sp>
      <p:sp>
        <p:nvSpPr>
          <p:cNvPr id="30" name="Rounded Rectangle 29"/>
          <p:cNvSpPr/>
          <p:nvPr/>
        </p:nvSpPr>
        <p:spPr>
          <a:xfrm>
            <a:off x="3666838" y="1564794"/>
            <a:ext cx="1247103" cy="914400"/>
          </a:xfrm>
          <a:prstGeom prst="round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2"/>
                </a:solidFill>
              </a:rPr>
              <a:t>Uber</a:t>
            </a:r>
          </a:p>
          <a:p>
            <a:r>
              <a:rPr lang="en-US" sz="1200" dirty="0" smtClean="0">
                <a:solidFill>
                  <a:schemeClr val="tx2"/>
                </a:solidFill>
              </a:rPr>
              <a:t>Lyft</a:t>
            </a:r>
          </a:p>
          <a:p>
            <a:r>
              <a:rPr lang="en-US" sz="1200" dirty="0" smtClean="0">
                <a:solidFill>
                  <a:schemeClr val="tx2"/>
                </a:solidFill>
              </a:rPr>
              <a:t>Google</a:t>
            </a:r>
            <a:endParaRPr lang="en-US" sz="1200" dirty="0">
              <a:solidFill>
                <a:schemeClr val="tx2"/>
              </a:solidFill>
            </a:endParaRPr>
          </a:p>
        </p:txBody>
      </p:sp>
      <p:sp>
        <p:nvSpPr>
          <p:cNvPr id="31" name="Freeform 30"/>
          <p:cNvSpPr/>
          <p:nvPr/>
        </p:nvSpPr>
        <p:spPr>
          <a:xfrm>
            <a:off x="1699487" y="2287071"/>
            <a:ext cx="4481951" cy="3173172"/>
          </a:xfrm>
          <a:custGeom>
            <a:avLst/>
            <a:gdLst>
              <a:gd name="connsiteX0" fmla="*/ 2002536 w 2002536"/>
              <a:gd name="connsiteY0" fmla="*/ 0 h 2825496"/>
              <a:gd name="connsiteX1" fmla="*/ 1316736 w 2002536"/>
              <a:gd name="connsiteY1" fmla="*/ 1536192 h 2825496"/>
              <a:gd name="connsiteX2" fmla="*/ 0 w 2002536"/>
              <a:gd name="connsiteY2" fmla="*/ 2825496 h 2825496"/>
            </a:gdLst>
            <a:ahLst/>
            <a:cxnLst>
              <a:cxn ang="0">
                <a:pos x="connsiteX0" y="connsiteY0"/>
              </a:cxn>
              <a:cxn ang="0">
                <a:pos x="connsiteX1" y="connsiteY1"/>
              </a:cxn>
              <a:cxn ang="0">
                <a:pos x="connsiteX2" y="connsiteY2"/>
              </a:cxn>
            </a:cxnLst>
            <a:rect l="l" t="t" r="r" b="b"/>
            <a:pathLst>
              <a:path w="2002536" h="2825496">
                <a:moveTo>
                  <a:pt x="2002536" y="0"/>
                </a:moveTo>
                <a:cubicBezTo>
                  <a:pt x="1826514" y="532638"/>
                  <a:pt x="1650492" y="1065276"/>
                  <a:pt x="1316736" y="1536192"/>
                </a:cubicBezTo>
                <a:cubicBezTo>
                  <a:pt x="982980" y="2007108"/>
                  <a:pt x="491490" y="2416302"/>
                  <a:pt x="0" y="2825496"/>
                </a:cubicBezTo>
              </a:path>
            </a:pathLst>
          </a:cu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srgbClr val="000000"/>
              </a:solidFill>
            </a:endParaRPr>
          </a:p>
        </p:txBody>
      </p:sp>
      <p:sp>
        <p:nvSpPr>
          <p:cNvPr id="32" name="Title 1"/>
          <p:cNvSpPr>
            <a:spLocks noGrp="1"/>
          </p:cNvSpPr>
          <p:nvPr>
            <p:ph type="title"/>
          </p:nvPr>
        </p:nvSpPr>
        <p:spPr>
          <a:xfrm>
            <a:off x="228600" y="152400"/>
            <a:ext cx="8686800" cy="762000"/>
          </a:xfrm>
        </p:spPr>
        <p:txBody>
          <a:bodyPr/>
          <a:lstStyle/>
          <a:p>
            <a:r>
              <a:rPr lang="en-US" dirty="0" smtClean="0"/>
              <a:t> </a:t>
            </a:r>
            <a:endParaRPr lang="en-GB" dirty="0"/>
          </a:p>
        </p:txBody>
      </p:sp>
      <p:sp>
        <p:nvSpPr>
          <p:cNvPr id="33" name="TextBox 93"/>
          <p:cNvSpPr txBox="1">
            <a:spLocks noChangeArrowheads="1"/>
          </p:cNvSpPr>
          <p:nvPr/>
        </p:nvSpPr>
        <p:spPr bwMode="auto">
          <a:xfrm rot="-5400000">
            <a:off x="881707" y="5127406"/>
            <a:ext cx="1347114" cy="415498"/>
          </a:xfrm>
          <a:prstGeom prst="rect">
            <a:avLst/>
          </a:prstGeom>
          <a:noFill/>
          <a:ln w="9525">
            <a:noFill/>
            <a:miter lim="800000"/>
            <a:headEnd/>
            <a:tailEnd/>
          </a:ln>
        </p:spPr>
        <p:txBody>
          <a:bodyPr wrap="square">
            <a:spAutoFit/>
          </a:bodyPr>
          <a:lstStyle/>
          <a:p>
            <a:pPr algn="ctr"/>
            <a:r>
              <a:rPr lang="en-US" sz="1000" b="1" dirty="0" smtClean="0">
                <a:solidFill>
                  <a:srgbClr val="000000"/>
                </a:solidFill>
                <a:latin typeface="Verdana" pitchFamily="34" charset="0"/>
              </a:rPr>
              <a:t>Low Profitability</a:t>
            </a:r>
            <a:endParaRPr lang="en-US" sz="1000" b="1" dirty="0">
              <a:solidFill>
                <a:srgbClr val="000000"/>
              </a:solidFill>
              <a:latin typeface="Verdana" pitchFamily="34" charset="0"/>
            </a:endParaRPr>
          </a:p>
        </p:txBody>
      </p:sp>
      <p:sp>
        <p:nvSpPr>
          <p:cNvPr id="34" name="TextBox 93"/>
          <p:cNvSpPr txBox="1">
            <a:spLocks noChangeArrowheads="1"/>
          </p:cNvSpPr>
          <p:nvPr/>
        </p:nvSpPr>
        <p:spPr bwMode="auto">
          <a:xfrm rot="-5400000">
            <a:off x="883267" y="1990479"/>
            <a:ext cx="1312244" cy="415498"/>
          </a:xfrm>
          <a:prstGeom prst="rect">
            <a:avLst/>
          </a:prstGeom>
          <a:noFill/>
          <a:ln w="9525">
            <a:noFill/>
            <a:miter lim="800000"/>
            <a:headEnd/>
            <a:tailEnd/>
          </a:ln>
        </p:spPr>
        <p:txBody>
          <a:bodyPr wrap="square">
            <a:spAutoFit/>
          </a:bodyPr>
          <a:lstStyle/>
          <a:p>
            <a:pPr algn="ctr"/>
            <a:r>
              <a:rPr lang="en-US" sz="1000" b="1" dirty="0" smtClean="0">
                <a:solidFill>
                  <a:srgbClr val="000000"/>
                </a:solidFill>
                <a:latin typeface="Verdana" pitchFamily="34" charset="0"/>
              </a:rPr>
              <a:t>High Profitability</a:t>
            </a:r>
            <a:endParaRPr lang="en-US" sz="1000" b="1" dirty="0">
              <a:solidFill>
                <a:srgbClr val="000000"/>
              </a:solidFill>
              <a:latin typeface="Verdana" pitchFamily="34" charset="0"/>
            </a:endParaRPr>
          </a:p>
        </p:txBody>
      </p:sp>
      <p:cxnSp>
        <p:nvCxnSpPr>
          <p:cNvPr id="35" name="Straight Arrow Connector 34"/>
          <p:cNvCxnSpPr/>
          <p:nvPr/>
        </p:nvCxnSpPr>
        <p:spPr bwMode="auto">
          <a:xfrm flipV="1">
            <a:off x="1555264" y="2776295"/>
            <a:ext cx="1" cy="1784617"/>
          </a:xfrm>
          <a:prstGeom prst="straightConnector1">
            <a:avLst/>
          </a:prstGeom>
          <a:solidFill>
            <a:schemeClr val="accent1"/>
          </a:solidFill>
          <a:ln w="9525" cap="flat" cmpd="sng" algn="ctr">
            <a:solidFill>
              <a:schemeClr val="tx1">
                <a:lumMod val="95000"/>
                <a:lumOff val="5000"/>
              </a:schemeClr>
            </a:solidFill>
            <a:prstDash val="solid"/>
            <a:round/>
            <a:headEnd type="none" w="med" len="med"/>
            <a:tailEnd type="stealth"/>
          </a:ln>
          <a:effectLst/>
        </p:spPr>
      </p:cxnSp>
      <p:sp>
        <p:nvSpPr>
          <p:cNvPr id="36" name="TextBox 92"/>
          <p:cNvSpPr txBox="1">
            <a:spLocks noChangeArrowheads="1"/>
          </p:cNvSpPr>
          <p:nvPr/>
        </p:nvSpPr>
        <p:spPr bwMode="auto">
          <a:xfrm>
            <a:off x="5828341" y="5684802"/>
            <a:ext cx="1331085" cy="400110"/>
          </a:xfrm>
          <a:prstGeom prst="rect">
            <a:avLst/>
          </a:prstGeom>
          <a:noFill/>
          <a:ln w="9525">
            <a:noFill/>
            <a:miter lim="800000"/>
            <a:headEnd/>
            <a:tailEnd/>
          </a:ln>
        </p:spPr>
        <p:txBody>
          <a:bodyPr wrap="square">
            <a:spAutoFit/>
          </a:bodyPr>
          <a:lstStyle/>
          <a:p>
            <a:pPr algn="ctr"/>
            <a:r>
              <a:rPr lang="en-US" sz="1000" b="1" dirty="0">
                <a:solidFill>
                  <a:srgbClr val="000000"/>
                </a:solidFill>
                <a:latin typeface="Verdana" pitchFamily="34" charset="0"/>
              </a:rPr>
              <a:t>High Volume Business</a:t>
            </a:r>
          </a:p>
        </p:txBody>
      </p:sp>
      <p:sp>
        <p:nvSpPr>
          <p:cNvPr id="37" name="TextBox 93"/>
          <p:cNvSpPr txBox="1">
            <a:spLocks noChangeArrowheads="1"/>
          </p:cNvSpPr>
          <p:nvPr/>
        </p:nvSpPr>
        <p:spPr bwMode="auto">
          <a:xfrm>
            <a:off x="1713542" y="5684802"/>
            <a:ext cx="1143000" cy="400110"/>
          </a:xfrm>
          <a:prstGeom prst="rect">
            <a:avLst/>
          </a:prstGeom>
          <a:noFill/>
          <a:ln w="9525">
            <a:noFill/>
            <a:miter lim="800000"/>
            <a:headEnd/>
            <a:tailEnd/>
          </a:ln>
        </p:spPr>
        <p:txBody>
          <a:bodyPr wrap="square">
            <a:spAutoFit/>
          </a:bodyPr>
          <a:lstStyle/>
          <a:p>
            <a:pPr algn="ctr"/>
            <a:r>
              <a:rPr lang="en-US" sz="1000" b="1" dirty="0">
                <a:solidFill>
                  <a:srgbClr val="000000"/>
                </a:solidFill>
                <a:latin typeface="Verdana" pitchFamily="34" charset="0"/>
              </a:rPr>
              <a:t>Low Volume Business</a:t>
            </a:r>
          </a:p>
        </p:txBody>
      </p:sp>
      <p:cxnSp>
        <p:nvCxnSpPr>
          <p:cNvPr id="38" name="Straight Arrow Connector 32"/>
          <p:cNvCxnSpPr>
            <a:cxnSpLocks noChangeShapeType="1"/>
            <a:stCxn id="37" idx="3"/>
            <a:endCxn id="36" idx="1"/>
          </p:cNvCxnSpPr>
          <p:nvPr/>
        </p:nvCxnSpPr>
        <p:spPr bwMode="auto">
          <a:xfrm>
            <a:off x="2856542" y="5884857"/>
            <a:ext cx="2971799" cy="0"/>
          </a:xfrm>
          <a:prstGeom prst="straightConnector1">
            <a:avLst/>
          </a:prstGeom>
          <a:noFill/>
          <a:ln w="9525" algn="ctr">
            <a:solidFill>
              <a:schemeClr val="tx1"/>
            </a:solidFill>
            <a:round/>
            <a:headEnd/>
            <a:tailEnd type="stealth" w="med" len="med"/>
          </a:ln>
        </p:spPr>
      </p:cxnSp>
      <p:sp>
        <p:nvSpPr>
          <p:cNvPr id="39" name="Oval 38"/>
          <p:cNvSpPr/>
          <p:nvPr/>
        </p:nvSpPr>
        <p:spPr>
          <a:xfrm>
            <a:off x="4491086" y="2021994"/>
            <a:ext cx="1690352" cy="792852"/>
          </a:xfrm>
          <a:prstGeom prst="ellipse">
            <a:avLst/>
          </a:prstGeom>
          <a:ln w="12700">
            <a:solidFill>
              <a:schemeClr val="tx2"/>
            </a:solidFill>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pPr>
            <a:r>
              <a:rPr lang="en-US" sz="1100" b="1" dirty="0" smtClean="0">
                <a:solidFill>
                  <a:schemeClr val="tx1"/>
                </a:solidFill>
              </a:rPr>
              <a:t>Asset Light Mobility Integrator</a:t>
            </a:r>
            <a:endParaRPr lang="en-US" sz="1100" b="1" dirty="0">
              <a:solidFill>
                <a:schemeClr val="tx1"/>
              </a:solidFill>
            </a:endParaRPr>
          </a:p>
        </p:txBody>
      </p:sp>
      <p:sp>
        <p:nvSpPr>
          <p:cNvPr id="40" name="Oval 39"/>
          <p:cNvSpPr/>
          <p:nvPr/>
        </p:nvSpPr>
        <p:spPr>
          <a:xfrm>
            <a:off x="3666838" y="3408039"/>
            <a:ext cx="1648497" cy="792852"/>
          </a:xfrm>
          <a:prstGeom prst="ellipse">
            <a:avLst/>
          </a:prstGeom>
          <a:ln w="12700">
            <a:solidFill>
              <a:schemeClr val="accent2"/>
            </a:solidFill>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pPr>
            <a:r>
              <a:rPr lang="en-US" sz="1100" b="1" dirty="0">
                <a:solidFill>
                  <a:schemeClr val="tx1"/>
                </a:solidFill>
              </a:rPr>
              <a:t>Asset Oriented Fleet Operator</a:t>
            </a:r>
          </a:p>
        </p:txBody>
      </p:sp>
      <p:sp>
        <p:nvSpPr>
          <p:cNvPr id="41" name="Oval 40"/>
          <p:cNvSpPr/>
          <p:nvPr/>
        </p:nvSpPr>
        <p:spPr>
          <a:xfrm>
            <a:off x="1942141" y="4761927"/>
            <a:ext cx="1588662" cy="792852"/>
          </a:xfrm>
          <a:prstGeom prst="ellipse">
            <a:avLst/>
          </a:prstGeom>
          <a:ln w="12700">
            <a:solidFill>
              <a:schemeClr val="accent1"/>
            </a:solidFill>
          </a:ln>
        </p:spPr>
        <p:style>
          <a:lnRef idx="2">
            <a:schemeClr val="accent2"/>
          </a:lnRef>
          <a:fillRef idx="1">
            <a:schemeClr val="lt1"/>
          </a:fillRef>
          <a:effectRef idx="0">
            <a:schemeClr val="accent2"/>
          </a:effectRef>
          <a:fontRef idx="minor">
            <a:schemeClr val="dk1"/>
          </a:fontRef>
        </p:style>
        <p:txBody>
          <a:bodyPr anchor="ctr"/>
          <a:lstStyle/>
          <a:p>
            <a:pPr algn="ctr" fontAlgn="auto">
              <a:spcBef>
                <a:spcPts val="0"/>
              </a:spcBef>
              <a:spcAft>
                <a:spcPts val="0"/>
              </a:spcAft>
              <a:defRPr/>
            </a:pPr>
            <a:r>
              <a:rPr lang="en-US" sz="1100" b="1" dirty="0">
                <a:solidFill>
                  <a:schemeClr val="tx1"/>
                </a:solidFill>
              </a:rPr>
              <a:t>Vehicle Manufacturer</a:t>
            </a:r>
          </a:p>
        </p:txBody>
      </p:sp>
      <p:sp>
        <p:nvSpPr>
          <p:cNvPr id="43" name="Rectangle 34"/>
          <p:cNvSpPr>
            <a:spLocks noChangeArrowheads="1"/>
          </p:cNvSpPr>
          <p:nvPr/>
        </p:nvSpPr>
        <p:spPr bwMode="auto">
          <a:xfrm>
            <a:off x="7111276" y="1436712"/>
            <a:ext cx="1527218" cy="1923217"/>
          </a:xfrm>
          <a:prstGeom prst="roundRect">
            <a:avLst/>
          </a:prstGeom>
          <a:solidFill>
            <a:schemeClr val="bg1">
              <a:alpha val="41960"/>
            </a:schemeClr>
          </a:solidFill>
          <a:ln w="9525">
            <a:solidFill>
              <a:schemeClr val="tx1"/>
            </a:solidFill>
            <a:miter lim="800000"/>
            <a:headEnd/>
            <a:tailEnd/>
          </a:ln>
        </p:spPr>
        <p:txBody>
          <a:bodyPr wrap="square">
            <a:spAutoFit/>
          </a:bodyPr>
          <a:lstStyle/>
          <a:p>
            <a:r>
              <a:rPr lang="en-US" sz="1100" dirty="0"/>
              <a:t>With high volume of business and </a:t>
            </a:r>
            <a:r>
              <a:rPr lang="en-US" sz="1100" dirty="0" smtClean="0"/>
              <a:t>relatively lower investment which helps connect </a:t>
            </a:r>
            <a:r>
              <a:rPr lang="en-US" sz="1100" dirty="0"/>
              <a:t>demand and supply, mobility integrator is likely to reap higher profits.</a:t>
            </a:r>
          </a:p>
        </p:txBody>
      </p:sp>
      <p:sp>
        <p:nvSpPr>
          <p:cNvPr id="44" name="Rectangle 36"/>
          <p:cNvSpPr>
            <a:spLocks noChangeArrowheads="1"/>
          </p:cNvSpPr>
          <p:nvPr/>
        </p:nvSpPr>
        <p:spPr bwMode="auto">
          <a:xfrm>
            <a:off x="6212516" y="3522330"/>
            <a:ext cx="1993463" cy="1038582"/>
          </a:xfrm>
          <a:prstGeom prst="roundRect">
            <a:avLst/>
          </a:prstGeom>
          <a:solidFill>
            <a:schemeClr val="bg1">
              <a:alpha val="41960"/>
            </a:schemeClr>
          </a:solidFill>
          <a:ln w="9525">
            <a:solidFill>
              <a:schemeClr val="tx1"/>
            </a:solidFill>
            <a:miter lim="800000"/>
            <a:headEnd/>
            <a:tailEnd/>
          </a:ln>
        </p:spPr>
        <p:txBody>
          <a:bodyPr wrap="square">
            <a:spAutoFit/>
          </a:bodyPr>
          <a:lstStyle/>
          <a:p>
            <a:r>
              <a:rPr lang="en-US" sz="1100" dirty="0" smtClean="0"/>
              <a:t>Owning </a:t>
            </a:r>
            <a:r>
              <a:rPr lang="en-US" sz="1100" dirty="0"/>
              <a:t>and maintaining a fleet of vehicles requires moderate levels of investments </a:t>
            </a:r>
            <a:r>
              <a:rPr lang="en-US" sz="1100" dirty="0" smtClean="0"/>
              <a:t>affects </a:t>
            </a:r>
            <a:r>
              <a:rPr lang="en-US" sz="1100" dirty="0"/>
              <a:t>profitability </a:t>
            </a:r>
          </a:p>
        </p:txBody>
      </p:sp>
      <p:sp>
        <p:nvSpPr>
          <p:cNvPr id="45" name="Rectangle 37"/>
          <p:cNvSpPr>
            <a:spLocks noChangeArrowheads="1"/>
          </p:cNvSpPr>
          <p:nvPr/>
        </p:nvSpPr>
        <p:spPr bwMode="auto">
          <a:xfrm>
            <a:off x="4427984" y="4779793"/>
            <a:ext cx="3364338" cy="851297"/>
          </a:xfrm>
          <a:prstGeom prst="roundRect">
            <a:avLst/>
          </a:prstGeom>
          <a:solidFill>
            <a:schemeClr val="bg1">
              <a:alpha val="41960"/>
            </a:schemeClr>
          </a:solidFill>
          <a:ln w="9525">
            <a:solidFill>
              <a:schemeClr val="tx1"/>
            </a:solidFill>
            <a:miter lim="800000"/>
            <a:headEnd/>
            <a:tailEnd/>
          </a:ln>
        </p:spPr>
        <p:txBody>
          <a:bodyPr wrap="square">
            <a:spAutoFit/>
          </a:bodyPr>
          <a:lstStyle/>
          <a:p>
            <a:r>
              <a:rPr lang="en-US" sz="1100" dirty="0"/>
              <a:t>Huge investments on infrastructure and machinery to manufacture different types of vehicles combined with decline in sales is likely to have adverse impact on profit margins</a:t>
            </a:r>
          </a:p>
        </p:txBody>
      </p:sp>
      <p:sp>
        <p:nvSpPr>
          <p:cNvPr id="55" name="Title 1"/>
          <p:cNvSpPr txBox="1">
            <a:spLocks/>
          </p:cNvSpPr>
          <p:nvPr/>
        </p:nvSpPr>
        <p:spPr bwMode="auto">
          <a:xfrm>
            <a:off x="152400" y="228600"/>
            <a:ext cx="8686800" cy="3048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lvl1pPr algn="l" rtl="0" eaLnBrk="0" fontAlgn="base" hangingPunct="0">
              <a:spcBef>
                <a:spcPct val="0"/>
              </a:spcBef>
              <a:spcAft>
                <a:spcPct val="0"/>
              </a:spcAft>
              <a:defRPr sz="2000" b="1" baseline="0">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pPr marL="6350" lvl="1"/>
            <a:r>
              <a:rPr lang="en-GB" sz="1800" dirty="0"/>
              <a:t>Business Implication of Future Mobility Models for </a:t>
            </a:r>
            <a:r>
              <a:rPr lang="en-GB" sz="1800" dirty="0" smtClean="0"/>
              <a:t>Key Stakeholders </a:t>
            </a:r>
            <a:endParaRPr lang="en-GB" sz="1800" dirty="0"/>
          </a:p>
        </p:txBody>
      </p:sp>
      <p:sp>
        <p:nvSpPr>
          <p:cNvPr id="56" name="Text Placeholder 3"/>
          <p:cNvSpPr txBox="1">
            <a:spLocks/>
          </p:cNvSpPr>
          <p:nvPr/>
        </p:nvSpPr>
        <p:spPr>
          <a:xfrm>
            <a:off x="152400" y="457200"/>
            <a:ext cx="8686800" cy="457200"/>
          </a:xfrm>
          <a:prstGeom prst="rect">
            <a:avLst/>
          </a:prstGeom>
        </p:spPr>
        <p:txBody>
          <a:bodyPr/>
          <a:lstStyle>
            <a:lvl1pPr marL="0" indent="0" algn="l" rtl="0" eaLnBrk="0" fontAlgn="base" hangingPunct="0">
              <a:lnSpc>
                <a:spcPct val="100000"/>
              </a:lnSpc>
              <a:spcBef>
                <a:spcPts val="600"/>
              </a:spcBef>
              <a:spcAft>
                <a:spcPts val="0"/>
              </a:spcAft>
              <a:buSzPct val="75000"/>
              <a:defRPr sz="1400">
                <a:solidFill>
                  <a:schemeClr val="tx1"/>
                </a:solidFill>
                <a:latin typeface="+mn-lt"/>
                <a:ea typeface="+mn-ea"/>
                <a:cs typeface="+mn-cs"/>
              </a:defRPr>
            </a:lvl1pPr>
            <a:lvl2pPr marL="230188" indent="-230188" algn="l" rtl="0" eaLnBrk="0" fontAlgn="base" hangingPunct="0">
              <a:lnSpc>
                <a:spcPct val="100000"/>
              </a:lnSpc>
              <a:spcBef>
                <a:spcPts val="600"/>
              </a:spcBef>
              <a:spcAft>
                <a:spcPts val="0"/>
              </a:spcAft>
              <a:buSzPct val="100000"/>
              <a:buFont typeface="Arial" pitchFamily="34" charset="0"/>
              <a:buChar char="•"/>
              <a:defRPr sz="1400">
                <a:solidFill>
                  <a:schemeClr val="tx1"/>
                </a:solidFill>
                <a:latin typeface="+mn-lt"/>
              </a:defRPr>
            </a:lvl2pPr>
            <a:lvl3pPr marL="461963" indent="-231775" algn="l" rtl="0" eaLnBrk="0" fontAlgn="base" hangingPunct="0">
              <a:lnSpc>
                <a:spcPct val="100000"/>
              </a:lnSpc>
              <a:spcBef>
                <a:spcPts val="0"/>
              </a:spcBef>
              <a:spcAft>
                <a:spcPts val="0"/>
              </a:spcAft>
              <a:buSzPct val="100000"/>
              <a:buFont typeface="Courier New" pitchFamily="49" charset="0"/>
              <a:buChar char="o"/>
              <a:defRPr sz="1400">
                <a:solidFill>
                  <a:schemeClr val="tx1"/>
                </a:solidFill>
                <a:latin typeface="+mn-lt"/>
              </a:defRPr>
            </a:lvl3pPr>
            <a:lvl4pPr marL="461963" indent="-231775" algn="l" rtl="0" eaLnBrk="0" fontAlgn="base" hangingPunct="0">
              <a:lnSpc>
                <a:spcPct val="100000"/>
              </a:lnSpc>
              <a:spcBef>
                <a:spcPts val="0"/>
              </a:spcBef>
              <a:spcAft>
                <a:spcPts val="0"/>
              </a:spcAft>
              <a:buSzPct val="100000"/>
              <a:buFont typeface="Courier New" pitchFamily="49" charset="0"/>
              <a:buChar char="o"/>
              <a:defRPr sz="1400">
                <a:solidFill>
                  <a:schemeClr val="tx1"/>
                </a:solidFill>
                <a:latin typeface="+mn-lt"/>
              </a:defRPr>
            </a:lvl4pPr>
            <a:lvl5pPr marL="230188" indent="-230188" algn="l" rtl="0" eaLnBrk="0" fontAlgn="base" hangingPunct="0">
              <a:lnSpc>
                <a:spcPct val="100000"/>
              </a:lnSpc>
              <a:spcBef>
                <a:spcPts val="600"/>
              </a:spcBef>
              <a:spcAft>
                <a:spcPts val="0"/>
              </a:spcAft>
              <a:buSzPct val="100000"/>
              <a:buFont typeface="Arial" pitchFamily="34" charset="0"/>
              <a:buChar char="•"/>
              <a:defRPr sz="1400">
                <a:solidFill>
                  <a:schemeClr val="tx1"/>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a:lstStyle>
          <a:p>
            <a:r>
              <a:rPr lang="en-US" kern="0" dirty="0" smtClean="0">
                <a:solidFill>
                  <a:srgbClr val="17426B"/>
                </a:solidFill>
                <a:latin typeface="+mj-lt"/>
                <a:ea typeface="+mj-ea"/>
                <a:cs typeface="+mj-cs"/>
              </a:rPr>
              <a:t>Although each stakeholder can posses a strong core competence, expanding their radius of power to exercise more control on at least one other stakeholder can increase the probability of success.</a:t>
            </a:r>
            <a:endParaRPr lang="en-GB" kern="0" dirty="0">
              <a:solidFill>
                <a:srgbClr val="17426B"/>
              </a:solidFill>
              <a:latin typeface="+mj-lt"/>
              <a:ea typeface="+mj-ea"/>
              <a:cs typeface="+mj-cs"/>
            </a:endParaRPr>
          </a:p>
        </p:txBody>
      </p:sp>
      <p:grpSp>
        <p:nvGrpSpPr>
          <p:cNvPr id="58" name="Group 57"/>
          <p:cNvGrpSpPr/>
          <p:nvPr/>
        </p:nvGrpSpPr>
        <p:grpSpPr>
          <a:xfrm rot="10415598">
            <a:off x="5053632" y="2919671"/>
            <a:ext cx="419616" cy="422741"/>
            <a:chOff x="-1540329" y="2739760"/>
            <a:chExt cx="625929" cy="667392"/>
          </a:xfrm>
        </p:grpSpPr>
        <p:sp>
          <p:nvSpPr>
            <p:cNvPr id="59" name="Chevron 58"/>
            <p:cNvSpPr/>
            <p:nvPr/>
          </p:nvSpPr>
          <p:spPr>
            <a:xfrm rot="19000458">
              <a:off x="-1295400" y="2739760"/>
              <a:ext cx="381000" cy="460640"/>
            </a:xfrm>
            <a:prstGeom prst="chevron">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Chevron 59"/>
            <p:cNvSpPr/>
            <p:nvPr/>
          </p:nvSpPr>
          <p:spPr>
            <a:xfrm rot="19000458">
              <a:off x="-1540329" y="2946512"/>
              <a:ext cx="381000" cy="460640"/>
            </a:xfrm>
            <a:prstGeom prst="chevron">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3" name="Chevron 62"/>
          <p:cNvSpPr/>
          <p:nvPr/>
        </p:nvSpPr>
        <p:spPr>
          <a:xfrm rot="19792606">
            <a:off x="4057809" y="4408926"/>
            <a:ext cx="255418" cy="291780"/>
          </a:xfrm>
          <a:prstGeom prst="chevron">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4" name="Group 63"/>
          <p:cNvGrpSpPr/>
          <p:nvPr/>
        </p:nvGrpSpPr>
        <p:grpSpPr>
          <a:xfrm rot="20982171">
            <a:off x="5557945" y="3057258"/>
            <a:ext cx="419616" cy="422741"/>
            <a:chOff x="-1540329" y="2739760"/>
            <a:chExt cx="625929" cy="667392"/>
          </a:xfrm>
          <a:solidFill>
            <a:schemeClr val="tx2">
              <a:lumMod val="25000"/>
              <a:lumOff val="75000"/>
            </a:schemeClr>
          </a:solidFill>
        </p:grpSpPr>
        <p:sp>
          <p:nvSpPr>
            <p:cNvPr id="65" name="Chevron 64"/>
            <p:cNvSpPr/>
            <p:nvPr/>
          </p:nvSpPr>
          <p:spPr>
            <a:xfrm rot="19000458">
              <a:off x="-1295400" y="2739760"/>
              <a:ext cx="381000" cy="4606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Chevron 65"/>
            <p:cNvSpPr/>
            <p:nvPr/>
          </p:nvSpPr>
          <p:spPr>
            <a:xfrm rot="19000458">
              <a:off x="-1540329" y="2946512"/>
              <a:ext cx="381000" cy="460640"/>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67" name="Chevron 66"/>
          <p:cNvSpPr/>
          <p:nvPr/>
        </p:nvSpPr>
        <p:spPr>
          <a:xfrm rot="8708876">
            <a:off x="3539130" y="4223401"/>
            <a:ext cx="255418" cy="291780"/>
          </a:xfrm>
          <a:prstGeom prst="chevron">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Rounded Rectangle 67"/>
          <p:cNvSpPr/>
          <p:nvPr/>
        </p:nvSpPr>
        <p:spPr>
          <a:xfrm>
            <a:off x="2823884" y="6009985"/>
            <a:ext cx="304800" cy="200092"/>
          </a:xfrm>
          <a:prstGeom prst="round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9" name="Rounded Rectangle 68"/>
          <p:cNvSpPr/>
          <p:nvPr/>
        </p:nvSpPr>
        <p:spPr>
          <a:xfrm>
            <a:off x="4297708" y="6009985"/>
            <a:ext cx="304800" cy="200092"/>
          </a:xfrm>
          <a:prstGeom prst="round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TextBox 69"/>
          <p:cNvSpPr txBox="1"/>
          <p:nvPr/>
        </p:nvSpPr>
        <p:spPr>
          <a:xfrm>
            <a:off x="3085141" y="5991091"/>
            <a:ext cx="1518123" cy="246221"/>
          </a:xfrm>
          <a:prstGeom prst="rect">
            <a:avLst/>
          </a:prstGeom>
          <a:noFill/>
        </p:spPr>
        <p:txBody>
          <a:bodyPr wrap="square" rtlCol="0">
            <a:spAutoFit/>
          </a:bodyPr>
          <a:lstStyle/>
          <a:p>
            <a:r>
              <a:rPr lang="en-US" sz="1000" dirty="0" smtClean="0"/>
              <a:t>Data Flow</a:t>
            </a:r>
            <a:endParaRPr lang="en-US" sz="1000" dirty="0"/>
          </a:p>
        </p:txBody>
      </p:sp>
      <p:sp>
        <p:nvSpPr>
          <p:cNvPr id="71" name="TextBox 70"/>
          <p:cNvSpPr txBox="1"/>
          <p:nvPr/>
        </p:nvSpPr>
        <p:spPr>
          <a:xfrm>
            <a:off x="4602508" y="5980205"/>
            <a:ext cx="1518123" cy="246221"/>
          </a:xfrm>
          <a:prstGeom prst="rect">
            <a:avLst/>
          </a:prstGeom>
          <a:noFill/>
        </p:spPr>
        <p:txBody>
          <a:bodyPr wrap="square" rtlCol="0">
            <a:spAutoFit/>
          </a:bodyPr>
          <a:lstStyle/>
          <a:p>
            <a:r>
              <a:rPr lang="en-US" sz="1000" dirty="0"/>
              <a:t>Material Flow</a:t>
            </a:r>
          </a:p>
        </p:txBody>
      </p:sp>
      <p:sp>
        <p:nvSpPr>
          <p:cNvPr id="42" name="Text Box 46"/>
          <p:cNvSpPr txBox="1">
            <a:spLocks noChangeArrowheads="1"/>
          </p:cNvSpPr>
          <p:nvPr/>
        </p:nvSpPr>
        <p:spPr bwMode="auto">
          <a:xfrm>
            <a:off x="6781800" y="6246168"/>
            <a:ext cx="2207885" cy="230832"/>
          </a:xfrm>
          <a:prstGeom prst="rect">
            <a:avLst/>
          </a:prstGeom>
          <a:noFill/>
          <a:ln w="9525">
            <a:noFill/>
            <a:miter lim="800000"/>
            <a:headEnd/>
            <a:tailEnd/>
          </a:ln>
          <a:effectLst/>
        </p:spPr>
        <p:txBody>
          <a:bodyPr wrap="square">
            <a:spAutoFit/>
          </a:bodyPr>
          <a:lstStyle/>
          <a:p>
            <a:pPr algn="r"/>
            <a:r>
              <a:rPr lang="en-US" sz="900" dirty="0" smtClean="0">
                <a:solidFill>
                  <a:schemeClr val="accent2"/>
                </a:solidFill>
              </a:rPr>
              <a:t>Source: Frost &amp; Sullivan</a:t>
            </a:r>
            <a:endParaRPr lang="en-US" sz="900" dirty="0">
              <a:solidFill>
                <a:schemeClr val="accent2"/>
              </a:solidFill>
            </a:endParaRPr>
          </a:p>
        </p:txBody>
      </p:sp>
    </p:spTree>
    <p:extLst>
      <p:ext uri="{BB962C8B-B14F-4D97-AF65-F5344CB8AC3E}">
        <p14:creationId xmlns:p14="http://schemas.microsoft.com/office/powerpoint/2010/main" val="223063342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Conclusions</a:t>
            </a:r>
            <a:endParaRPr lang="en-GB" dirty="0"/>
          </a:p>
        </p:txBody>
      </p:sp>
    </p:spTree>
    <p:extLst>
      <p:ext uri="{BB962C8B-B14F-4D97-AF65-F5344CB8AC3E}">
        <p14:creationId xmlns:p14="http://schemas.microsoft.com/office/powerpoint/2010/main" val="57867533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 </a:t>
            </a:r>
            <a:endParaRPr lang="en-GB" dirty="0"/>
          </a:p>
        </p:txBody>
      </p:sp>
      <p:graphicFrame>
        <p:nvGraphicFramePr>
          <p:cNvPr id="5" name="Content Placeholder 4"/>
          <p:cNvGraphicFramePr>
            <a:graphicFrameLocks noGrp="1"/>
          </p:cNvGraphicFramePr>
          <p:nvPr>
            <p:ph sz="quarter" idx="10"/>
            <p:extLst>
              <p:ext uri="{D42A27DB-BD31-4B8C-83A1-F6EECF244321}">
                <p14:modId xmlns:p14="http://schemas.microsoft.com/office/powerpoint/2010/main" val="3365957901"/>
              </p:ext>
            </p:extLst>
          </p:nvPr>
        </p:nvGraphicFramePr>
        <p:xfrm>
          <a:off x="2362199" y="1752597"/>
          <a:ext cx="2188066" cy="41743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1106815075"/>
              </p:ext>
            </p:extLst>
          </p:nvPr>
        </p:nvGraphicFramePr>
        <p:xfrm>
          <a:off x="3657600" y="1888311"/>
          <a:ext cx="2209800" cy="413928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Rectangle 7"/>
          <p:cNvSpPr/>
          <p:nvPr/>
        </p:nvSpPr>
        <p:spPr>
          <a:xfrm>
            <a:off x="3657600" y="1447800"/>
            <a:ext cx="2133600" cy="3048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GB" b="1" dirty="0">
                <a:solidFill>
                  <a:srgbClr val="06325C"/>
                </a:solidFill>
              </a:rPr>
              <a:t>Disruptor</a:t>
            </a:r>
          </a:p>
        </p:txBody>
      </p:sp>
      <p:sp>
        <p:nvSpPr>
          <p:cNvPr id="3" name="Rounded Rectangle 2"/>
          <p:cNvSpPr/>
          <p:nvPr/>
        </p:nvSpPr>
        <p:spPr>
          <a:xfrm>
            <a:off x="264803" y="1864695"/>
            <a:ext cx="2027047" cy="1564305"/>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2" name="Rounded Rectangle 11"/>
          <p:cNvSpPr/>
          <p:nvPr/>
        </p:nvSpPr>
        <p:spPr>
          <a:xfrm>
            <a:off x="263733" y="3564711"/>
            <a:ext cx="2022267" cy="914400"/>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13" name="Rounded Rectangle 12"/>
          <p:cNvSpPr/>
          <p:nvPr/>
        </p:nvSpPr>
        <p:spPr>
          <a:xfrm>
            <a:off x="263733" y="4607699"/>
            <a:ext cx="2022267" cy="1319212"/>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21" name="TextBox 20"/>
          <p:cNvSpPr txBox="1"/>
          <p:nvPr/>
        </p:nvSpPr>
        <p:spPr>
          <a:xfrm>
            <a:off x="5737776" y="2114853"/>
            <a:ext cx="3200399" cy="954107"/>
          </a:xfrm>
          <a:prstGeom prst="rect">
            <a:avLst/>
          </a:prstGeom>
          <a:noFill/>
        </p:spPr>
        <p:txBody>
          <a:bodyPr wrap="square" rtlCol="0">
            <a:spAutoFit/>
          </a:bodyPr>
          <a:lstStyle/>
          <a:p>
            <a:r>
              <a:rPr lang="en-US" sz="1400" dirty="0" smtClean="0"/>
              <a:t>Data acquisition and processing capability held by disrupters gives them added advantage over traditional OEMs</a:t>
            </a:r>
            <a:endParaRPr lang="en-US" sz="1400" dirty="0"/>
          </a:p>
        </p:txBody>
      </p:sp>
      <p:sp>
        <p:nvSpPr>
          <p:cNvPr id="22" name="TextBox 21"/>
          <p:cNvSpPr txBox="1"/>
          <p:nvPr/>
        </p:nvSpPr>
        <p:spPr>
          <a:xfrm>
            <a:off x="5737776" y="3501008"/>
            <a:ext cx="3200400" cy="954107"/>
          </a:xfrm>
          <a:prstGeom prst="rect">
            <a:avLst/>
          </a:prstGeom>
          <a:noFill/>
        </p:spPr>
        <p:txBody>
          <a:bodyPr wrap="square" rtlCol="0">
            <a:spAutoFit/>
          </a:bodyPr>
          <a:lstStyle/>
          <a:p>
            <a:r>
              <a:rPr lang="en-US" sz="1400" dirty="0" smtClean="0"/>
              <a:t>Disrupters are likely to achieve comparable customer acceptance due to product success and the perceived quality</a:t>
            </a:r>
            <a:endParaRPr lang="en-US" sz="1400" dirty="0"/>
          </a:p>
        </p:txBody>
      </p:sp>
      <p:sp>
        <p:nvSpPr>
          <p:cNvPr id="23" name="Right Arrow 22"/>
          <p:cNvSpPr/>
          <p:nvPr/>
        </p:nvSpPr>
        <p:spPr>
          <a:xfrm>
            <a:off x="1828800" y="2389246"/>
            <a:ext cx="381000" cy="394883"/>
          </a:xfrm>
          <a:prstGeom prst="rightArrow">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ight Arrow 23"/>
          <p:cNvSpPr/>
          <p:nvPr/>
        </p:nvSpPr>
        <p:spPr>
          <a:xfrm>
            <a:off x="1828800" y="3826388"/>
            <a:ext cx="381000" cy="394883"/>
          </a:xfrm>
          <a:prstGeom prst="rightArrow">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ight Arrow 24"/>
          <p:cNvSpPr/>
          <p:nvPr/>
        </p:nvSpPr>
        <p:spPr>
          <a:xfrm>
            <a:off x="1828800" y="5059190"/>
            <a:ext cx="381000" cy="394883"/>
          </a:xfrm>
          <a:prstGeom prst="rightArrow">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ounded Rectangle 25"/>
          <p:cNvSpPr/>
          <p:nvPr/>
        </p:nvSpPr>
        <p:spPr>
          <a:xfrm>
            <a:off x="381002" y="1945162"/>
            <a:ext cx="1371598" cy="1396752"/>
          </a:xfrm>
          <a:prstGeom prst="roundRect">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Mobility </a:t>
            </a:r>
            <a:r>
              <a:rPr lang="en-GB" sz="1200" b="1" dirty="0" smtClean="0">
                <a:solidFill>
                  <a:schemeClr val="tx1"/>
                </a:solidFill>
              </a:rPr>
              <a:t>integration </a:t>
            </a:r>
            <a:r>
              <a:rPr lang="en-GB" sz="1200" b="1" dirty="0">
                <a:solidFill>
                  <a:schemeClr val="tx1"/>
                </a:solidFill>
              </a:rPr>
              <a:t>c</a:t>
            </a:r>
            <a:r>
              <a:rPr lang="en-GB" sz="1200" b="1" dirty="0" smtClean="0">
                <a:solidFill>
                  <a:schemeClr val="tx1"/>
                </a:solidFill>
              </a:rPr>
              <a:t>apability </a:t>
            </a:r>
            <a:r>
              <a:rPr lang="en-GB" sz="1200" b="1" dirty="0">
                <a:solidFill>
                  <a:schemeClr val="tx1"/>
                </a:solidFill>
              </a:rPr>
              <a:t>leveraging connectivity </a:t>
            </a:r>
            <a:r>
              <a:rPr lang="en-GB" sz="1200" b="1" dirty="0" smtClean="0">
                <a:solidFill>
                  <a:schemeClr val="tx1"/>
                </a:solidFill>
              </a:rPr>
              <a:t>and </a:t>
            </a:r>
            <a:r>
              <a:rPr lang="en-GB" sz="1200" b="1" dirty="0">
                <a:solidFill>
                  <a:schemeClr val="tx1"/>
                </a:solidFill>
              </a:rPr>
              <a:t>data</a:t>
            </a:r>
          </a:p>
        </p:txBody>
      </p:sp>
      <p:sp>
        <p:nvSpPr>
          <p:cNvPr id="27" name="Rounded Rectangle 26"/>
          <p:cNvSpPr/>
          <p:nvPr/>
        </p:nvSpPr>
        <p:spPr>
          <a:xfrm>
            <a:off x="381001" y="3712088"/>
            <a:ext cx="1363118" cy="623482"/>
          </a:xfrm>
          <a:prstGeom prst="roundRect">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User group acceptance potential</a:t>
            </a:r>
          </a:p>
        </p:txBody>
      </p:sp>
      <p:sp>
        <p:nvSpPr>
          <p:cNvPr id="28" name="Rounded Rectangle 27"/>
          <p:cNvSpPr/>
          <p:nvPr/>
        </p:nvSpPr>
        <p:spPr>
          <a:xfrm>
            <a:off x="381001" y="4738751"/>
            <a:ext cx="1371599" cy="1035760"/>
          </a:xfrm>
          <a:prstGeom prst="roundRect">
            <a:avLst/>
          </a:prstGeom>
          <a:noFill/>
          <a:ln>
            <a:solidFill>
              <a:srgbClr val="1742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0000"/>
                </a:solidFill>
              </a:rPr>
              <a:t>Ability to create / modify architecture for purpose-built vehicles</a:t>
            </a:r>
          </a:p>
        </p:txBody>
      </p:sp>
      <p:sp>
        <p:nvSpPr>
          <p:cNvPr id="29" name="TextBox 28"/>
          <p:cNvSpPr txBox="1"/>
          <p:nvPr/>
        </p:nvSpPr>
        <p:spPr>
          <a:xfrm>
            <a:off x="5737776" y="4995173"/>
            <a:ext cx="3200400" cy="954107"/>
          </a:xfrm>
          <a:prstGeom prst="rect">
            <a:avLst/>
          </a:prstGeom>
          <a:noFill/>
        </p:spPr>
        <p:txBody>
          <a:bodyPr wrap="square" rtlCol="0">
            <a:spAutoFit/>
          </a:bodyPr>
          <a:lstStyle/>
          <a:p>
            <a:r>
              <a:rPr lang="en-US" sz="1400" dirty="0" smtClean="0"/>
              <a:t>OEMs with extensive experience in manufacturing different types of automobiles are likely to have an edge over the disruptors</a:t>
            </a:r>
            <a:endParaRPr lang="en-US" sz="1400" dirty="0"/>
          </a:p>
        </p:txBody>
      </p:sp>
      <p:sp>
        <p:nvSpPr>
          <p:cNvPr id="31" name="Rectangle 30"/>
          <p:cNvSpPr/>
          <p:nvPr/>
        </p:nvSpPr>
        <p:spPr>
          <a:xfrm>
            <a:off x="2438400" y="6019800"/>
            <a:ext cx="2133600" cy="304800"/>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GB" b="1" dirty="0" smtClean="0">
                <a:solidFill>
                  <a:srgbClr val="06325C"/>
                </a:solidFill>
              </a:rPr>
              <a:t>OEM</a:t>
            </a:r>
            <a:endParaRPr lang="en-GB" b="1" dirty="0">
              <a:solidFill>
                <a:srgbClr val="06325C"/>
              </a:solidFill>
            </a:endParaRPr>
          </a:p>
        </p:txBody>
      </p:sp>
      <p:sp>
        <p:nvSpPr>
          <p:cNvPr id="34" name="Rectangle 2"/>
          <p:cNvSpPr txBox="1">
            <a:spLocks noChangeArrowheads="1"/>
          </p:cNvSpPr>
          <p:nvPr/>
        </p:nvSpPr>
        <p:spPr bwMode="auto">
          <a:xfrm>
            <a:off x="261260" y="152400"/>
            <a:ext cx="899160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lvl1pPr algn="l" rtl="0" eaLnBrk="0" fontAlgn="base" hangingPunct="0">
              <a:spcBef>
                <a:spcPct val="0"/>
              </a:spcBef>
              <a:spcAft>
                <a:spcPct val="0"/>
              </a:spcAft>
              <a:defRPr sz="2000" b="1" baseline="0">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GB" sz="2000" kern="0" dirty="0" smtClean="0">
                <a:solidFill>
                  <a:schemeClr val="tx2"/>
                </a:solidFill>
              </a:rPr>
              <a:t>Intelligent Mobility—OEMs’ Competencies Compared with Disruptors</a:t>
            </a:r>
            <a:r>
              <a:rPr lang="en-US" kern="0" dirty="0" smtClean="0">
                <a:solidFill>
                  <a:schemeClr val="tx2"/>
                </a:solidFill>
              </a:rPr>
              <a:t/>
            </a:r>
            <a:br>
              <a:rPr lang="en-US" kern="0" dirty="0" smtClean="0">
                <a:solidFill>
                  <a:schemeClr val="tx2"/>
                </a:solidFill>
              </a:rPr>
            </a:br>
            <a:r>
              <a:rPr lang="en-GB" sz="1400" b="0" dirty="0">
                <a:solidFill>
                  <a:schemeClr val="tx2"/>
                </a:solidFill>
              </a:rPr>
              <a:t>Coexistence of disrupter-led mobility models alongside traditional OEM-led business models would increase competitiveness thereby resulting in the evolution of new market differentiators among rivalling brands.</a:t>
            </a:r>
          </a:p>
        </p:txBody>
      </p:sp>
      <p:sp>
        <p:nvSpPr>
          <p:cNvPr id="35" name="Text Box 80"/>
          <p:cNvSpPr txBox="1">
            <a:spLocks noChangeArrowheads="1"/>
          </p:cNvSpPr>
          <p:nvPr/>
        </p:nvSpPr>
        <p:spPr bwMode="auto">
          <a:xfrm>
            <a:off x="5257800" y="6204858"/>
            <a:ext cx="3657600" cy="230832"/>
          </a:xfrm>
          <a:prstGeom prst="rect">
            <a:avLst/>
          </a:prstGeom>
          <a:noFill/>
          <a:ln w="9525">
            <a:noFill/>
            <a:miter lim="800000"/>
            <a:headEnd/>
            <a:tailEnd/>
          </a:ln>
        </p:spPr>
        <p:txBody>
          <a:bodyPr wrap="square" lIns="0" rIns="0">
            <a:spAutoFit/>
          </a:bodyPr>
          <a:lstStyle/>
          <a:p>
            <a:pPr algn="r" eaLnBrk="1" hangingPunct="1">
              <a:lnSpc>
                <a:spcPct val="100000"/>
              </a:lnSpc>
              <a:spcBef>
                <a:spcPct val="0"/>
              </a:spcBef>
              <a:spcAft>
                <a:spcPct val="0"/>
              </a:spcAft>
              <a:buSzTx/>
            </a:pPr>
            <a:r>
              <a:rPr lang="en-US" sz="900" dirty="0">
                <a:solidFill>
                  <a:schemeClr val="accent2"/>
                </a:solidFill>
                <a:latin typeface="+mj-lt"/>
              </a:rPr>
              <a:t>Source: Frost &amp; </a:t>
            </a:r>
            <a:r>
              <a:rPr lang="en-US" sz="900" dirty="0" smtClean="0">
                <a:solidFill>
                  <a:schemeClr val="accent2"/>
                </a:solidFill>
                <a:latin typeface="+mj-lt"/>
              </a:rPr>
              <a:t>Sullivan </a:t>
            </a:r>
            <a:endParaRPr lang="en-US" sz="900" dirty="0">
              <a:solidFill>
                <a:schemeClr val="accent2"/>
              </a:solidFill>
              <a:latin typeface="+mj-lt"/>
            </a:endParaRPr>
          </a:p>
        </p:txBody>
      </p:sp>
    </p:spTree>
    <p:extLst>
      <p:ext uri="{BB962C8B-B14F-4D97-AF65-F5344CB8AC3E}">
        <p14:creationId xmlns:p14="http://schemas.microsoft.com/office/powerpoint/2010/main" val="41874654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p:nvPr/>
        </p:nvCxnSpPr>
        <p:spPr>
          <a:xfrm>
            <a:off x="1040199" y="2078212"/>
            <a:ext cx="52675" cy="3357511"/>
          </a:xfrm>
          <a:prstGeom prst="line">
            <a:avLst/>
          </a:prstGeom>
          <a:noFill/>
          <a:ln w="38100" cap="flat" cmpd="sng" algn="ctr">
            <a:solidFill>
              <a:srgbClr val="FFFFFF">
                <a:lumMod val="85000"/>
              </a:srgbClr>
            </a:solidFill>
            <a:prstDash val="sysDash"/>
          </a:ln>
          <a:effectLst/>
        </p:spPr>
      </p:cxnSp>
      <p:sp>
        <p:nvSpPr>
          <p:cNvPr id="31" name="Up Arrow 30"/>
          <p:cNvSpPr/>
          <p:nvPr/>
        </p:nvSpPr>
        <p:spPr>
          <a:xfrm>
            <a:off x="8391655" y="1196752"/>
            <a:ext cx="523745" cy="4626221"/>
          </a:xfrm>
          <a:prstGeom prst="upArrow">
            <a:avLst/>
          </a:prstGeom>
          <a:gradFill>
            <a:gsLst>
              <a:gs pos="0">
                <a:srgbClr val="517496"/>
              </a:gs>
              <a:gs pos="50000">
                <a:srgbClr val="ACBED1">
                  <a:tint val="44500"/>
                  <a:satMod val="160000"/>
                </a:srgbClr>
              </a:gs>
              <a:gs pos="100000">
                <a:srgbClr val="ACBED1">
                  <a:tint val="23500"/>
                  <a:satMod val="160000"/>
                </a:srgbClr>
              </a:gs>
            </a:gsLst>
            <a:lin ang="5400000" scaled="0"/>
          </a:gradFill>
          <a:ln w="25400" cap="flat" cmpd="sng" algn="ctr">
            <a:noFill/>
            <a:prstDash val="solid"/>
          </a:ln>
          <a:effectLst/>
        </p:spPr>
        <p:txBody>
          <a:bodyPr vert="vert" rtlCol="0" anchor="ctr"/>
          <a:lstStyle/>
          <a:p>
            <a:pPr algn="ctr">
              <a:defRPr/>
            </a:pPr>
            <a:r>
              <a:rPr lang="en-US" sz="1600" b="1" kern="0" dirty="0" smtClean="0">
                <a:solidFill>
                  <a:srgbClr val="000000"/>
                </a:solidFill>
                <a:latin typeface="Arial"/>
              </a:rPr>
              <a:t>2025</a:t>
            </a:r>
          </a:p>
        </p:txBody>
      </p:sp>
      <p:cxnSp>
        <p:nvCxnSpPr>
          <p:cNvPr id="32" name="Straight Connector 31"/>
          <p:cNvCxnSpPr/>
          <p:nvPr/>
        </p:nvCxnSpPr>
        <p:spPr>
          <a:xfrm>
            <a:off x="786029" y="2564904"/>
            <a:ext cx="5954185" cy="0"/>
          </a:xfrm>
          <a:prstGeom prst="line">
            <a:avLst/>
          </a:prstGeom>
          <a:noFill/>
          <a:ln w="28575" cap="flat" cmpd="sng" algn="ctr">
            <a:solidFill>
              <a:srgbClr val="ACBED1">
                <a:shade val="95000"/>
                <a:satMod val="105000"/>
              </a:srgbClr>
            </a:solidFill>
            <a:prstDash val="solid"/>
          </a:ln>
          <a:effectLst/>
        </p:spPr>
      </p:cxnSp>
      <p:cxnSp>
        <p:nvCxnSpPr>
          <p:cNvPr id="33" name="Straight Connector 32"/>
          <p:cNvCxnSpPr/>
          <p:nvPr/>
        </p:nvCxnSpPr>
        <p:spPr>
          <a:xfrm flipV="1">
            <a:off x="827615" y="3808084"/>
            <a:ext cx="5954185" cy="11182"/>
          </a:xfrm>
          <a:prstGeom prst="line">
            <a:avLst/>
          </a:prstGeom>
          <a:noFill/>
          <a:ln w="28575" cap="flat" cmpd="sng" algn="ctr">
            <a:solidFill>
              <a:srgbClr val="ACBED1">
                <a:shade val="95000"/>
                <a:satMod val="105000"/>
              </a:srgbClr>
            </a:solidFill>
            <a:prstDash val="solid"/>
          </a:ln>
          <a:effectLst/>
        </p:spPr>
      </p:cxnSp>
      <p:cxnSp>
        <p:nvCxnSpPr>
          <p:cNvPr id="34" name="Straight Connector 33"/>
          <p:cNvCxnSpPr/>
          <p:nvPr/>
        </p:nvCxnSpPr>
        <p:spPr>
          <a:xfrm>
            <a:off x="786029" y="4954333"/>
            <a:ext cx="5954185" cy="0"/>
          </a:xfrm>
          <a:prstGeom prst="line">
            <a:avLst/>
          </a:prstGeom>
          <a:noFill/>
          <a:ln w="28575" cap="flat" cmpd="sng" algn="ctr">
            <a:solidFill>
              <a:srgbClr val="ACBED1">
                <a:shade val="95000"/>
                <a:satMod val="105000"/>
              </a:srgbClr>
            </a:solidFill>
            <a:prstDash val="solid"/>
          </a:ln>
          <a:effectLst/>
        </p:spPr>
      </p:cxnSp>
      <p:cxnSp>
        <p:nvCxnSpPr>
          <p:cNvPr id="35" name="Straight Connector 34"/>
          <p:cNvCxnSpPr/>
          <p:nvPr/>
        </p:nvCxnSpPr>
        <p:spPr>
          <a:xfrm>
            <a:off x="786029" y="6093296"/>
            <a:ext cx="5954185" cy="0"/>
          </a:xfrm>
          <a:prstGeom prst="line">
            <a:avLst/>
          </a:prstGeom>
          <a:noFill/>
          <a:ln w="28575" cap="flat" cmpd="sng" algn="ctr">
            <a:solidFill>
              <a:srgbClr val="ACBED1">
                <a:shade val="95000"/>
                <a:satMod val="105000"/>
              </a:srgbClr>
            </a:solidFill>
            <a:prstDash val="solid"/>
          </a:ln>
          <a:effectLst/>
        </p:spPr>
      </p:cxnSp>
      <p:sp>
        <p:nvSpPr>
          <p:cNvPr id="36" name="Rectangle 35"/>
          <p:cNvSpPr/>
          <p:nvPr/>
        </p:nvSpPr>
        <p:spPr>
          <a:xfrm>
            <a:off x="2058426" y="1241873"/>
            <a:ext cx="6253557" cy="1251023"/>
          </a:xfrm>
          <a:prstGeom prst="rect">
            <a:avLst/>
          </a:prstGeom>
          <a:solidFill>
            <a:srgbClr val="FFFFFF"/>
          </a:solidFill>
          <a:ln w="25400" cap="flat" cmpd="sng" algn="ctr">
            <a:solidFill>
              <a:srgbClr val="ACBED1">
                <a:shade val="50000"/>
              </a:srgbClr>
            </a:solidFill>
            <a:prstDash val="solid"/>
          </a:ln>
          <a:effectLst/>
        </p:spPr>
        <p:txBody>
          <a:bodyPr rtlCol="0" anchor="ctr"/>
          <a:lstStyle/>
          <a:p>
            <a:pPr>
              <a:defRPr/>
            </a:pPr>
            <a:r>
              <a:rPr lang="en-US" sz="1400" b="1" kern="0" dirty="0" smtClean="0">
                <a:solidFill>
                  <a:srgbClr val="000000"/>
                </a:solidFill>
                <a:latin typeface="Arial"/>
              </a:rPr>
              <a:t>2015: Stronghold in user interface domain </a:t>
            </a:r>
          </a:p>
          <a:p>
            <a:pPr>
              <a:defRPr/>
            </a:pPr>
            <a:endParaRPr lang="en-US" sz="1400" b="1" kern="0" dirty="0">
              <a:solidFill>
                <a:srgbClr val="000000"/>
              </a:solidFill>
              <a:latin typeface="Arial"/>
            </a:endParaRPr>
          </a:p>
          <a:p>
            <a:pPr>
              <a:defRPr/>
            </a:pPr>
            <a:r>
              <a:rPr lang="en-US" sz="1400" b="1" kern="0" dirty="0" smtClean="0">
                <a:solidFill>
                  <a:srgbClr val="000000"/>
                </a:solidFill>
                <a:latin typeface="Arial"/>
              </a:rPr>
              <a:t>2025: Spearhead the service-driven industry</a:t>
            </a:r>
          </a:p>
        </p:txBody>
      </p:sp>
      <p:sp>
        <p:nvSpPr>
          <p:cNvPr id="37" name="Rectangle 36"/>
          <p:cNvSpPr/>
          <p:nvPr/>
        </p:nvSpPr>
        <p:spPr>
          <a:xfrm>
            <a:off x="2058426" y="2605635"/>
            <a:ext cx="6253557" cy="1135788"/>
          </a:xfrm>
          <a:prstGeom prst="rect">
            <a:avLst/>
          </a:prstGeom>
          <a:solidFill>
            <a:srgbClr val="FFFFFF"/>
          </a:solidFill>
          <a:ln w="25400" cap="flat" cmpd="sng" algn="ctr">
            <a:solidFill>
              <a:srgbClr val="ACBED1">
                <a:shade val="50000"/>
              </a:srgbClr>
            </a:solidFill>
            <a:prstDash val="solid"/>
          </a:ln>
          <a:effectLst/>
        </p:spPr>
        <p:txBody>
          <a:bodyPr rtlCol="0" anchor="ctr"/>
          <a:lstStyle/>
          <a:p>
            <a:pPr>
              <a:defRPr/>
            </a:pPr>
            <a:r>
              <a:rPr lang="en-US" sz="1400" b="1" kern="0" dirty="0" smtClean="0">
                <a:solidFill>
                  <a:srgbClr val="000000"/>
                </a:solidFill>
                <a:latin typeface="Arial"/>
              </a:rPr>
              <a:t>2015: Pure-play digital influencers</a:t>
            </a:r>
          </a:p>
          <a:p>
            <a:pPr>
              <a:defRPr/>
            </a:pPr>
            <a:endParaRPr lang="en-US" sz="1400" b="1" kern="0" dirty="0">
              <a:solidFill>
                <a:srgbClr val="000000"/>
              </a:solidFill>
              <a:latin typeface="Arial"/>
            </a:endParaRPr>
          </a:p>
          <a:p>
            <a:pPr>
              <a:defRPr/>
            </a:pPr>
            <a:r>
              <a:rPr lang="en-US" sz="1400" b="1" kern="0" dirty="0" smtClean="0">
                <a:solidFill>
                  <a:srgbClr val="000000"/>
                </a:solidFill>
                <a:latin typeface="Arial"/>
              </a:rPr>
              <a:t>2025: Connected mobility enablers</a:t>
            </a:r>
          </a:p>
        </p:txBody>
      </p:sp>
      <p:sp>
        <p:nvSpPr>
          <p:cNvPr id="38" name="Rectangle 37"/>
          <p:cNvSpPr/>
          <p:nvPr/>
        </p:nvSpPr>
        <p:spPr>
          <a:xfrm>
            <a:off x="2053884" y="3933056"/>
            <a:ext cx="6261218" cy="943435"/>
          </a:xfrm>
          <a:prstGeom prst="rect">
            <a:avLst/>
          </a:prstGeom>
          <a:solidFill>
            <a:srgbClr val="FFFFFF"/>
          </a:solidFill>
          <a:ln w="25400" cap="flat" cmpd="sng" algn="ctr">
            <a:solidFill>
              <a:srgbClr val="ACBED1">
                <a:shade val="50000"/>
              </a:srgbClr>
            </a:solidFill>
            <a:prstDash val="solid"/>
          </a:ln>
          <a:effectLst/>
        </p:spPr>
        <p:txBody>
          <a:bodyPr rtlCol="0" anchor="ctr"/>
          <a:lstStyle/>
          <a:p>
            <a:pPr>
              <a:defRPr/>
            </a:pPr>
            <a:r>
              <a:rPr lang="en-US" sz="1400" b="1" kern="0" dirty="0" smtClean="0">
                <a:solidFill>
                  <a:srgbClr val="000000"/>
                </a:solidFill>
                <a:latin typeface="Arial"/>
              </a:rPr>
              <a:t>2015: Expanding product portfolio</a:t>
            </a:r>
          </a:p>
          <a:p>
            <a:pPr>
              <a:defRPr/>
            </a:pPr>
            <a:endParaRPr lang="en-US" sz="1400" b="1" kern="0" dirty="0" smtClean="0">
              <a:solidFill>
                <a:srgbClr val="000000"/>
              </a:solidFill>
              <a:latin typeface="Arial"/>
            </a:endParaRPr>
          </a:p>
          <a:p>
            <a:pPr>
              <a:defRPr/>
            </a:pPr>
            <a:r>
              <a:rPr lang="en-US" sz="1400" b="1" kern="0" dirty="0" smtClean="0">
                <a:solidFill>
                  <a:srgbClr val="000000"/>
                </a:solidFill>
                <a:latin typeface="Arial"/>
              </a:rPr>
              <a:t>2025: Digital innovation blended with electronic controls </a:t>
            </a:r>
          </a:p>
        </p:txBody>
      </p:sp>
      <p:sp>
        <p:nvSpPr>
          <p:cNvPr id="39" name="Rectangle 38"/>
          <p:cNvSpPr/>
          <p:nvPr/>
        </p:nvSpPr>
        <p:spPr>
          <a:xfrm>
            <a:off x="2058426" y="5033992"/>
            <a:ext cx="6253557" cy="932281"/>
          </a:xfrm>
          <a:prstGeom prst="rect">
            <a:avLst/>
          </a:prstGeom>
          <a:solidFill>
            <a:srgbClr val="FFFFFF"/>
          </a:solidFill>
          <a:ln w="25400" cap="flat" cmpd="sng" algn="ctr">
            <a:solidFill>
              <a:srgbClr val="ACBED1">
                <a:shade val="50000"/>
              </a:srgbClr>
            </a:solidFill>
            <a:prstDash val="solid"/>
          </a:ln>
          <a:effectLst/>
        </p:spPr>
        <p:txBody>
          <a:bodyPr rtlCol="0" anchor="ctr"/>
          <a:lstStyle/>
          <a:p>
            <a:pPr>
              <a:defRPr/>
            </a:pPr>
            <a:r>
              <a:rPr lang="en-US" sz="1400" b="1" kern="0" dirty="0" smtClean="0">
                <a:solidFill>
                  <a:srgbClr val="000000"/>
                </a:solidFill>
                <a:latin typeface="Arial"/>
              </a:rPr>
              <a:t>2015: Traditional power houses</a:t>
            </a:r>
            <a:endParaRPr lang="en-US" sz="1400" kern="0" dirty="0" smtClean="0">
              <a:solidFill>
                <a:srgbClr val="000000"/>
              </a:solidFill>
              <a:latin typeface="Arial"/>
            </a:endParaRPr>
          </a:p>
          <a:p>
            <a:pPr>
              <a:defRPr/>
            </a:pPr>
            <a:r>
              <a:rPr lang="en-US" sz="1400" kern="0" dirty="0" smtClean="0">
                <a:solidFill>
                  <a:srgbClr val="000000"/>
                </a:solidFill>
                <a:latin typeface="Arial"/>
              </a:rPr>
              <a:t>.</a:t>
            </a:r>
          </a:p>
          <a:p>
            <a:pPr>
              <a:defRPr/>
            </a:pPr>
            <a:r>
              <a:rPr lang="en-US" sz="1400" b="1" kern="0" dirty="0" smtClean="0">
                <a:solidFill>
                  <a:srgbClr val="000000"/>
                </a:solidFill>
                <a:latin typeface="Arial"/>
              </a:rPr>
              <a:t>2025: Hardware providers in a service industry</a:t>
            </a:r>
          </a:p>
        </p:txBody>
      </p:sp>
      <p:sp>
        <p:nvSpPr>
          <p:cNvPr id="40" name="Up Arrow 39"/>
          <p:cNvSpPr/>
          <p:nvPr/>
        </p:nvSpPr>
        <p:spPr>
          <a:xfrm rot="10800000">
            <a:off x="228599" y="1241872"/>
            <a:ext cx="523745" cy="4673768"/>
          </a:xfrm>
          <a:prstGeom prst="upArrow">
            <a:avLst/>
          </a:prstGeom>
          <a:gradFill>
            <a:gsLst>
              <a:gs pos="0">
                <a:srgbClr val="517496"/>
              </a:gs>
              <a:gs pos="50000">
                <a:srgbClr val="ACBED1">
                  <a:tint val="44500"/>
                  <a:satMod val="160000"/>
                </a:srgbClr>
              </a:gs>
              <a:gs pos="100000">
                <a:srgbClr val="ACBED1">
                  <a:tint val="23500"/>
                  <a:satMod val="160000"/>
                </a:srgbClr>
              </a:gs>
            </a:gsLst>
            <a:lin ang="5400000" scaled="0"/>
          </a:gradFill>
          <a:ln w="25400" cap="flat" cmpd="sng" algn="ctr">
            <a:noFill/>
            <a:prstDash val="solid"/>
          </a:ln>
          <a:effectLst/>
        </p:spPr>
        <p:txBody>
          <a:bodyPr vert="vert" rtlCol="0" anchor="ctr"/>
          <a:lstStyle/>
          <a:p>
            <a:pPr algn="ctr">
              <a:defRPr/>
            </a:pPr>
            <a:r>
              <a:rPr lang="en-US" sz="1600" b="1" kern="0" dirty="0" smtClean="0">
                <a:solidFill>
                  <a:srgbClr val="000000"/>
                </a:solidFill>
                <a:latin typeface="Arial"/>
              </a:rPr>
              <a:t>2015</a:t>
            </a:r>
          </a:p>
        </p:txBody>
      </p:sp>
      <p:pic>
        <p:nvPicPr>
          <p:cNvPr id="4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6030" y="5286173"/>
            <a:ext cx="639168" cy="29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5" descr="http://whitelightgrp.com/wp-content/uploads/AutoSystems-Icon.png"/>
          <p:cNvPicPr>
            <a:picLocks noChangeAspect="1" noChangeArrowheads="1"/>
          </p:cNvPicPr>
          <p:nvPr/>
        </p:nvPicPr>
        <p:blipFill>
          <a:blip r:embed="rId3" cstate="print">
            <a:duotone>
              <a:srgbClr val="51749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60550" y="4301685"/>
            <a:ext cx="664648" cy="445388"/>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43" name="Picture 7" descr="http://quesgen.com/wp-content/uploads/2011/08/data-security-ico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6028" y="2943627"/>
            <a:ext cx="639169" cy="61187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9" descr="http://jdc.ca/wp-content/uploads/2014/04/cloud-computing-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2225" y="1595605"/>
            <a:ext cx="795575" cy="60928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Straight Connector 44"/>
          <p:cNvCxnSpPr/>
          <p:nvPr/>
        </p:nvCxnSpPr>
        <p:spPr>
          <a:xfrm flipV="1">
            <a:off x="1524000" y="1241873"/>
            <a:ext cx="6900" cy="4724400"/>
          </a:xfrm>
          <a:prstGeom prst="line">
            <a:avLst/>
          </a:prstGeom>
          <a:noFill/>
          <a:ln w="28575" cap="flat" cmpd="sng" algn="ctr">
            <a:solidFill>
              <a:srgbClr val="ACBED1">
                <a:shade val="95000"/>
                <a:satMod val="105000"/>
              </a:srgbClr>
            </a:solidFill>
            <a:prstDash val="solid"/>
          </a:ln>
          <a:effectLst/>
        </p:spPr>
      </p:cxnSp>
      <p:sp>
        <p:nvSpPr>
          <p:cNvPr id="46" name="Rectangle 45"/>
          <p:cNvSpPr/>
          <p:nvPr/>
        </p:nvSpPr>
        <p:spPr>
          <a:xfrm>
            <a:off x="6242538" y="6248400"/>
            <a:ext cx="914400" cy="152400"/>
          </a:xfrm>
          <a:prstGeom prst="rect">
            <a:avLst/>
          </a:prstGeom>
          <a:gradFill flip="none" rotWithShape="1">
            <a:gsLst>
              <a:gs pos="0">
                <a:srgbClr val="06325C">
                  <a:lumMod val="10000"/>
                  <a:lumOff val="90000"/>
                </a:srgbClr>
              </a:gs>
              <a:gs pos="3335">
                <a:srgbClr val="FBFCFD"/>
              </a:gs>
              <a:gs pos="29000">
                <a:srgbClr val="ACBED1">
                  <a:tint val="44500"/>
                  <a:satMod val="160000"/>
                </a:srgbClr>
              </a:gs>
              <a:gs pos="100000">
                <a:srgbClr val="517496"/>
              </a:gs>
            </a:gsLst>
            <a:lin ang="0" scaled="1"/>
            <a:tileRect/>
          </a:gradFill>
          <a:ln w="25400" cap="flat" cmpd="sng" algn="ctr">
            <a:noFill/>
            <a:prstDash val="solid"/>
          </a:ln>
          <a:effectLst/>
        </p:spPr>
        <p:txBody>
          <a:bodyPr rtlCol="0" anchor="ctr"/>
          <a:lstStyle/>
          <a:p>
            <a:pPr algn="ctr">
              <a:defRPr/>
            </a:pPr>
            <a:endParaRPr lang="en-US" sz="1600" kern="0" dirty="0" smtClean="0">
              <a:solidFill>
                <a:srgbClr val="FFFFFF"/>
              </a:solidFill>
              <a:latin typeface="Arial"/>
            </a:endParaRPr>
          </a:p>
        </p:txBody>
      </p:sp>
      <p:sp>
        <p:nvSpPr>
          <p:cNvPr id="47" name="TextBox 46"/>
          <p:cNvSpPr txBox="1"/>
          <p:nvPr/>
        </p:nvSpPr>
        <p:spPr>
          <a:xfrm>
            <a:off x="5709138" y="6223084"/>
            <a:ext cx="533400" cy="253916"/>
          </a:xfrm>
          <a:prstGeom prst="rect">
            <a:avLst/>
          </a:prstGeom>
          <a:noFill/>
        </p:spPr>
        <p:txBody>
          <a:bodyPr wrap="square" rtlCol="0">
            <a:spAutoFit/>
          </a:bodyPr>
          <a:lstStyle/>
          <a:p>
            <a:r>
              <a:rPr lang="en-US" sz="1000" dirty="0" smtClean="0">
                <a:solidFill>
                  <a:srgbClr val="000000"/>
                </a:solidFill>
                <a:latin typeface="Arial"/>
              </a:rPr>
              <a:t>Low</a:t>
            </a:r>
            <a:endParaRPr lang="en-US" sz="1000" dirty="0">
              <a:solidFill>
                <a:srgbClr val="000000"/>
              </a:solidFill>
              <a:latin typeface="Arial"/>
            </a:endParaRPr>
          </a:p>
        </p:txBody>
      </p:sp>
      <p:sp>
        <p:nvSpPr>
          <p:cNvPr id="48" name="TextBox 47"/>
          <p:cNvSpPr txBox="1"/>
          <p:nvPr/>
        </p:nvSpPr>
        <p:spPr>
          <a:xfrm>
            <a:off x="7162800" y="6197768"/>
            <a:ext cx="533400" cy="253916"/>
          </a:xfrm>
          <a:prstGeom prst="rect">
            <a:avLst/>
          </a:prstGeom>
          <a:noFill/>
        </p:spPr>
        <p:txBody>
          <a:bodyPr wrap="square" rtlCol="0">
            <a:spAutoFit/>
          </a:bodyPr>
          <a:lstStyle/>
          <a:p>
            <a:r>
              <a:rPr lang="en-US" sz="1000" dirty="0" smtClean="0">
                <a:solidFill>
                  <a:srgbClr val="000000"/>
                </a:solidFill>
                <a:latin typeface="Arial"/>
              </a:rPr>
              <a:t>High</a:t>
            </a:r>
            <a:endParaRPr lang="en-US" sz="1000" dirty="0">
              <a:solidFill>
                <a:srgbClr val="000000"/>
              </a:solidFill>
              <a:latin typeface="Arial"/>
            </a:endParaRPr>
          </a:p>
        </p:txBody>
      </p:sp>
      <p:sp>
        <p:nvSpPr>
          <p:cNvPr id="49" name="TextBox 48"/>
          <p:cNvSpPr txBox="1"/>
          <p:nvPr/>
        </p:nvSpPr>
        <p:spPr>
          <a:xfrm>
            <a:off x="2662164" y="6200001"/>
            <a:ext cx="3046286" cy="261610"/>
          </a:xfrm>
          <a:prstGeom prst="rect">
            <a:avLst/>
          </a:prstGeom>
          <a:noFill/>
        </p:spPr>
        <p:txBody>
          <a:bodyPr wrap="square" rtlCol="0">
            <a:spAutoFit/>
          </a:bodyPr>
          <a:lstStyle/>
          <a:p>
            <a:pPr algn="r"/>
            <a:r>
              <a:rPr lang="en-US" sz="1100" dirty="0" smtClean="0">
                <a:solidFill>
                  <a:srgbClr val="000000"/>
                </a:solidFill>
                <a:latin typeface="Arial"/>
              </a:rPr>
              <a:t>Key segments influencing the market</a:t>
            </a:r>
            <a:endParaRPr lang="en-US" sz="1100" dirty="0">
              <a:solidFill>
                <a:srgbClr val="000000"/>
              </a:solidFill>
              <a:latin typeface="Arial"/>
            </a:endParaRPr>
          </a:p>
        </p:txBody>
      </p:sp>
      <p:sp>
        <p:nvSpPr>
          <p:cNvPr id="50" name="TextBox 49"/>
          <p:cNvSpPr txBox="1"/>
          <p:nvPr/>
        </p:nvSpPr>
        <p:spPr>
          <a:xfrm>
            <a:off x="1524000" y="1412776"/>
            <a:ext cx="553998" cy="1034224"/>
          </a:xfrm>
          <a:prstGeom prst="rect">
            <a:avLst/>
          </a:prstGeom>
          <a:noFill/>
        </p:spPr>
        <p:txBody>
          <a:bodyPr vert="vert270" wrap="square" rtlCol="0">
            <a:spAutoFit/>
          </a:bodyPr>
          <a:lstStyle/>
          <a:p>
            <a:pPr algn="ctr"/>
            <a:r>
              <a:rPr lang="en-US" sz="1200" b="1" dirty="0" smtClean="0">
                <a:solidFill>
                  <a:srgbClr val="000000"/>
                </a:solidFill>
                <a:latin typeface="Arial"/>
              </a:rPr>
              <a:t>Mobility Integrators</a:t>
            </a:r>
            <a:endParaRPr lang="en-US" sz="1200" b="1" dirty="0">
              <a:solidFill>
                <a:srgbClr val="000000"/>
              </a:solidFill>
              <a:latin typeface="Arial"/>
            </a:endParaRPr>
          </a:p>
        </p:txBody>
      </p:sp>
      <p:sp>
        <p:nvSpPr>
          <p:cNvPr id="51" name="TextBox 50"/>
          <p:cNvSpPr txBox="1"/>
          <p:nvPr/>
        </p:nvSpPr>
        <p:spPr>
          <a:xfrm>
            <a:off x="1549569" y="2673680"/>
            <a:ext cx="553998" cy="1034224"/>
          </a:xfrm>
          <a:prstGeom prst="rect">
            <a:avLst/>
          </a:prstGeom>
          <a:noFill/>
        </p:spPr>
        <p:txBody>
          <a:bodyPr vert="vert270" wrap="square" rtlCol="0">
            <a:spAutoFit/>
          </a:bodyPr>
          <a:lstStyle/>
          <a:p>
            <a:pPr algn="ctr"/>
            <a:r>
              <a:rPr lang="en-US" sz="1200" b="1" dirty="0" smtClean="0">
                <a:solidFill>
                  <a:srgbClr val="000000"/>
                </a:solidFill>
                <a:latin typeface="Arial"/>
              </a:rPr>
              <a:t>Connectivity Providers</a:t>
            </a:r>
            <a:endParaRPr lang="en-US" sz="1200" b="1" dirty="0">
              <a:solidFill>
                <a:srgbClr val="000000"/>
              </a:solidFill>
              <a:latin typeface="Arial"/>
            </a:endParaRPr>
          </a:p>
        </p:txBody>
      </p:sp>
      <p:sp>
        <p:nvSpPr>
          <p:cNvPr id="52" name="TextBox 51"/>
          <p:cNvSpPr txBox="1"/>
          <p:nvPr/>
        </p:nvSpPr>
        <p:spPr>
          <a:xfrm>
            <a:off x="1524000" y="3941838"/>
            <a:ext cx="369332" cy="899937"/>
          </a:xfrm>
          <a:prstGeom prst="rect">
            <a:avLst/>
          </a:prstGeom>
          <a:noFill/>
        </p:spPr>
        <p:txBody>
          <a:bodyPr vert="vert270" wrap="square" rtlCol="0">
            <a:spAutoFit/>
          </a:bodyPr>
          <a:lstStyle/>
          <a:p>
            <a:pPr algn="ctr"/>
            <a:r>
              <a:rPr lang="en-US" sz="1200" b="1" dirty="0" smtClean="0">
                <a:solidFill>
                  <a:srgbClr val="000000"/>
                </a:solidFill>
                <a:latin typeface="Arial"/>
              </a:rPr>
              <a:t>Suppliers</a:t>
            </a:r>
            <a:endParaRPr lang="en-US" sz="1200" b="1" dirty="0">
              <a:solidFill>
                <a:srgbClr val="000000"/>
              </a:solidFill>
              <a:latin typeface="Arial"/>
            </a:endParaRPr>
          </a:p>
        </p:txBody>
      </p:sp>
      <p:sp>
        <p:nvSpPr>
          <p:cNvPr id="53" name="TextBox 52"/>
          <p:cNvSpPr txBox="1"/>
          <p:nvPr/>
        </p:nvSpPr>
        <p:spPr>
          <a:xfrm>
            <a:off x="1524000" y="5053653"/>
            <a:ext cx="369332" cy="880044"/>
          </a:xfrm>
          <a:prstGeom prst="rect">
            <a:avLst/>
          </a:prstGeom>
          <a:noFill/>
        </p:spPr>
        <p:txBody>
          <a:bodyPr vert="vert270" wrap="square" rtlCol="0">
            <a:spAutoFit/>
          </a:bodyPr>
          <a:lstStyle/>
          <a:p>
            <a:pPr algn="ctr"/>
            <a:r>
              <a:rPr lang="en-US" sz="1200" b="1" dirty="0" smtClean="0">
                <a:solidFill>
                  <a:srgbClr val="000000"/>
                </a:solidFill>
                <a:latin typeface="Arial"/>
              </a:rPr>
              <a:t>OEMs</a:t>
            </a:r>
            <a:endParaRPr lang="en-US" sz="1200" b="1" dirty="0">
              <a:solidFill>
                <a:srgbClr val="000000"/>
              </a:solidFill>
              <a:latin typeface="Arial"/>
            </a:endParaRPr>
          </a:p>
        </p:txBody>
      </p:sp>
      <p:sp>
        <p:nvSpPr>
          <p:cNvPr id="55" name="Rectangle 2"/>
          <p:cNvSpPr txBox="1">
            <a:spLocks noChangeArrowheads="1"/>
          </p:cNvSpPr>
          <p:nvPr/>
        </p:nvSpPr>
        <p:spPr bwMode="auto">
          <a:xfrm>
            <a:off x="395536" y="174992"/>
            <a:ext cx="842493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lvl1pPr algn="l" rtl="0" eaLnBrk="0" fontAlgn="base" hangingPunct="0">
              <a:spcBef>
                <a:spcPct val="0"/>
              </a:spcBef>
              <a:spcAft>
                <a:spcPct val="0"/>
              </a:spcAft>
              <a:defRPr sz="2000" b="1" baseline="0">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GB" dirty="0">
                <a:latin typeface="Arial" pitchFamily="34" charset="0"/>
                <a:cs typeface="Arial" pitchFamily="34" charset="0"/>
              </a:rPr>
              <a:t>Mobility </a:t>
            </a:r>
            <a:r>
              <a:rPr lang="en-GB" dirty="0" smtClean="0">
                <a:latin typeface="Arial" pitchFamily="34" charset="0"/>
                <a:cs typeface="Arial" pitchFamily="34" charset="0"/>
              </a:rPr>
              <a:t>Ecosystem</a:t>
            </a:r>
            <a:r>
              <a:rPr lang="en-GB" dirty="0">
                <a:latin typeface="Arial" pitchFamily="34" charset="0"/>
                <a:cs typeface="Arial" pitchFamily="34" charset="0"/>
                <a:sym typeface="Wingdings" panose="05000000000000000000" pitchFamily="2" charset="2"/>
              </a:rPr>
              <a:t> </a:t>
            </a:r>
            <a:r>
              <a:rPr lang="en-GB" dirty="0" smtClean="0">
                <a:latin typeface="Arial" pitchFamily="34" charset="0"/>
                <a:cs typeface="Arial" pitchFamily="34" charset="0"/>
                <a:sym typeface="Wingdings" panose="05000000000000000000" pitchFamily="2" charset="2"/>
              </a:rPr>
              <a:t>Will Remain </a:t>
            </a:r>
            <a:r>
              <a:rPr lang="en-GB" dirty="0" smtClean="0">
                <a:latin typeface="Arial" pitchFamily="34" charset="0"/>
                <a:cs typeface="Arial" pitchFamily="34" charset="0"/>
              </a:rPr>
              <a:t>Hybrid Value Chain for Next 5 Years</a:t>
            </a:r>
            <a:r>
              <a:rPr lang="en-US" kern="0" dirty="0" smtClean="0">
                <a:solidFill>
                  <a:srgbClr val="06325C"/>
                </a:solidFill>
                <a:latin typeface="Arial"/>
              </a:rPr>
              <a:t/>
            </a:r>
            <a:br>
              <a:rPr lang="en-US" kern="0" dirty="0" smtClean="0">
                <a:solidFill>
                  <a:srgbClr val="06325C"/>
                </a:solidFill>
                <a:latin typeface="Arial"/>
              </a:rPr>
            </a:br>
            <a:r>
              <a:rPr lang="en-US" sz="1400" b="0" dirty="0">
                <a:solidFill>
                  <a:srgbClr val="06325C"/>
                </a:solidFill>
                <a:latin typeface="Arial"/>
              </a:rPr>
              <a:t>Coexisting with the traditional ecosystem, a smartphone-like ecosystem may evolve in the automotive industry, which is strongly based on a user-interface oriented, service-driven business model.</a:t>
            </a:r>
            <a:endParaRPr lang="en-GB" sz="1400" b="0" dirty="0">
              <a:solidFill>
                <a:srgbClr val="06325C"/>
              </a:solidFill>
              <a:latin typeface="Arial"/>
            </a:endParaRPr>
          </a:p>
        </p:txBody>
      </p:sp>
      <p:sp>
        <p:nvSpPr>
          <p:cNvPr id="56" name="Text Box 80"/>
          <p:cNvSpPr txBox="1">
            <a:spLocks noChangeArrowheads="1"/>
          </p:cNvSpPr>
          <p:nvPr/>
        </p:nvSpPr>
        <p:spPr bwMode="auto">
          <a:xfrm>
            <a:off x="5257800" y="6204858"/>
            <a:ext cx="3657600" cy="230832"/>
          </a:xfrm>
          <a:prstGeom prst="rect">
            <a:avLst/>
          </a:prstGeom>
          <a:noFill/>
          <a:ln w="9525">
            <a:noFill/>
            <a:miter lim="800000"/>
            <a:headEnd/>
            <a:tailEnd/>
          </a:ln>
        </p:spPr>
        <p:txBody>
          <a:bodyPr wrap="square" lIns="0" rIns="0">
            <a:spAutoFit/>
          </a:bodyPr>
          <a:lstStyle/>
          <a:p>
            <a:pPr algn="r" fontAlgn="base">
              <a:spcBef>
                <a:spcPct val="0"/>
              </a:spcBef>
              <a:spcAft>
                <a:spcPct val="0"/>
              </a:spcAft>
            </a:pPr>
            <a:r>
              <a:rPr lang="en-US" sz="900" dirty="0">
                <a:solidFill>
                  <a:srgbClr val="517496"/>
                </a:solidFill>
                <a:latin typeface="Arial"/>
              </a:rPr>
              <a:t>Source: Frost &amp; </a:t>
            </a:r>
            <a:r>
              <a:rPr lang="en-US" sz="900" dirty="0" smtClean="0">
                <a:solidFill>
                  <a:srgbClr val="517496"/>
                </a:solidFill>
                <a:latin typeface="Arial"/>
              </a:rPr>
              <a:t>Sullivan </a:t>
            </a:r>
            <a:endParaRPr lang="en-US" sz="900" dirty="0">
              <a:solidFill>
                <a:srgbClr val="517496"/>
              </a:solidFill>
              <a:latin typeface="Arial"/>
            </a:endParaRPr>
          </a:p>
        </p:txBody>
      </p:sp>
    </p:spTree>
    <p:extLst>
      <p:ext uri="{BB962C8B-B14F-4D97-AF65-F5344CB8AC3E}">
        <p14:creationId xmlns:p14="http://schemas.microsoft.com/office/powerpoint/2010/main" val="13971588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64368" y="1555336"/>
            <a:ext cx="2819400" cy="1905000"/>
          </a:xfrm>
          <a:prstGeom prst="rect">
            <a:avLst/>
          </a:prstGeom>
          <a:solidFill>
            <a:schemeClr val="bg2"/>
          </a:solidFill>
          <a:ln w="3175">
            <a:solidFill>
              <a:srgbClr val="ACBE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Rectangle 6"/>
          <p:cNvSpPr/>
          <p:nvPr/>
        </p:nvSpPr>
        <p:spPr>
          <a:xfrm>
            <a:off x="4648200" y="1559347"/>
            <a:ext cx="2819400" cy="1905000"/>
          </a:xfrm>
          <a:prstGeom prst="rect">
            <a:avLst/>
          </a:prstGeom>
          <a:solidFill>
            <a:schemeClr val="accent1">
              <a:lumMod val="20000"/>
              <a:lumOff val="80000"/>
            </a:schemeClr>
          </a:solidFill>
          <a:ln w="3175">
            <a:solidFill>
              <a:srgbClr val="ACBE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Rectangle 7"/>
          <p:cNvSpPr/>
          <p:nvPr/>
        </p:nvSpPr>
        <p:spPr>
          <a:xfrm>
            <a:off x="1664368" y="3612736"/>
            <a:ext cx="2819400" cy="1905000"/>
          </a:xfrm>
          <a:prstGeom prst="rect">
            <a:avLst/>
          </a:prstGeom>
          <a:solidFill>
            <a:schemeClr val="bg2">
              <a:lumMod val="75000"/>
            </a:schemeClr>
          </a:solidFill>
          <a:ln w="3175">
            <a:solidFill>
              <a:srgbClr val="ACBE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Rectangle 8"/>
          <p:cNvSpPr/>
          <p:nvPr/>
        </p:nvSpPr>
        <p:spPr>
          <a:xfrm>
            <a:off x="4648200" y="3616747"/>
            <a:ext cx="2819400" cy="1905000"/>
          </a:xfrm>
          <a:prstGeom prst="rect">
            <a:avLst/>
          </a:prstGeom>
          <a:solidFill>
            <a:schemeClr val="accent2">
              <a:lumMod val="40000"/>
              <a:lumOff val="60000"/>
            </a:schemeClr>
          </a:solidFill>
          <a:ln w="3175">
            <a:solidFill>
              <a:srgbClr val="ACBED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0" name="Straight Arrow Connector 9"/>
          <p:cNvCxnSpPr/>
          <p:nvPr/>
        </p:nvCxnSpPr>
        <p:spPr>
          <a:xfrm flipV="1">
            <a:off x="1066800" y="1250536"/>
            <a:ext cx="0" cy="4419600"/>
          </a:xfrm>
          <a:prstGeom prst="straightConnector1">
            <a:avLst/>
          </a:prstGeom>
          <a:ln w="38100">
            <a:solidFill>
              <a:srgbClr val="ACBED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066800" y="5670136"/>
            <a:ext cx="6858000" cy="0"/>
          </a:xfrm>
          <a:prstGeom prst="straightConnector1">
            <a:avLst/>
          </a:prstGeom>
          <a:ln w="38100">
            <a:solidFill>
              <a:srgbClr val="ACBED1"/>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16200000">
            <a:off x="391056" y="4380569"/>
            <a:ext cx="889987" cy="369332"/>
          </a:xfrm>
          <a:prstGeom prst="rect">
            <a:avLst/>
          </a:prstGeom>
          <a:noFill/>
        </p:spPr>
        <p:txBody>
          <a:bodyPr wrap="none" rtlCol="0">
            <a:spAutoFit/>
          </a:bodyPr>
          <a:lstStyle/>
          <a:p>
            <a:r>
              <a:rPr lang="en-US" i="1" dirty="0" smtClean="0">
                <a:solidFill>
                  <a:srgbClr val="000000"/>
                </a:solidFill>
              </a:rPr>
              <a:t>Known</a:t>
            </a:r>
            <a:endParaRPr lang="en-US" i="1" dirty="0">
              <a:solidFill>
                <a:srgbClr val="000000"/>
              </a:solidFill>
            </a:endParaRPr>
          </a:p>
        </p:txBody>
      </p:sp>
      <p:sp>
        <p:nvSpPr>
          <p:cNvPr id="13" name="TextBox 12"/>
          <p:cNvSpPr txBox="1"/>
          <p:nvPr/>
        </p:nvSpPr>
        <p:spPr>
          <a:xfrm rot="16200000">
            <a:off x="254432" y="2501463"/>
            <a:ext cx="1146468" cy="369332"/>
          </a:xfrm>
          <a:prstGeom prst="rect">
            <a:avLst/>
          </a:prstGeom>
          <a:noFill/>
        </p:spPr>
        <p:txBody>
          <a:bodyPr wrap="none" rtlCol="0">
            <a:spAutoFit/>
          </a:bodyPr>
          <a:lstStyle/>
          <a:p>
            <a:r>
              <a:rPr lang="en-US" i="1" dirty="0" smtClean="0">
                <a:solidFill>
                  <a:srgbClr val="000000"/>
                </a:solidFill>
              </a:rPr>
              <a:t>Unknown</a:t>
            </a:r>
            <a:endParaRPr lang="en-US" i="1" dirty="0">
              <a:solidFill>
                <a:srgbClr val="000000"/>
              </a:solidFill>
            </a:endParaRPr>
          </a:p>
        </p:txBody>
      </p:sp>
      <p:sp>
        <p:nvSpPr>
          <p:cNvPr id="14" name="TextBox 13"/>
          <p:cNvSpPr txBox="1"/>
          <p:nvPr/>
        </p:nvSpPr>
        <p:spPr>
          <a:xfrm rot="16200000">
            <a:off x="-534963" y="3159636"/>
            <a:ext cx="1980029" cy="369332"/>
          </a:xfrm>
          <a:prstGeom prst="rect">
            <a:avLst/>
          </a:prstGeom>
          <a:noFill/>
        </p:spPr>
        <p:txBody>
          <a:bodyPr wrap="none" rtlCol="0">
            <a:spAutoFit/>
          </a:bodyPr>
          <a:lstStyle/>
          <a:p>
            <a:r>
              <a:rPr lang="en-US" b="1" dirty="0" smtClean="0">
                <a:solidFill>
                  <a:srgbClr val="000000"/>
                </a:solidFill>
              </a:rPr>
              <a:t>Needs/Demands</a:t>
            </a:r>
            <a:endParaRPr lang="en-US" b="1" dirty="0">
              <a:solidFill>
                <a:srgbClr val="000000"/>
              </a:solidFill>
            </a:endParaRPr>
          </a:p>
        </p:txBody>
      </p:sp>
      <p:sp>
        <p:nvSpPr>
          <p:cNvPr id="15" name="TextBox 14"/>
          <p:cNvSpPr txBox="1"/>
          <p:nvPr/>
        </p:nvSpPr>
        <p:spPr>
          <a:xfrm>
            <a:off x="2629074" y="5698210"/>
            <a:ext cx="1390124" cy="369332"/>
          </a:xfrm>
          <a:prstGeom prst="rect">
            <a:avLst/>
          </a:prstGeom>
          <a:noFill/>
        </p:spPr>
        <p:txBody>
          <a:bodyPr wrap="none" rtlCol="0">
            <a:spAutoFit/>
          </a:bodyPr>
          <a:lstStyle/>
          <a:p>
            <a:r>
              <a:rPr lang="en-US" i="1" smtClean="0">
                <a:solidFill>
                  <a:srgbClr val="000000"/>
                </a:solidFill>
              </a:rPr>
              <a:t>Incremental</a:t>
            </a:r>
            <a:endParaRPr lang="en-US" i="1" dirty="0">
              <a:solidFill>
                <a:srgbClr val="000000"/>
              </a:solidFill>
            </a:endParaRPr>
          </a:p>
        </p:txBody>
      </p:sp>
      <p:sp>
        <p:nvSpPr>
          <p:cNvPr id="16" name="TextBox 15"/>
          <p:cNvSpPr txBox="1"/>
          <p:nvPr/>
        </p:nvSpPr>
        <p:spPr>
          <a:xfrm>
            <a:off x="5626418" y="5669690"/>
            <a:ext cx="954107" cy="369332"/>
          </a:xfrm>
          <a:prstGeom prst="rect">
            <a:avLst/>
          </a:prstGeom>
          <a:noFill/>
        </p:spPr>
        <p:txBody>
          <a:bodyPr wrap="none" rtlCol="0">
            <a:spAutoFit/>
          </a:bodyPr>
          <a:lstStyle/>
          <a:p>
            <a:r>
              <a:rPr lang="en-US" i="1" dirty="0" smtClean="0">
                <a:solidFill>
                  <a:srgbClr val="000000"/>
                </a:solidFill>
              </a:rPr>
              <a:t>Radical</a:t>
            </a:r>
            <a:endParaRPr lang="en-US" i="1" dirty="0">
              <a:solidFill>
                <a:srgbClr val="000000"/>
              </a:solidFill>
            </a:endParaRPr>
          </a:p>
        </p:txBody>
      </p:sp>
      <p:sp>
        <p:nvSpPr>
          <p:cNvPr id="17" name="TextBox 16"/>
          <p:cNvSpPr txBox="1"/>
          <p:nvPr/>
        </p:nvSpPr>
        <p:spPr>
          <a:xfrm>
            <a:off x="3962400" y="5974936"/>
            <a:ext cx="1351652" cy="369332"/>
          </a:xfrm>
          <a:prstGeom prst="rect">
            <a:avLst/>
          </a:prstGeom>
          <a:noFill/>
        </p:spPr>
        <p:txBody>
          <a:bodyPr wrap="none" rtlCol="0">
            <a:spAutoFit/>
          </a:bodyPr>
          <a:lstStyle/>
          <a:p>
            <a:r>
              <a:rPr lang="en-US" b="1" dirty="0" smtClean="0">
                <a:solidFill>
                  <a:srgbClr val="000000"/>
                </a:solidFill>
              </a:rPr>
              <a:t>Innovation</a:t>
            </a:r>
            <a:endParaRPr lang="en-US" b="1" dirty="0">
              <a:solidFill>
                <a:srgbClr val="000000"/>
              </a:solidFill>
            </a:endParaRPr>
          </a:p>
        </p:txBody>
      </p:sp>
      <p:sp>
        <p:nvSpPr>
          <p:cNvPr id="20" name="Text Box 80"/>
          <p:cNvSpPr txBox="1">
            <a:spLocks noChangeArrowheads="1"/>
          </p:cNvSpPr>
          <p:nvPr/>
        </p:nvSpPr>
        <p:spPr bwMode="auto">
          <a:xfrm>
            <a:off x="6811296" y="6172428"/>
            <a:ext cx="2133600" cy="230832"/>
          </a:xfrm>
          <a:prstGeom prst="rect">
            <a:avLst/>
          </a:prstGeom>
          <a:noFill/>
          <a:ln w="9525">
            <a:noFill/>
            <a:miter lim="800000"/>
            <a:headEnd/>
            <a:tailEnd/>
          </a:ln>
        </p:spPr>
        <p:txBody>
          <a:bodyPr wrap="square" lIns="0" rIns="0">
            <a:spAutoFit/>
          </a:bodyPr>
          <a:lstStyle/>
          <a:p>
            <a:pPr algn="r" fontAlgn="base">
              <a:spcBef>
                <a:spcPct val="0"/>
              </a:spcBef>
              <a:spcAft>
                <a:spcPct val="0"/>
              </a:spcAft>
            </a:pPr>
            <a:r>
              <a:rPr lang="en-US" sz="900" dirty="0">
                <a:solidFill>
                  <a:srgbClr val="517496"/>
                </a:solidFill>
              </a:rPr>
              <a:t>Source: Frost &amp; Sullivan</a:t>
            </a:r>
          </a:p>
        </p:txBody>
      </p:sp>
      <p:sp>
        <p:nvSpPr>
          <p:cNvPr id="24" name="TextBox 23"/>
          <p:cNvSpPr txBox="1"/>
          <p:nvPr/>
        </p:nvSpPr>
        <p:spPr>
          <a:xfrm>
            <a:off x="2166886" y="4754724"/>
            <a:ext cx="2877711" cy="307777"/>
          </a:xfrm>
          <a:prstGeom prst="rect">
            <a:avLst/>
          </a:prstGeom>
          <a:solidFill>
            <a:schemeClr val="bg1"/>
          </a:solidFill>
          <a:effectLst>
            <a:outerShdw blurRad="50800" dist="38100" dir="2700000" algn="tl" rotWithShape="0">
              <a:prstClr val="black">
                <a:alpha val="40000"/>
              </a:prstClr>
            </a:outerShdw>
          </a:effectLst>
        </p:spPr>
        <p:txBody>
          <a:bodyPr wrap="none" rtlCol="0">
            <a:spAutoFit/>
          </a:bodyPr>
          <a:lstStyle/>
          <a:p>
            <a:r>
              <a:rPr lang="en-US" sz="1400" b="1" i="1" dirty="0" smtClean="0">
                <a:solidFill>
                  <a:srgbClr val="000000"/>
                </a:solidFill>
              </a:rPr>
              <a:t>Conventional automotive OEMs</a:t>
            </a:r>
            <a:endParaRPr lang="en-US" sz="1400" b="1" i="1" dirty="0">
              <a:solidFill>
                <a:srgbClr val="000000"/>
              </a:solidFill>
            </a:endParaRPr>
          </a:p>
        </p:txBody>
      </p:sp>
      <p:sp>
        <p:nvSpPr>
          <p:cNvPr id="29" name="Freeform 28"/>
          <p:cNvSpPr/>
          <p:nvPr/>
        </p:nvSpPr>
        <p:spPr>
          <a:xfrm>
            <a:off x="4131731" y="2000868"/>
            <a:ext cx="2167467" cy="660400"/>
          </a:xfrm>
          <a:custGeom>
            <a:avLst/>
            <a:gdLst>
              <a:gd name="connsiteX0" fmla="*/ 0 w 2167467"/>
              <a:gd name="connsiteY0" fmla="*/ 660400 h 660400"/>
              <a:gd name="connsiteX1" fmla="*/ 457200 w 2167467"/>
              <a:gd name="connsiteY1" fmla="*/ 169334 h 660400"/>
              <a:gd name="connsiteX2" fmla="*/ 2167467 w 2167467"/>
              <a:gd name="connsiteY2" fmla="*/ 0 h 660400"/>
            </a:gdLst>
            <a:ahLst/>
            <a:cxnLst>
              <a:cxn ang="0">
                <a:pos x="connsiteX0" y="connsiteY0"/>
              </a:cxn>
              <a:cxn ang="0">
                <a:pos x="connsiteX1" y="connsiteY1"/>
              </a:cxn>
              <a:cxn ang="0">
                <a:pos x="connsiteX2" y="connsiteY2"/>
              </a:cxn>
            </a:cxnLst>
            <a:rect l="l" t="t" r="r" b="b"/>
            <a:pathLst>
              <a:path w="2167467" h="660400">
                <a:moveTo>
                  <a:pt x="0" y="660400"/>
                </a:moveTo>
                <a:cubicBezTo>
                  <a:pt x="47978" y="469900"/>
                  <a:pt x="95956" y="279401"/>
                  <a:pt x="457200" y="169334"/>
                </a:cubicBezTo>
                <a:cubicBezTo>
                  <a:pt x="818445" y="59267"/>
                  <a:pt x="1492956" y="29633"/>
                  <a:pt x="2167467" y="0"/>
                </a:cubicBezTo>
              </a:path>
            </a:pathLst>
          </a:custGeom>
          <a:noFill/>
          <a:ln w="3175">
            <a:prstDash val="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Freeform 29"/>
          <p:cNvSpPr/>
          <p:nvPr/>
        </p:nvSpPr>
        <p:spPr>
          <a:xfrm rot="14380241" flipV="1">
            <a:off x="6818174" y="2956431"/>
            <a:ext cx="1202999" cy="285157"/>
          </a:xfrm>
          <a:custGeom>
            <a:avLst/>
            <a:gdLst>
              <a:gd name="connsiteX0" fmla="*/ 0 w 2167467"/>
              <a:gd name="connsiteY0" fmla="*/ 660400 h 660400"/>
              <a:gd name="connsiteX1" fmla="*/ 457200 w 2167467"/>
              <a:gd name="connsiteY1" fmla="*/ 169334 h 660400"/>
              <a:gd name="connsiteX2" fmla="*/ 2167467 w 2167467"/>
              <a:gd name="connsiteY2" fmla="*/ 0 h 660400"/>
            </a:gdLst>
            <a:ahLst/>
            <a:cxnLst>
              <a:cxn ang="0">
                <a:pos x="connsiteX0" y="connsiteY0"/>
              </a:cxn>
              <a:cxn ang="0">
                <a:pos x="connsiteX1" y="connsiteY1"/>
              </a:cxn>
              <a:cxn ang="0">
                <a:pos x="connsiteX2" y="connsiteY2"/>
              </a:cxn>
            </a:cxnLst>
            <a:rect l="l" t="t" r="r" b="b"/>
            <a:pathLst>
              <a:path w="2167467" h="660400">
                <a:moveTo>
                  <a:pt x="0" y="660400"/>
                </a:moveTo>
                <a:cubicBezTo>
                  <a:pt x="47978" y="469900"/>
                  <a:pt x="95956" y="279401"/>
                  <a:pt x="457200" y="169334"/>
                </a:cubicBezTo>
                <a:cubicBezTo>
                  <a:pt x="818445" y="59267"/>
                  <a:pt x="1492956" y="29633"/>
                  <a:pt x="2167467" y="0"/>
                </a:cubicBezTo>
              </a:path>
            </a:pathLst>
          </a:custGeom>
          <a:noFill/>
          <a:ln w="3175">
            <a:solidFill>
              <a:schemeClr val="bg1">
                <a:lumMod val="50000"/>
              </a:schemeClr>
            </a:solidFill>
            <a:prstDash val="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1" name="TextBox 30"/>
          <p:cNvSpPr txBox="1"/>
          <p:nvPr/>
        </p:nvSpPr>
        <p:spPr>
          <a:xfrm>
            <a:off x="7669163" y="1371094"/>
            <a:ext cx="1155289" cy="1754326"/>
          </a:xfrm>
          <a:prstGeom prst="rect">
            <a:avLst/>
          </a:prstGeom>
          <a:noFill/>
        </p:spPr>
        <p:txBody>
          <a:bodyPr wrap="square" rtlCol="0">
            <a:spAutoFit/>
          </a:bodyPr>
          <a:lstStyle/>
          <a:p>
            <a:r>
              <a:rPr lang="en-US" sz="1200" i="1" dirty="0" smtClean="0">
                <a:solidFill>
                  <a:srgbClr val="000000"/>
                </a:solidFill>
              </a:rPr>
              <a:t>Possibly use open patents available as a platform to reduce cost and time involved to re-invent the wheel.</a:t>
            </a:r>
          </a:p>
        </p:txBody>
      </p:sp>
      <p:sp>
        <p:nvSpPr>
          <p:cNvPr id="34" name="Freeform 33"/>
          <p:cNvSpPr/>
          <p:nvPr/>
        </p:nvSpPr>
        <p:spPr>
          <a:xfrm rot="6690432" flipH="1">
            <a:off x="5516050" y="2381659"/>
            <a:ext cx="1257729" cy="814345"/>
          </a:xfrm>
          <a:custGeom>
            <a:avLst/>
            <a:gdLst>
              <a:gd name="connsiteX0" fmla="*/ 0 w 2167467"/>
              <a:gd name="connsiteY0" fmla="*/ 660400 h 660400"/>
              <a:gd name="connsiteX1" fmla="*/ 457200 w 2167467"/>
              <a:gd name="connsiteY1" fmla="*/ 169334 h 660400"/>
              <a:gd name="connsiteX2" fmla="*/ 2167467 w 2167467"/>
              <a:gd name="connsiteY2" fmla="*/ 0 h 660400"/>
            </a:gdLst>
            <a:ahLst/>
            <a:cxnLst>
              <a:cxn ang="0">
                <a:pos x="connsiteX0" y="connsiteY0"/>
              </a:cxn>
              <a:cxn ang="0">
                <a:pos x="connsiteX1" y="connsiteY1"/>
              </a:cxn>
              <a:cxn ang="0">
                <a:pos x="connsiteX2" y="connsiteY2"/>
              </a:cxn>
            </a:cxnLst>
            <a:rect l="l" t="t" r="r" b="b"/>
            <a:pathLst>
              <a:path w="2167467" h="660400">
                <a:moveTo>
                  <a:pt x="0" y="660400"/>
                </a:moveTo>
                <a:cubicBezTo>
                  <a:pt x="47978" y="469900"/>
                  <a:pt x="95956" y="279401"/>
                  <a:pt x="457200" y="169334"/>
                </a:cubicBezTo>
                <a:cubicBezTo>
                  <a:pt x="818445" y="59267"/>
                  <a:pt x="1492956" y="29633"/>
                  <a:pt x="2167467" y="0"/>
                </a:cubicBezTo>
              </a:path>
            </a:pathLst>
          </a:custGeom>
          <a:noFill/>
          <a:ln w="3175">
            <a:solidFill>
              <a:schemeClr val="bg1">
                <a:lumMod val="50000"/>
              </a:schemeClr>
            </a:solidFill>
            <a:prstDash val="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1" name="Freeform 40"/>
          <p:cNvSpPr/>
          <p:nvPr/>
        </p:nvSpPr>
        <p:spPr>
          <a:xfrm rot="14380241" flipV="1">
            <a:off x="6885311" y="2966786"/>
            <a:ext cx="1223686" cy="647424"/>
          </a:xfrm>
          <a:custGeom>
            <a:avLst/>
            <a:gdLst>
              <a:gd name="connsiteX0" fmla="*/ 0 w 2167467"/>
              <a:gd name="connsiteY0" fmla="*/ 660400 h 660400"/>
              <a:gd name="connsiteX1" fmla="*/ 457200 w 2167467"/>
              <a:gd name="connsiteY1" fmla="*/ 169334 h 660400"/>
              <a:gd name="connsiteX2" fmla="*/ 2167467 w 2167467"/>
              <a:gd name="connsiteY2" fmla="*/ 0 h 660400"/>
            </a:gdLst>
            <a:ahLst/>
            <a:cxnLst>
              <a:cxn ang="0">
                <a:pos x="connsiteX0" y="connsiteY0"/>
              </a:cxn>
              <a:cxn ang="0">
                <a:pos x="connsiteX1" y="connsiteY1"/>
              </a:cxn>
              <a:cxn ang="0">
                <a:pos x="connsiteX2" y="connsiteY2"/>
              </a:cxn>
            </a:cxnLst>
            <a:rect l="l" t="t" r="r" b="b"/>
            <a:pathLst>
              <a:path w="2167467" h="660400">
                <a:moveTo>
                  <a:pt x="0" y="660400"/>
                </a:moveTo>
                <a:cubicBezTo>
                  <a:pt x="47978" y="469900"/>
                  <a:pt x="95956" y="279401"/>
                  <a:pt x="457200" y="169334"/>
                </a:cubicBezTo>
                <a:cubicBezTo>
                  <a:pt x="818445" y="59267"/>
                  <a:pt x="1492956" y="29633"/>
                  <a:pt x="2167467" y="0"/>
                </a:cubicBezTo>
              </a:path>
            </a:pathLst>
          </a:custGeom>
          <a:noFill/>
          <a:ln w="3175">
            <a:solidFill>
              <a:schemeClr val="bg1">
                <a:lumMod val="50000"/>
              </a:schemeClr>
            </a:solidFill>
            <a:prstDash val="dash"/>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82660" name="Picture 4" descr="http://nicephoto.xyz/wp-content/uploads/2015/09/apple-logo-1.pn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98134" y="2233214"/>
            <a:ext cx="389470" cy="483169"/>
          </a:xfrm>
          <a:prstGeom prst="rect">
            <a:avLst/>
          </a:prstGeom>
          <a:noFill/>
          <a:extLst>
            <a:ext uri="{909E8E84-426E-40DD-AFC4-6F175D3DCCD1}">
              <a14:hiddenFill xmlns:a14="http://schemas.microsoft.com/office/drawing/2010/main">
                <a:solidFill>
                  <a:srgbClr val="FFFFFF"/>
                </a:solidFill>
              </a14:hiddenFill>
            </a:ext>
          </a:extLst>
        </p:spPr>
      </p:pic>
      <p:pic>
        <p:nvPicPr>
          <p:cNvPr id="582662" name="Picture 6" descr="http://patrickcoombe.com/wp-content/uploads/2015/09/new-google-logo-2015.png">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2475" y="1805881"/>
            <a:ext cx="935023" cy="389973"/>
          </a:xfrm>
          <a:prstGeom prst="rect">
            <a:avLst/>
          </a:prstGeom>
          <a:noFill/>
          <a:extLst>
            <a:ext uri="{909E8E84-426E-40DD-AFC4-6F175D3DCCD1}">
              <a14:hiddenFill xmlns:a14="http://schemas.microsoft.com/office/drawing/2010/main">
                <a:solidFill>
                  <a:srgbClr val="FFFFFF"/>
                </a:solidFill>
              </a14:hiddenFill>
            </a:ext>
          </a:extLst>
        </p:spPr>
      </p:pic>
      <p:pic>
        <p:nvPicPr>
          <p:cNvPr id="582664" name="Picture 8" descr="http://www.logospike.com/wp-content/uploads/2015/05/Uber_Logo_02.pn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46335" y="2824524"/>
            <a:ext cx="635812" cy="635812"/>
          </a:xfrm>
          <a:prstGeom prst="rect">
            <a:avLst/>
          </a:prstGeom>
          <a:noFill/>
          <a:extLst>
            <a:ext uri="{909E8E84-426E-40DD-AFC4-6F175D3DCCD1}">
              <a14:hiddenFill xmlns:a14="http://schemas.microsoft.com/office/drawing/2010/main">
                <a:solidFill>
                  <a:srgbClr val="FFFFFF"/>
                </a:solidFill>
              </a14:hiddenFill>
            </a:ext>
          </a:extLst>
        </p:spPr>
      </p:pic>
      <p:pic>
        <p:nvPicPr>
          <p:cNvPr id="582666" name="Picture 10" descr="https://upload.wikimedia.org/wikipedia/en/thumb/6/68/Tesla_Motors_logo.svg/346px-Tesla_Motors_logo.svg.pn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75321" y="3361482"/>
            <a:ext cx="353077" cy="510530"/>
          </a:xfrm>
          <a:prstGeom prst="rect">
            <a:avLst/>
          </a:prstGeom>
          <a:noFill/>
          <a:extLst>
            <a:ext uri="{909E8E84-426E-40DD-AFC4-6F175D3DCCD1}">
              <a14:hiddenFill xmlns:a14="http://schemas.microsoft.com/office/drawing/2010/main">
                <a:solidFill>
                  <a:srgbClr val="FFFFFF"/>
                </a:solidFill>
              </a14:hiddenFill>
            </a:ext>
          </a:extLst>
        </p:spPr>
      </p:pic>
      <p:pic>
        <p:nvPicPr>
          <p:cNvPr id="582668" name="Picture 12" descr="https://upload.wikimedia.org/wikipedia/en/6/67/Faraday_Future_Logo.png">
            <a:hlinkClick r:id="rId11"/>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22419" y="3923945"/>
            <a:ext cx="458882" cy="458882"/>
          </a:xfrm>
          <a:prstGeom prst="rect">
            <a:avLst/>
          </a:prstGeom>
          <a:noFill/>
          <a:extLst>
            <a:ext uri="{909E8E84-426E-40DD-AFC4-6F175D3DCCD1}">
              <a14:hiddenFill xmlns:a14="http://schemas.microsoft.com/office/drawing/2010/main">
                <a:solidFill>
                  <a:srgbClr val="FFFFFF"/>
                </a:solidFill>
              </a14:hiddenFill>
            </a:ext>
          </a:extLst>
        </p:spPr>
      </p:pic>
      <p:pic>
        <p:nvPicPr>
          <p:cNvPr id="582670" name="Picture 14" descr="http://mervynsthebodyshop.ca/wp-content/uploads/2013/03/manufacturer_logos.png">
            <a:hlinkClick r:id="rId13"/>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28244" y="3756445"/>
            <a:ext cx="2236674" cy="95857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2" name="Picture 4" descr="http://nicephoto.xyz/wp-content/uploads/2015/09/apple-logo-1.pn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42261" y="2627198"/>
            <a:ext cx="389470" cy="483169"/>
          </a:xfrm>
          <a:prstGeom prst="rect">
            <a:avLst/>
          </a:prstGeom>
          <a:noFill/>
          <a:extLst>
            <a:ext uri="{909E8E84-426E-40DD-AFC4-6F175D3DCCD1}">
              <a14:hiddenFill xmlns:a14="http://schemas.microsoft.com/office/drawing/2010/main">
                <a:solidFill>
                  <a:srgbClr val="FFFFFF"/>
                </a:solidFill>
              </a14:hiddenFill>
            </a:ext>
          </a:extLst>
        </p:spPr>
      </p:pic>
      <p:sp>
        <p:nvSpPr>
          <p:cNvPr id="32" name="Title 1"/>
          <p:cNvSpPr txBox="1">
            <a:spLocks/>
          </p:cNvSpPr>
          <p:nvPr/>
        </p:nvSpPr>
        <p:spPr bwMode="auto">
          <a:xfrm>
            <a:off x="238125" y="143621"/>
            <a:ext cx="8677275" cy="77613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US" sz="2000" kern="1200" dirty="0" smtClean="0">
                <a:solidFill>
                  <a:srgbClr val="002060"/>
                </a:solidFill>
                <a:ea typeface="Cambria Math" pitchFamily="18" charset="0"/>
              </a:rPr>
              <a:t>Tech Invasion</a:t>
            </a:r>
            <a:r>
              <a:rPr lang="en-US" sz="2000" dirty="0" smtClean="0">
                <a:solidFill>
                  <a:srgbClr val="002060"/>
                </a:solidFill>
                <a:ea typeface="Cambria Math" pitchFamily="18" charset="0"/>
              </a:rPr>
              <a:t> – a Key Enabler and Motivator for Conventional OEMs </a:t>
            </a:r>
            <a:r>
              <a:rPr lang="en-US" sz="2000" kern="1200" dirty="0" smtClean="0">
                <a:solidFill>
                  <a:srgbClr val="002060"/>
                </a:solidFill>
                <a:ea typeface="Cambria Math" pitchFamily="18" charset="0"/>
              </a:rPr>
              <a:t/>
            </a:r>
            <a:br>
              <a:rPr lang="en-US" sz="2000" kern="1200" dirty="0" smtClean="0">
                <a:solidFill>
                  <a:srgbClr val="002060"/>
                </a:solidFill>
                <a:ea typeface="Cambria Math" pitchFamily="18" charset="0"/>
              </a:rPr>
            </a:br>
            <a:r>
              <a:rPr lang="en-GB" sz="1400" b="0" dirty="0">
                <a:solidFill>
                  <a:srgbClr val="002060"/>
                </a:solidFill>
                <a:ea typeface="Cambria Math" pitchFamily="18" charset="0"/>
              </a:rPr>
              <a:t>Tech companies innovate to offer a </a:t>
            </a:r>
            <a:r>
              <a:rPr lang="en-GB" sz="1400" b="0" dirty="0" smtClean="0">
                <a:solidFill>
                  <a:srgbClr val="002060"/>
                </a:solidFill>
                <a:ea typeface="Cambria Math" pitchFamily="18" charset="0"/>
              </a:rPr>
              <a:t>products/services </a:t>
            </a:r>
            <a:r>
              <a:rPr lang="en-GB" sz="1400" b="0" dirty="0">
                <a:solidFill>
                  <a:srgbClr val="002060"/>
                </a:solidFill>
                <a:ea typeface="Cambria Math" pitchFamily="18" charset="0"/>
              </a:rPr>
              <a:t>that meets the unknown needs/demands of </a:t>
            </a:r>
            <a:r>
              <a:rPr lang="en-GB" sz="1400" b="0" dirty="0" smtClean="0">
                <a:solidFill>
                  <a:srgbClr val="002060"/>
                </a:solidFill>
                <a:ea typeface="Cambria Math" pitchFamily="18" charset="0"/>
              </a:rPr>
              <a:t>consumers, creating white </a:t>
            </a:r>
            <a:r>
              <a:rPr lang="en-GB" sz="1400" b="0" dirty="0">
                <a:solidFill>
                  <a:srgbClr val="002060"/>
                </a:solidFill>
                <a:ea typeface="Cambria Math" pitchFamily="18" charset="0"/>
              </a:rPr>
              <a:t>space </a:t>
            </a:r>
            <a:r>
              <a:rPr lang="en-GB" sz="1400" b="0" dirty="0" smtClean="0">
                <a:solidFill>
                  <a:srgbClr val="002060"/>
                </a:solidFill>
                <a:ea typeface="Cambria Math" pitchFamily="18" charset="0"/>
              </a:rPr>
              <a:t>opportunities </a:t>
            </a:r>
            <a:r>
              <a:rPr lang="en-GB" sz="1400" b="0" dirty="0">
                <a:solidFill>
                  <a:srgbClr val="002060"/>
                </a:solidFill>
                <a:ea typeface="Cambria Math" pitchFamily="18" charset="0"/>
              </a:rPr>
              <a:t>between the automotive and consumer electronics worlds</a:t>
            </a:r>
            <a:endParaRPr lang="en-US" sz="1400" b="0" kern="1200" dirty="0">
              <a:solidFill>
                <a:srgbClr val="002060"/>
              </a:solidFill>
              <a:ea typeface="Cambria Math" pitchFamily="18" charset="0"/>
            </a:endParaRPr>
          </a:p>
        </p:txBody>
      </p:sp>
    </p:spTree>
    <p:extLst>
      <p:ext uri="{BB962C8B-B14F-4D97-AF65-F5344CB8AC3E}">
        <p14:creationId xmlns:p14="http://schemas.microsoft.com/office/powerpoint/2010/main" val="25031344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610600" cy="762000"/>
          </a:xfrm>
        </p:spPr>
        <p:txBody>
          <a:bodyPr/>
          <a:lstStyle/>
          <a:p>
            <a:r>
              <a:rPr lang="en-US" dirty="0" smtClean="0"/>
              <a:t>Thank You</a:t>
            </a:r>
            <a:endParaRPr lang="en-US" dirty="0"/>
          </a:p>
        </p:txBody>
      </p:sp>
      <p:sp>
        <p:nvSpPr>
          <p:cNvPr id="15" name="AutoShape 7"/>
          <p:cNvSpPr>
            <a:spLocks noChangeArrowheads="1"/>
          </p:cNvSpPr>
          <p:nvPr/>
        </p:nvSpPr>
        <p:spPr bwMode="gray">
          <a:xfrm>
            <a:off x="2891380" y="2786766"/>
            <a:ext cx="3417888" cy="2006600"/>
          </a:xfrm>
          <a:prstGeom prst="foldedCorner">
            <a:avLst>
              <a:gd name="adj" fmla="val 12500"/>
            </a:avLst>
          </a:prstGeom>
          <a:solidFill>
            <a:schemeClr val="accent2"/>
          </a:solidFill>
          <a:ln w="9525">
            <a:noFill/>
            <a:miter lim="800000"/>
            <a:headEnd/>
            <a:tailEnd/>
          </a:ln>
        </p:spPr>
        <p:txBody>
          <a:bodyPr wrap="none" anchor="ctr"/>
          <a:lstStyle/>
          <a:p>
            <a:pPr eaLnBrk="0" fontAlgn="base" hangingPunct="0">
              <a:lnSpc>
                <a:spcPts val="1500"/>
              </a:lnSpc>
              <a:spcBef>
                <a:spcPct val="0"/>
              </a:spcBef>
              <a:spcAft>
                <a:spcPct val="0"/>
              </a:spcAft>
            </a:pPr>
            <a:endParaRPr lang="en-GB" sz="1200" dirty="0">
              <a:solidFill>
                <a:srgbClr val="FFFFFF"/>
              </a:solidFill>
            </a:endParaRPr>
          </a:p>
          <a:p>
            <a:pPr eaLnBrk="0" fontAlgn="base" hangingPunct="0">
              <a:lnSpc>
                <a:spcPts val="1500"/>
              </a:lnSpc>
              <a:spcBef>
                <a:spcPct val="0"/>
              </a:spcBef>
              <a:spcAft>
                <a:spcPct val="0"/>
              </a:spcAft>
            </a:pPr>
            <a:endParaRPr lang="en-GB" sz="1200" dirty="0">
              <a:solidFill>
                <a:srgbClr val="FFFFFF"/>
              </a:solidFill>
            </a:endParaRPr>
          </a:p>
          <a:p>
            <a:pPr eaLnBrk="0" fontAlgn="base" hangingPunct="0">
              <a:lnSpc>
                <a:spcPts val="1500"/>
              </a:lnSpc>
              <a:spcBef>
                <a:spcPct val="0"/>
              </a:spcBef>
              <a:spcAft>
                <a:spcPct val="0"/>
              </a:spcAft>
            </a:pPr>
            <a:endParaRPr lang="en-GB" sz="1200" dirty="0">
              <a:solidFill>
                <a:srgbClr val="FFFFFF"/>
              </a:solidFill>
            </a:endParaRPr>
          </a:p>
          <a:p>
            <a:pPr eaLnBrk="0" fontAlgn="base" hangingPunct="0">
              <a:spcBef>
                <a:spcPts val="300"/>
              </a:spcBef>
              <a:spcAft>
                <a:spcPct val="0"/>
              </a:spcAft>
            </a:pPr>
            <a:r>
              <a:rPr lang="en-GB" sz="1400" b="1" dirty="0" smtClean="0">
                <a:solidFill>
                  <a:srgbClr val="FFFFFF"/>
                </a:solidFill>
              </a:rPr>
              <a:t>Niranjan Thiyagarajan</a:t>
            </a:r>
          </a:p>
          <a:p>
            <a:pPr eaLnBrk="0" fontAlgn="base" hangingPunct="0">
              <a:spcBef>
                <a:spcPts val="300"/>
              </a:spcBef>
              <a:spcAft>
                <a:spcPct val="0"/>
              </a:spcAft>
            </a:pPr>
            <a:r>
              <a:rPr lang="en-GB" sz="1400" b="1" dirty="0" smtClean="0">
                <a:solidFill>
                  <a:srgbClr val="FFFFFF"/>
                </a:solidFill>
              </a:rPr>
              <a:t>Senior Consultant</a:t>
            </a:r>
          </a:p>
          <a:p>
            <a:pPr eaLnBrk="0" fontAlgn="base" hangingPunct="0">
              <a:spcBef>
                <a:spcPts val="300"/>
              </a:spcBef>
              <a:spcAft>
                <a:spcPct val="0"/>
              </a:spcAft>
            </a:pPr>
            <a:r>
              <a:rPr lang="en-GB" sz="1400" b="1" dirty="0" smtClean="0">
                <a:solidFill>
                  <a:srgbClr val="FFFFFF"/>
                </a:solidFill>
              </a:rPr>
              <a:t>Frost &amp; Sullivan</a:t>
            </a:r>
          </a:p>
          <a:p>
            <a:pPr eaLnBrk="0" fontAlgn="base" hangingPunct="0">
              <a:spcBef>
                <a:spcPts val="300"/>
              </a:spcBef>
              <a:spcAft>
                <a:spcPct val="0"/>
              </a:spcAft>
            </a:pPr>
            <a:r>
              <a:rPr lang="en-GB" sz="1400" b="1" dirty="0" smtClean="0">
                <a:solidFill>
                  <a:srgbClr val="FFFFFF"/>
                </a:solidFill>
              </a:rPr>
              <a:t>+44. 207. 915. 7818</a:t>
            </a:r>
          </a:p>
          <a:p>
            <a:pPr eaLnBrk="0" fontAlgn="base" hangingPunct="0">
              <a:spcBef>
                <a:spcPts val="300"/>
              </a:spcBef>
              <a:spcAft>
                <a:spcPct val="0"/>
              </a:spcAft>
            </a:pPr>
            <a:r>
              <a:rPr lang="en-GB" sz="1400" b="1" dirty="0" smtClean="0">
                <a:solidFill>
                  <a:srgbClr val="FFFFFF"/>
                </a:solidFill>
              </a:rPr>
              <a:t>Niranjan.thiyagarajan@frost.com</a:t>
            </a:r>
            <a:endParaRPr lang="en-GB" sz="1200" dirty="0">
              <a:solidFill>
                <a:srgbClr val="FFFFFF"/>
              </a:solidFill>
            </a:endParaRPr>
          </a:p>
        </p:txBody>
      </p:sp>
      <p:pic>
        <p:nvPicPr>
          <p:cNvPr id="16" name="Picture 8"/>
          <p:cNvPicPr>
            <a:picLocks noChangeAspect="1" noChangeArrowheads="1"/>
          </p:cNvPicPr>
          <p:nvPr/>
        </p:nvPicPr>
        <p:blipFill>
          <a:blip r:embed="rId3" cstate="print"/>
          <a:srcRect/>
          <a:stretch>
            <a:fillRect/>
          </a:stretch>
        </p:blipFill>
        <p:spPr bwMode="auto">
          <a:xfrm>
            <a:off x="3021555" y="2918529"/>
            <a:ext cx="3154363" cy="327025"/>
          </a:xfrm>
          <a:prstGeom prst="rect">
            <a:avLst/>
          </a:prstGeom>
          <a:solidFill>
            <a:srgbClr val="214D79"/>
          </a:solidFill>
          <a:ln w="0">
            <a:solidFill>
              <a:srgbClr val="214D79"/>
            </a:solidFill>
            <a:miter lim="800000"/>
            <a:headEnd/>
            <a:tailEnd/>
          </a:ln>
        </p:spPr>
      </p:pic>
    </p:spTree>
    <p:extLst>
      <p:ext uri="{BB962C8B-B14F-4D97-AF65-F5344CB8AC3E}">
        <p14:creationId xmlns:p14="http://schemas.microsoft.com/office/powerpoint/2010/main" val="24021029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Transformational Shifts Reshaping the Future of Mobility</a:t>
            </a:r>
          </a:p>
        </p:txBody>
      </p:sp>
    </p:spTree>
    <p:extLst>
      <p:ext uri="{BB962C8B-B14F-4D97-AF65-F5344CB8AC3E}">
        <p14:creationId xmlns:p14="http://schemas.microsoft.com/office/powerpoint/2010/main" val="32796568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68816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rgbClr val="002060"/>
                </a:solidFill>
                <a:ea typeface="Cambria Math" pitchFamily="18" charset="0"/>
              </a:rPr>
              <a:t>Top Transformational Shifts Expected to Shape the Future of Mobility</a:t>
            </a:r>
            <a:endParaRPr lang="en-IN" sz="2000" b="0" dirty="0">
              <a:solidFill>
                <a:srgbClr val="002060"/>
              </a:solidFill>
              <a:ea typeface="Cambria Math" pitchFamily="18" charset="0"/>
            </a:endParaRPr>
          </a:p>
        </p:txBody>
      </p:sp>
      <p:pic>
        <p:nvPicPr>
          <p:cNvPr id="54" name="Picture 3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8894" y="3793897"/>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221" name="Picture 2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1355"/>
          <a:stretch/>
        </p:blipFill>
        <p:spPr bwMode="auto">
          <a:xfrm>
            <a:off x="251520" y="1249562"/>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49"/>
          <p:cNvSpPr/>
          <p:nvPr/>
        </p:nvSpPr>
        <p:spPr>
          <a:xfrm>
            <a:off x="3258421" y="1249562"/>
            <a:ext cx="152116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US" sz="1400" b="1" kern="0" dirty="0">
                <a:solidFill>
                  <a:srgbClr val="FFFFFF"/>
                </a:solidFill>
              </a:rPr>
              <a:t>Connected </a:t>
            </a:r>
            <a:r>
              <a:rPr lang="en-US" sz="1400" b="1" kern="0" dirty="0" smtClean="0">
                <a:solidFill>
                  <a:srgbClr val="FFFFFF"/>
                </a:solidFill>
              </a:rPr>
              <a:t>and Automated Mobility </a:t>
            </a:r>
            <a:endParaRPr lang="en-US" sz="1400" b="1" kern="0" dirty="0">
              <a:solidFill>
                <a:srgbClr val="FFFFFF"/>
              </a:solidFill>
            </a:endParaRPr>
          </a:p>
        </p:txBody>
      </p:sp>
      <p:sp>
        <p:nvSpPr>
          <p:cNvPr id="60" name="Rectangle 59"/>
          <p:cNvSpPr/>
          <p:nvPr/>
        </p:nvSpPr>
        <p:spPr>
          <a:xfrm>
            <a:off x="3255641" y="3795724"/>
            <a:ext cx="152394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Convergence in </a:t>
            </a:r>
            <a:r>
              <a:rPr lang="en-IN" sz="1400" b="1" kern="0" dirty="0" smtClean="0">
                <a:solidFill>
                  <a:srgbClr val="FFFFFF"/>
                </a:solidFill>
              </a:rPr>
              <a:t>Corporate Mobility</a:t>
            </a:r>
            <a:endParaRPr lang="en-IN" sz="1400" b="1" kern="0" dirty="0">
              <a:solidFill>
                <a:srgbClr val="FFFFFF"/>
              </a:solidFill>
            </a:endParaRPr>
          </a:p>
        </p:txBody>
      </p:sp>
      <p:grpSp>
        <p:nvGrpSpPr>
          <p:cNvPr id="6" name="Group 5"/>
          <p:cNvGrpSpPr/>
          <p:nvPr/>
        </p:nvGrpSpPr>
        <p:grpSpPr>
          <a:xfrm>
            <a:off x="5394912" y="1397532"/>
            <a:ext cx="1687108" cy="2165616"/>
            <a:chOff x="2962459" y="1354206"/>
            <a:chExt cx="1232348" cy="1459174"/>
          </a:xfrm>
        </p:grpSpPr>
        <p:pic>
          <p:nvPicPr>
            <p:cNvPr id="180245" name="Picture 21" descr="http://cdn.bgr.com/2012/11/mobile-icon.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2446" r="22446"/>
            <a:stretch/>
          </p:blipFill>
          <p:spPr bwMode="auto">
            <a:xfrm>
              <a:off x="2962459" y="1354206"/>
              <a:ext cx="1232348" cy="145917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3155341" y="1499340"/>
              <a:ext cx="846584" cy="1246610"/>
              <a:chOff x="5118447" y="4060031"/>
              <a:chExt cx="846584" cy="1246610"/>
            </a:xfrm>
          </p:grpSpPr>
          <p:pic>
            <p:nvPicPr>
              <p:cNvPr id="180243" name="Picture 19" descr="http://img.click.in/classifieds/images/148/3_9_2011_10_34_9036_air_booking_tour_250x250.gif"/>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13" t="1504" r="1913" b="1504"/>
              <a:stretch/>
            </p:blipFill>
            <p:spPr bwMode="auto">
              <a:xfrm>
                <a:off x="5118447" y="4060031"/>
                <a:ext cx="846584" cy="1075052"/>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flipV="1">
                <a:off x="5487739" y="5198641"/>
                <a:ext cx="108000" cy="108000"/>
              </a:xfrm>
              <a:prstGeom prst="ellipse">
                <a:avLst/>
              </a:prstGeom>
              <a:solidFill>
                <a:schemeClr val="bg1"/>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grpSp>
      </p:grpSp>
      <p:sp>
        <p:nvSpPr>
          <p:cNvPr id="39" name="Snip and Round Single Corner Rectangle 38"/>
          <p:cNvSpPr/>
          <p:nvPr/>
        </p:nvSpPr>
        <p:spPr>
          <a:xfrm>
            <a:off x="4894540" y="3795725"/>
            <a:ext cx="2687852" cy="2459731"/>
          </a:xfrm>
          <a:prstGeom prst="snipRoundRect">
            <a:avLst>
              <a:gd name="adj1" fmla="val 0"/>
              <a:gd name="adj2" fmla="val 0"/>
            </a:avLst>
          </a:prstGeom>
          <a:blipFill dpi="0" rotWithShape="1">
            <a:blip r:embed="rId11"/>
            <a:srcRect/>
            <a:stretch>
              <a:fillRect/>
            </a:stretch>
          </a:blipFill>
          <a:ln w="25400" cap="flat" cmpd="sng" algn="ctr">
            <a:noFill/>
            <a:prstDash val="solid"/>
          </a:ln>
          <a:effectLst>
            <a:outerShdw blurRad="149987" dist="250190" dir="8460000" algn="ctr">
              <a:srgbClr val="000000">
                <a:alpha val="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defRPr/>
            </a:pPr>
            <a:endParaRPr lang="en-US" sz="1200" kern="0" dirty="0">
              <a:solidFill>
                <a:srgbClr val="000000"/>
              </a:solidFill>
              <a:latin typeface="Calibri"/>
              <a:cs typeface="Arial" pitchFamily="34" charset="0"/>
            </a:endParaRPr>
          </a:p>
        </p:txBody>
      </p:sp>
      <p:sp>
        <p:nvSpPr>
          <p:cNvPr id="63" name="Rectangle 62"/>
          <p:cNvSpPr/>
          <p:nvPr/>
        </p:nvSpPr>
        <p:spPr>
          <a:xfrm>
            <a:off x="7565767" y="3795724"/>
            <a:ext cx="1319064" cy="2459732"/>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Automated Driving</a:t>
            </a:r>
          </a:p>
        </p:txBody>
      </p:sp>
      <p:sp>
        <p:nvSpPr>
          <p:cNvPr id="41" name="Rectangle 40"/>
          <p:cNvSpPr/>
          <p:nvPr/>
        </p:nvSpPr>
        <p:spPr>
          <a:xfrm>
            <a:off x="7565767" y="1249562"/>
            <a:ext cx="1319064"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Mobility Integration</a:t>
            </a:r>
          </a:p>
        </p:txBody>
      </p:sp>
    </p:spTree>
    <p:extLst>
      <p:ext uri="{BB962C8B-B14F-4D97-AF65-F5344CB8AC3E}">
        <p14:creationId xmlns:p14="http://schemas.microsoft.com/office/powerpoint/2010/main" val="369563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24817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Title 1"/>
          <p:cNvSpPr txBox="1">
            <a:spLocks/>
          </p:cNvSpPr>
          <p:nvPr/>
        </p:nvSpPr>
        <p:spPr bwMode="auto">
          <a:xfrm>
            <a:off x="238125" y="152936"/>
            <a:ext cx="8677275" cy="767698"/>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a:lstStyle>
          <a:p>
            <a:r>
              <a:rPr lang="en-IN" sz="2000" dirty="0">
                <a:solidFill>
                  <a:srgbClr val="002060"/>
                </a:solidFill>
                <a:ea typeface="Cambria Math" pitchFamily="18" charset="0"/>
              </a:rPr>
              <a:t>Top Transformational Shifts Expected to Shape the Future of </a:t>
            </a:r>
            <a:r>
              <a:rPr lang="en-IN" sz="2000" dirty="0" smtClean="0">
                <a:solidFill>
                  <a:srgbClr val="002060"/>
                </a:solidFill>
                <a:ea typeface="Cambria Math" pitchFamily="18" charset="0"/>
              </a:rPr>
              <a:t>Mobility</a:t>
            </a:r>
          </a:p>
          <a:p>
            <a:r>
              <a:rPr lang="en-IN" sz="2000" dirty="0">
                <a:solidFill>
                  <a:srgbClr val="002060"/>
                </a:solidFill>
                <a:ea typeface="Cambria Math" pitchFamily="18" charset="0"/>
              </a:rPr>
              <a:t>- Connected and Automated </a:t>
            </a:r>
            <a:r>
              <a:rPr lang="en-IN" sz="2000" dirty="0" smtClean="0">
                <a:solidFill>
                  <a:srgbClr val="002060"/>
                </a:solidFill>
                <a:ea typeface="Cambria Math" pitchFamily="18" charset="0"/>
              </a:rPr>
              <a:t>Mobility</a:t>
            </a:r>
            <a:endParaRPr lang="en-IN" sz="2000" dirty="0">
              <a:solidFill>
                <a:srgbClr val="002060"/>
              </a:solidFill>
              <a:ea typeface="Cambria Math" pitchFamily="18" charset="0"/>
            </a:endParaRPr>
          </a:p>
        </p:txBody>
      </p:sp>
      <p:pic>
        <p:nvPicPr>
          <p:cNvPr id="54" name="Picture 3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8894" y="3793897"/>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6221" name="Picture 29"/>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1355"/>
          <a:stretch/>
        </p:blipFill>
        <p:spPr bwMode="auto">
          <a:xfrm>
            <a:off x="251520" y="1249562"/>
            <a:ext cx="3006152" cy="246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49"/>
          <p:cNvSpPr/>
          <p:nvPr/>
        </p:nvSpPr>
        <p:spPr>
          <a:xfrm>
            <a:off x="3258421" y="1249562"/>
            <a:ext cx="152116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US" sz="1400" b="1" kern="0" dirty="0">
                <a:solidFill>
                  <a:srgbClr val="FFFFFF"/>
                </a:solidFill>
              </a:rPr>
              <a:t>Connected </a:t>
            </a:r>
            <a:r>
              <a:rPr lang="en-US" sz="1400" b="1" kern="0" dirty="0" smtClean="0">
                <a:solidFill>
                  <a:srgbClr val="FFFFFF"/>
                </a:solidFill>
              </a:rPr>
              <a:t>and Automated Mobility </a:t>
            </a:r>
            <a:endParaRPr lang="en-US" sz="1400" b="1" kern="0" dirty="0">
              <a:solidFill>
                <a:srgbClr val="FFFFFF"/>
              </a:solidFill>
            </a:endParaRPr>
          </a:p>
        </p:txBody>
      </p:sp>
      <p:sp>
        <p:nvSpPr>
          <p:cNvPr id="60" name="Rectangle 59"/>
          <p:cNvSpPr/>
          <p:nvPr/>
        </p:nvSpPr>
        <p:spPr>
          <a:xfrm>
            <a:off x="3255641" y="3795724"/>
            <a:ext cx="1523947"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Convergence in </a:t>
            </a:r>
            <a:r>
              <a:rPr lang="en-IN" sz="1400" b="1" kern="0" dirty="0" smtClean="0">
                <a:solidFill>
                  <a:srgbClr val="FFFFFF"/>
                </a:solidFill>
              </a:rPr>
              <a:t>Corporate Mobility</a:t>
            </a:r>
            <a:endParaRPr lang="en-IN" sz="1400" b="1" kern="0" dirty="0">
              <a:solidFill>
                <a:srgbClr val="FFFFFF"/>
              </a:solidFill>
            </a:endParaRPr>
          </a:p>
        </p:txBody>
      </p:sp>
      <p:grpSp>
        <p:nvGrpSpPr>
          <p:cNvPr id="6" name="Group 5"/>
          <p:cNvGrpSpPr/>
          <p:nvPr/>
        </p:nvGrpSpPr>
        <p:grpSpPr>
          <a:xfrm>
            <a:off x="5394912" y="1397532"/>
            <a:ext cx="1687108" cy="2165616"/>
            <a:chOff x="2962459" y="1354206"/>
            <a:chExt cx="1232348" cy="1459174"/>
          </a:xfrm>
        </p:grpSpPr>
        <p:pic>
          <p:nvPicPr>
            <p:cNvPr id="180245" name="Picture 21" descr="http://cdn.bgr.com/2012/11/mobile-icon.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2446" r="22446"/>
            <a:stretch/>
          </p:blipFill>
          <p:spPr bwMode="auto">
            <a:xfrm>
              <a:off x="2962459" y="1354206"/>
              <a:ext cx="1232348" cy="145917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3155341" y="1499340"/>
              <a:ext cx="846584" cy="1246610"/>
              <a:chOff x="5118447" y="4060031"/>
              <a:chExt cx="846584" cy="1246610"/>
            </a:xfrm>
          </p:grpSpPr>
          <p:pic>
            <p:nvPicPr>
              <p:cNvPr id="180243" name="Picture 19" descr="http://img.click.in/classifieds/images/148/3_9_2011_10_34_9036_air_booking_tour_250x250.gif"/>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13" t="1504" r="1913" b="1504"/>
              <a:stretch/>
            </p:blipFill>
            <p:spPr bwMode="auto">
              <a:xfrm>
                <a:off x="5118447" y="4060031"/>
                <a:ext cx="846584" cy="1075052"/>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flipV="1">
                <a:off x="5487739" y="5198641"/>
                <a:ext cx="108000" cy="108000"/>
              </a:xfrm>
              <a:prstGeom prst="ellipse">
                <a:avLst/>
              </a:prstGeom>
              <a:solidFill>
                <a:schemeClr val="bg1"/>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grpSp>
      </p:grpSp>
      <p:sp>
        <p:nvSpPr>
          <p:cNvPr id="39" name="Snip and Round Single Corner Rectangle 38"/>
          <p:cNvSpPr/>
          <p:nvPr/>
        </p:nvSpPr>
        <p:spPr>
          <a:xfrm>
            <a:off x="4894540" y="3795725"/>
            <a:ext cx="2687852" cy="2459731"/>
          </a:xfrm>
          <a:prstGeom prst="snipRoundRect">
            <a:avLst>
              <a:gd name="adj1" fmla="val 0"/>
              <a:gd name="adj2" fmla="val 0"/>
            </a:avLst>
          </a:prstGeom>
          <a:blipFill dpi="0" rotWithShape="1">
            <a:blip r:embed="rId11"/>
            <a:srcRect/>
            <a:stretch>
              <a:fillRect/>
            </a:stretch>
          </a:blipFill>
          <a:ln w="25400" cap="flat" cmpd="sng" algn="ctr">
            <a:noFill/>
            <a:prstDash val="solid"/>
          </a:ln>
          <a:effectLst>
            <a:outerShdw blurRad="149987" dist="250190" dir="8460000" algn="ctr">
              <a:srgbClr val="000000">
                <a:alpha val="0"/>
              </a:srgbClr>
            </a:outerShdw>
          </a:effectLst>
          <a:scene3d>
            <a:camera prst="orthographicFront">
              <a:rot lat="0" lon="0" rev="0"/>
            </a:camera>
            <a:lightRig rig="contrasting" dir="t">
              <a:rot lat="0" lon="0" rev="1500000"/>
            </a:lightRig>
          </a:scene3d>
          <a:sp3d prstMaterial="metal">
            <a:bevelT w="88900" h="88900"/>
          </a:sp3d>
        </p:spPr>
        <p:txBody>
          <a:bodyPr rtlCol="0" anchor="ctr"/>
          <a:lstStyle/>
          <a:p>
            <a:pPr algn="ctr">
              <a:defRPr/>
            </a:pPr>
            <a:endParaRPr lang="en-US" sz="1200" kern="0" dirty="0">
              <a:solidFill>
                <a:srgbClr val="000000"/>
              </a:solidFill>
              <a:latin typeface="Calibri"/>
              <a:cs typeface="Arial" pitchFamily="34" charset="0"/>
            </a:endParaRPr>
          </a:p>
        </p:txBody>
      </p:sp>
      <p:sp>
        <p:nvSpPr>
          <p:cNvPr id="63" name="Rectangle 62"/>
          <p:cNvSpPr/>
          <p:nvPr/>
        </p:nvSpPr>
        <p:spPr>
          <a:xfrm>
            <a:off x="7565767" y="3795724"/>
            <a:ext cx="1319064" cy="2459732"/>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Automated Driving</a:t>
            </a:r>
          </a:p>
        </p:txBody>
      </p:sp>
      <p:sp>
        <p:nvSpPr>
          <p:cNvPr id="41" name="Rectangle 40"/>
          <p:cNvSpPr/>
          <p:nvPr/>
        </p:nvSpPr>
        <p:spPr>
          <a:xfrm>
            <a:off x="7565767" y="1249562"/>
            <a:ext cx="1319064" cy="2459731"/>
          </a:xfrm>
          <a:prstGeom prst="rect">
            <a:avLst/>
          </a:prstGeom>
          <a:ln>
            <a:noFill/>
          </a:ln>
          <a:effectLst/>
        </p:spPr>
        <p:style>
          <a:lnRef idx="1">
            <a:schemeClr val="accent2"/>
          </a:lnRef>
          <a:fillRef idx="3">
            <a:schemeClr val="accent2"/>
          </a:fillRef>
          <a:effectRef idx="2">
            <a:schemeClr val="accent2"/>
          </a:effectRef>
          <a:fontRef idx="minor">
            <a:schemeClr val="lt1"/>
          </a:fontRef>
        </p:style>
        <p:txBody>
          <a:bodyPr lIns="180000" rtlCol="0" anchor="ctr"/>
          <a:lstStyle/>
          <a:p>
            <a:pPr algn="ctr"/>
            <a:r>
              <a:rPr lang="en-IN" sz="1400" b="1" kern="0" dirty="0">
                <a:solidFill>
                  <a:srgbClr val="FFFFFF"/>
                </a:solidFill>
              </a:rPr>
              <a:t>Mobility Integration</a:t>
            </a:r>
          </a:p>
        </p:txBody>
      </p:sp>
      <p:sp>
        <p:nvSpPr>
          <p:cNvPr id="5" name="Rectangle 4"/>
          <p:cNvSpPr/>
          <p:nvPr/>
        </p:nvSpPr>
        <p:spPr>
          <a:xfrm>
            <a:off x="4779588" y="1249562"/>
            <a:ext cx="4135812" cy="2461559"/>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p>
        </p:txBody>
      </p:sp>
      <p:sp>
        <p:nvSpPr>
          <p:cNvPr id="17" name="Rectangle 16"/>
          <p:cNvSpPr/>
          <p:nvPr/>
        </p:nvSpPr>
        <p:spPr>
          <a:xfrm>
            <a:off x="4779588" y="3711121"/>
            <a:ext cx="4135812" cy="2612357"/>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p>
        </p:txBody>
      </p:sp>
      <p:sp>
        <p:nvSpPr>
          <p:cNvPr id="18" name="Rectangle 17"/>
          <p:cNvSpPr/>
          <p:nvPr/>
        </p:nvSpPr>
        <p:spPr>
          <a:xfrm>
            <a:off x="221628" y="3778440"/>
            <a:ext cx="4672912" cy="2545038"/>
          </a:xfrm>
          <a:prstGeom prst="rect">
            <a:avLst/>
          </a:prstGeom>
          <a:solidFill>
            <a:schemeClr val="bg1">
              <a:alpha val="70000"/>
            </a:schemeClr>
          </a:solid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GB"/>
          </a:p>
        </p:txBody>
      </p:sp>
    </p:spTree>
    <p:extLst>
      <p:ext uri="{BB962C8B-B14F-4D97-AF65-F5344CB8AC3E}">
        <p14:creationId xmlns:p14="http://schemas.microsoft.com/office/powerpoint/2010/main" val="13443270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60614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Freeform 25"/>
          <p:cNvSpPr/>
          <p:nvPr/>
        </p:nvSpPr>
        <p:spPr>
          <a:xfrm>
            <a:off x="1062187" y="2476530"/>
            <a:ext cx="2219950" cy="3695370"/>
          </a:xfrm>
          <a:custGeom>
            <a:avLst/>
            <a:gdLst>
              <a:gd name="connsiteX0" fmla="*/ 0 w 2688282"/>
              <a:gd name="connsiteY0" fmla="*/ 268828 h 4953000"/>
              <a:gd name="connsiteX1" fmla="*/ 268828 w 2688282"/>
              <a:gd name="connsiteY1" fmla="*/ 0 h 4953000"/>
              <a:gd name="connsiteX2" fmla="*/ 2419454 w 2688282"/>
              <a:gd name="connsiteY2" fmla="*/ 0 h 4953000"/>
              <a:gd name="connsiteX3" fmla="*/ 2688282 w 2688282"/>
              <a:gd name="connsiteY3" fmla="*/ 268828 h 4953000"/>
              <a:gd name="connsiteX4" fmla="*/ 2688282 w 2688282"/>
              <a:gd name="connsiteY4" fmla="*/ 4684172 h 4953000"/>
              <a:gd name="connsiteX5" fmla="*/ 2419454 w 2688282"/>
              <a:gd name="connsiteY5" fmla="*/ 4953000 h 4953000"/>
              <a:gd name="connsiteX6" fmla="*/ 268828 w 2688282"/>
              <a:gd name="connsiteY6" fmla="*/ 4953000 h 4953000"/>
              <a:gd name="connsiteX7" fmla="*/ 0 w 2688282"/>
              <a:gd name="connsiteY7" fmla="*/ 4684172 h 4953000"/>
              <a:gd name="connsiteX8" fmla="*/ 0 w 2688282"/>
              <a:gd name="connsiteY8" fmla="*/ 268828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282" h="4953000">
                <a:moveTo>
                  <a:pt x="0" y="268828"/>
                </a:moveTo>
                <a:cubicBezTo>
                  <a:pt x="0" y="120358"/>
                  <a:pt x="120358" y="0"/>
                  <a:pt x="268828" y="0"/>
                </a:cubicBezTo>
                <a:lnTo>
                  <a:pt x="2419454" y="0"/>
                </a:lnTo>
                <a:cubicBezTo>
                  <a:pt x="2567924" y="0"/>
                  <a:pt x="2688282" y="120358"/>
                  <a:pt x="2688282" y="268828"/>
                </a:cubicBezTo>
                <a:lnTo>
                  <a:pt x="2688282" y="4684172"/>
                </a:lnTo>
                <a:cubicBezTo>
                  <a:pt x="2688282" y="4832642"/>
                  <a:pt x="2567924" y="4953000"/>
                  <a:pt x="2419454" y="4953000"/>
                </a:cubicBezTo>
                <a:lnTo>
                  <a:pt x="268828" y="4953000"/>
                </a:lnTo>
                <a:cubicBezTo>
                  <a:pt x="120358" y="4953000"/>
                  <a:pt x="0" y="4832642"/>
                  <a:pt x="0" y="4684172"/>
                </a:cubicBezTo>
                <a:lnTo>
                  <a:pt x="0" y="268828"/>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99568" tIns="2080768" rIns="99568" bIns="1090168" numCol="1" spcCol="1270" anchor="ctr" anchorCtr="0">
            <a:noAutofit/>
          </a:bodyPr>
          <a:lstStyle/>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IN" sz="1400" dirty="0">
              <a:solidFill>
                <a:srgbClr val="000000"/>
              </a:solidFill>
              <a:ea typeface="Cambria Math" panose="02040503050406030204" pitchFamily="18" charset="0"/>
            </a:endParaRPr>
          </a:p>
        </p:txBody>
      </p:sp>
      <p:sp>
        <p:nvSpPr>
          <p:cNvPr id="27" name="Oval 26"/>
          <p:cNvSpPr/>
          <p:nvPr/>
        </p:nvSpPr>
        <p:spPr>
          <a:xfrm>
            <a:off x="1819796" y="3282842"/>
            <a:ext cx="704733" cy="705600"/>
          </a:xfrm>
          <a:prstGeom prst="ellipse">
            <a:avLst/>
          </a:prstGeom>
          <a:blipFill rotWithShape="1">
            <a:blip r:embed="rId7" cstate="email">
              <a:extLst>
                <a:ext uri="{28A0092B-C50C-407E-A947-70E740481C1C}">
                  <a14:useLocalDpi xmlns:a14="http://schemas.microsoft.com/office/drawing/2010/main"/>
                </a:ext>
              </a:extLst>
            </a:blip>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lt1">
              <a:hueOff val="0"/>
              <a:satOff val="0"/>
              <a:lumOff val="0"/>
              <a:alphaOff val="0"/>
            </a:schemeClr>
          </a:lnRef>
          <a:fillRef idx="1">
            <a:scrgbClr r="0" g="0" b="0"/>
          </a:fillRef>
          <a:effectRef idx="1">
            <a:schemeClr val="accent2">
              <a:tint val="5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32" name="TextBox 31"/>
          <p:cNvSpPr txBox="1"/>
          <p:nvPr/>
        </p:nvSpPr>
        <p:spPr>
          <a:xfrm>
            <a:off x="1247718" y="2730261"/>
            <a:ext cx="1848888" cy="492443"/>
          </a:xfrm>
          <a:prstGeom prst="rect">
            <a:avLst/>
          </a:prstGeom>
          <a:noFill/>
          <a:ln>
            <a:noFill/>
          </a:ln>
          <a:effectLst/>
        </p:spPr>
        <p:txBody>
          <a:bodyPr spcFirstLastPara="0" vert="horz" wrap="square" lIns="0" tIns="0" rIns="0" bIns="0" numCol="1" spcCol="1270" anchor="ctr" anchorCtr="0">
            <a:spAutoFit/>
          </a:bodyPr>
          <a:lstStyle>
            <a:defPPr>
              <a:defRPr lang="en-US"/>
            </a:defPPr>
            <a:lvl1pPr algn="ctr" defTabSz="622300">
              <a:spcAft>
                <a:spcPct val="10000"/>
              </a:spcAft>
              <a:defRPr sz="1200" b="1"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600" dirty="0">
                <a:solidFill>
                  <a:srgbClr val="06325C"/>
                </a:solidFill>
              </a:rPr>
              <a:t>Connected Home – 31%</a:t>
            </a:r>
            <a:endParaRPr lang="en-IN" sz="1600" dirty="0">
              <a:solidFill>
                <a:srgbClr val="06325C"/>
              </a:solidFill>
            </a:endParaRPr>
          </a:p>
        </p:txBody>
      </p:sp>
      <p:sp>
        <p:nvSpPr>
          <p:cNvPr id="36" name="Rounded Rectangle 35"/>
          <p:cNvSpPr/>
          <p:nvPr/>
        </p:nvSpPr>
        <p:spPr>
          <a:xfrm>
            <a:off x="1191465" y="4079918"/>
            <a:ext cx="1961394" cy="1976489"/>
          </a:xfrm>
          <a:prstGeom prst="roundRect">
            <a:avLst/>
          </a:prstGeom>
          <a:solidFill>
            <a:schemeClr val="bg1"/>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Home Automation</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Home Energy </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Home Health</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Home Entertainment</a:t>
            </a:r>
          </a:p>
        </p:txBody>
      </p:sp>
      <p:sp>
        <p:nvSpPr>
          <p:cNvPr id="28" name="Freeform 27"/>
          <p:cNvSpPr/>
          <p:nvPr/>
        </p:nvSpPr>
        <p:spPr>
          <a:xfrm>
            <a:off x="3461977" y="2476500"/>
            <a:ext cx="2219999" cy="3695220"/>
          </a:xfrm>
          <a:custGeom>
            <a:avLst/>
            <a:gdLst>
              <a:gd name="connsiteX0" fmla="*/ 0 w 2688282"/>
              <a:gd name="connsiteY0" fmla="*/ 268828 h 4953000"/>
              <a:gd name="connsiteX1" fmla="*/ 268828 w 2688282"/>
              <a:gd name="connsiteY1" fmla="*/ 0 h 4953000"/>
              <a:gd name="connsiteX2" fmla="*/ 2419454 w 2688282"/>
              <a:gd name="connsiteY2" fmla="*/ 0 h 4953000"/>
              <a:gd name="connsiteX3" fmla="*/ 2688282 w 2688282"/>
              <a:gd name="connsiteY3" fmla="*/ 268828 h 4953000"/>
              <a:gd name="connsiteX4" fmla="*/ 2688282 w 2688282"/>
              <a:gd name="connsiteY4" fmla="*/ 4684172 h 4953000"/>
              <a:gd name="connsiteX5" fmla="*/ 2419454 w 2688282"/>
              <a:gd name="connsiteY5" fmla="*/ 4953000 h 4953000"/>
              <a:gd name="connsiteX6" fmla="*/ 268828 w 2688282"/>
              <a:gd name="connsiteY6" fmla="*/ 4953000 h 4953000"/>
              <a:gd name="connsiteX7" fmla="*/ 0 w 2688282"/>
              <a:gd name="connsiteY7" fmla="*/ 4684172 h 4953000"/>
              <a:gd name="connsiteX8" fmla="*/ 0 w 2688282"/>
              <a:gd name="connsiteY8" fmla="*/ 268828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282" h="4953000">
                <a:moveTo>
                  <a:pt x="0" y="268828"/>
                </a:moveTo>
                <a:cubicBezTo>
                  <a:pt x="0" y="120358"/>
                  <a:pt x="120358" y="0"/>
                  <a:pt x="268828" y="0"/>
                </a:cubicBezTo>
                <a:lnTo>
                  <a:pt x="2419454" y="0"/>
                </a:lnTo>
                <a:cubicBezTo>
                  <a:pt x="2567924" y="0"/>
                  <a:pt x="2688282" y="120358"/>
                  <a:pt x="2688282" y="268828"/>
                </a:cubicBezTo>
                <a:lnTo>
                  <a:pt x="2688282" y="4684172"/>
                </a:lnTo>
                <a:cubicBezTo>
                  <a:pt x="2688282" y="4832642"/>
                  <a:pt x="2567924" y="4953000"/>
                  <a:pt x="2419454" y="4953000"/>
                </a:cubicBezTo>
                <a:lnTo>
                  <a:pt x="268828" y="4953000"/>
                </a:lnTo>
                <a:cubicBezTo>
                  <a:pt x="120358" y="4953000"/>
                  <a:pt x="0" y="4832642"/>
                  <a:pt x="0" y="4684172"/>
                </a:cubicBezTo>
                <a:lnTo>
                  <a:pt x="0" y="268828"/>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99568" tIns="2080768" rIns="99568" bIns="1090168" numCol="1" spcCol="1270" anchor="ctr" anchorCtr="0">
            <a:noAutofit/>
          </a:bodyPr>
          <a:lstStyle/>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IN" sz="1400" dirty="0">
              <a:solidFill>
                <a:srgbClr val="000000"/>
              </a:solidFill>
              <a:ea typeface="Cambria Math" panose="02040503050406030204" pitchFamily="18" charset="0"/>
            </a:endParaRPr>
          </a:p>
        </p:txBody>
      </p:sp>
      <p:sp>
        <p:nvSpPr>
          <p:cNvPr id="29" name="Oval 28"/>
          <p:cNvSpPr/>
          <p:nvPr/>
        </p:nvSpPr>
        <p:spPr>
          <a:xfrm>
            <a:off x="4219176" y="3282842"/>
            <a:ext cx="705600" cy="705600"/>
          </a:xfrm>
          <a:prstGeom prst="ellipse">
            <a:avLst/>
          </a:prstGeom>
          <a:blipFill rotWithShape="1">
            <a:blip r:embed="rId8" cstate="email">
              <a:extLst>
                <a:ext uri="{28A0092B-C50C-407E-A947-70E740481C1C}">
                  <a14:useLocalDpi xmlns:a14="http://schemas.microsoft.com/office/drawing/2010/main"/>
                </a:ext>
              </a:extLst>
            </a:blip>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lt1">
              <a:hueOff val="0"/>
              <a:satOff val="0"/>
              <a:lumOff val="0"/>
              <a:alphaOff val="0"/>
            </a:schemeClr>
          </a:lnRef>
          <a:fillRef idx="1">
            <a:scrgbClr r="0" g="0" b="0"/>
          </a:fillRef>
          <a:effectRef idx="1">
            <a:schemeClr val="accent3">
              <a:tint val="5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33" name="TextBox 32"/>
          <p:cNvSpPr txBox="1"/>
          <p:nvPr/>
        </p:nvSpPr>
        <p:spPr>
          <a:xfrm>
            <a:off x="3678778" y="2730261"/>
            <a:ext cx="1786395" cy="492443"/>
          </a:xfrm>
          <a:prstGeom prst="rect">
            <a:avLst/>
          </a:prstGeom>
          <a:noFill/>
          <a:ln>
            <a:noFill/>
          </a:ln>
          <a:effectLst/>
        </p:spPr>
        <p:txBody>
          <a:bodyPr spcFirstLastPara="0" vert="horz" wrap="square" lIns="0" tIns="0" rIns="0" bIns="0" numCol="1" spcCol="1270" anchor="ctr" anchorCtr="0">
            <a:spAutoFit/>
          </a:bodyPr>
          <a:lstStyle>
            <a:defPPr>
              <a:defRPr lang="en-US"/>
            </a:defPPr>
            <a:lvl1pPr algn="ctr" defTabSz="622300">
              <a:spcAft>
                <a:spcPct val="10000"/>
              </a:spcAft>
              <a:defRPr sz="1200" b="1"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600" dirty="0">
                <a:solidFill>
                  <a:srgbClr val="06325C"/>
                </a:solidFill>
              </a:rPr>
              <a:t>Connected Work –15% </a:t>
            </a:r>
            <a:endParaRPr lang="en-IN" sz="1600" dirty="0">
              <a:solidFill>
                <a:srgbClr val="06325C"/>
              </a:solidFill>
            </a:endParaRPr>
          </a:p>
        </p:txBody>
      </p:sp>
      <p:sp>
        <p:nvSpPr>
          <p:cNvPr id="47" name="Rounded Rectangle 46"/>
          <p:cNvSpPr/>
          <p:nvPr/>
        </p:nvSpPr>
        <p:spPr>
          <a:xfrm>
            <a:off x="3590976" y="4079918"/>
            <a:ext cx="1962000" cy="1976400"/>
          </a:xfrm>
          <a:prstGeom prst="roundRect">
            <a:avLst/>
          </a:prstGeom>
          <a:solidFill>
            <a:schemeClr val="bg1"/>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Mobility - Mobile email, Unified Communication</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Mobile Working</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Enterprise Social Networking</a:t>
            </a:r>
            <a:endParaRPr lang="en-US" sz="1400" dirty="0">
              <a:solidFill>
                <a:prstClr val="black"/>
              </a:solidFill>
              <a:ea typeface="Cambria Math" panose="02040503050406030204" pitchFamily="18" charset="0"/>
            </a:endParaRPr>
          </a:p>
        </p:txBody>
      </p:sp>
      <p:sp>
        <p:nvSpPr>
          <p:cNvPr id="30" name="Freeform 29"/>
          <p:cNvSpPr/>
          <p:nvPr/>
        </p:nvSpPr>
        <p:spPr>
          <a:xfrm>
            <a:off x="5861815" y="2476500"/>
            <a:ext cx="2219999" cy="3695220"/>
          </a:xfrm>
          <a:custGeom>
            <a:avLst/>
            <a:gdLst>
              <a:gd name="connsiteX0" fmla="*/ 0 w 2688282"/>
              <a:gd name="connsiteY0" fmla="*/ 268828 h 4953000"/>
              <a:gd name="connsiteX1" fmla="*/ 268828 w 2688282"/>
              <a:gd name="connsiteY1" fmla="*/ 0 h 4953000"/>
              <a:gd name="connsiteX2" fmla="*/ 2419454 w 2688282"/>
              <a:gd name="connsiteY2" fmla="*/ 0 h 4953000"/>
              <a:gd name="connsiteX3" fmla="*/ 2688282 w 2688282"/>
              <a:gd name="connsiteY3" fmla="*/ 268828 h 4953000"/>
              <a:gd name="connsiteX4" fmla="*/ 2688282 w 2688282"/>
              <a:gd name="connsiteY4" fmla="*/ 4684172 h 4953000"/>
              <a:gd name="connsiteX5" fmla="*/ 2419454 w 2688282"/>
              <a:gd name="connsiteY5" fmla="*/ 4953000 h 4953000"/>
              <a:gd name="connsiteX6" fmla="*/ 268828 w 2688282"/>
              <a:gd name="connsiteY6" fmla="*/ 4953000 h 4953000"/>
              <a:gd name="connsiteX7" fmla="*/ 0 w 2688282"/>
              <a:gd name="connsiteY7" fmla="*/ 4684172 h 4953000"/>
              <a:gd name="connsiteX8" fmla="*/ 0 w 2688282"/>
              <a:gd name="connsiteY8" fmla="*/ 268828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282" h="4953000">
                <a:moveTo>
                  <a:pt x="0" y="268828"/>
                </a:moveTo>
                <a:cubicBezTo>
                  <a:pt x="0" y="120358"/>
                  <a:pt x="120358" y="0"/>
                  <a:pt x="268828" y="0"/>
                </a:cubicBezTo>
                <a:lnTo>
                  <a:pt x="2419454" y="0"/>
                </a:lnTo>
                <a:cubicBezTo>
                  <a:pt x="2567924" y="0"/>
                  <a:pt x="2688282" y="120358"/>
                  <a:pt x="2688282" y="268828"/>
                </a:cubicBezTo>
                <a:lnTo>
                  <a:pt x="2688282" y="4684172"/>
                </a:lnTo>
                <a:cubicBezTo>
                  <a:pt x="2688282" y="4832642"/>
                  <a:pt x="2567924" y="4953000"/>
                  <a:pt x="2419454" y="4953000"/>
                </a:cubicBezTo>
                <a:lnTo>
                  <a:pt x="268828" y="4953000"/>
                </a:lnTo>
                <a:cubicBezTo>
                  <a:pt x="120358" y="4953000"/>
                  <a:pt x="0" y="4832642"/>
                  <a:pt x="0" y="4684172"/>
                </a:cubicBezTo>
                <a:lnTo>
                  <a:pt x="0" y="268828"/>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99568" tIns="2080768" rIns="99568" bIns="1090168" numCol="1" spcCol="1270" anchor="ctr" anchorCtr="0">
            <a:noAutofit/>
          </a:bodyPr>
          <a:lstStyle/>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endParaRPr lang="en-US" sz="1400" dirty="0">
              <a:solidFill>
                <a:srgbClr val="000000"/>
              </a:solidFill>
              <a:ea typeface="Cambria Math" panose="02040503050406030204" pitchFamily="18" charset="0"/>
            </a:endParaRPr>
          </a:p>
          <a:p>
            <a:pPr algn="ctr" defTabSz="622300">
              <a:lnSpc>
                <a:spcPct val="90000"/>
              </a:lnSpc>
              <a:spcBef>
                <a:spcPct val="0"/>
              </a:spcBef>
              <a:spcAft>
                <a:spcPct val="35000"/>
              </a:spcAft>
            </a:pPr>
            <a:r>
              <a:rPr lang="en-US" sz="1400" dirty="0">
                <a:solidFill>
                  <a:srgbClr val="000000"/>
                </a:solidFill>
                <a:ea typeface="Cambria Math" panose="02040503050406030204" pitchFamily="18" charset="0"/>
              </a:rPr>
              <a:t> </a:t>
            </a:r>
            <a:endParaRPr lang="en-IN" sz="1400" dirty="0">
              <a:solidFill>
                <a:srgbClr val="000000"/>
              </a:solidFill>
              <a:ea typeface="Cambria Math" panose="02040503050406030204" pitchFamily="18" charset="0"/>
            </a:endParaRPr>
          </a:p>
        </p:txBody>
      </p:sp>
      <p:sp>
        <p:nvSpPr>
          <p:cNvPr id="31" name="Oval 30"/>
          <p:cNvSpPr/>
          <p:nvPr/>
        </p:nvSpPr>
        <p:spPr>
          <a:xfrm>
            <a:off x="6619014" y="3282842"/>
            <a:ext cx="705600" cy="705600"/>
          </a:xfrm>
          <a:prstGeom prst="ellipse">
            <a:avLst/>
          </a:prstGeom>
          <a:blipFill rotWithShape="1">
            <a:blip r:embed="rId9" cstate="email">
              <a:extLst>
                <a:ext uri="{28A0092B-C50C-407E-A947-70E740481C1C}">
                  <a14:useLocalDpi xmlns:a14="http://schemas.microsoft.com/office/drawing/2010/main"/>
                </a:ext>
              </a:extLst>
            </a:blip>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lt1">
              <a:hueOff val="0"/>
              <a:satOff val="0"/>
              <a:lumOff val="0"/>
              <a:alphaOff val="0"/>
            </a:schemeClr>
          </a:lnRef>
          <a:fillRef idx="1">
            <a:scrgbClr r="0" g="0" b="0"/>
          </a:fillRef>
          <a:effectRef idx="1">
            <a:schemeClr val="accent4">
              <a:tint val="50000"/>
              <a:hueOff val="0"/>
              <a:satOff val="0"/>
              <a:lumOff val="0"/>
              <a:alphaOff val="0"/>
            </a:schemeClr>
          </a:effectRef>
          <a:fontRef idx="minor">
            <a:schemeClr val="lt1">
              <a:hueOff val="0"/>
              <a:satOff val="0"/>
              <a:lumOff val="0"/>
              <a:alphaOff val="0"/>
            </a:schemeClr>
          </a:fontRef>
        </p:style>
        <p:txBody>
          <a:bodyPr/>
          <a:lstStyle/>
          <a:p>
            <a:endParaRPr lang="en-IN">
              <a:solidFill>
                <a:srgbClr val="FFFFFF">
                  <a:hueOff val="0"/>
                  <a:satOff val="0"/>
                  <a:lumOff val="0"/>
                  <a:alphaOff val="0"/>
                </a:srgbClr>
              </a:solidFill>
            </a:endParaRPr>
          </a:p>
        </p:txBody>
      </p:sp>
      <p:sp>
        <p:nvSpPr>
          <p:cNvPr id="34" name="TextBox 33"/>
          <p:cNvSpPr txBox="1"/>
          <p:nvPr/>
        </p:nvSpPr>
        <p:spPr>
          <a:xfrm>
            <a:off x="6127852" y="2730261"/>
            <a:ext cx="1687923" cy="492443"/>
          </a:xfrm>
          <a:prstGeom prst="rect">
            <a:avLst/>
          </a:prstGeom>
          <a:noFill/>
          <a:ln>
            <a:noFill/>
          </a:ln>
          <a:effectLst/>
        </p:spPr>
        <p:txBody>
          <a:bodyPr spcFirstLastPara="0" vert="horz" wrap="square" lIns="0" tIns="0" rIns="0" bIns="0" numCol="1" spcCol="1270" anchor="ctr" anchorCtr="0">
            <a:spAutoFit/>
          </a:bodyPr>
          <a:lstStyle>
            <a:defPPr>
              <a:defRPr lang="en-US"/>
            </a:defPPr>
            <a:lvl1pPr algn="ctr" defTabSz="622300">
              <a:spcAft>
                <a:spcPct val="10000"/>
              </a:spcAft>
              <a:defRPr sz="1200" b="1" kern="0">
                <a:solidFill>
                  <a:schemeClr val="bg1"/>
                </a:solidFill>
                <a:cs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600" dirty="0">
                <a:solidFill>
                  <a:srgbClr val="06325C"/>
                </a:solidFill>
              </a:rPr>
              <a:t>Connected City – 54%</a:t>
            </a:r>
            <a:endParaRPr lang="en-IN" sz="1600" dirty="0">
              <a:solidFill>
                <a:srgbClr val="06325C"/>
              </a:solidFill>
            </a:endParaRPr>
          </a:p>
        </p:txBody>
      </p:sp>
      <p:sp>
        <p:nvSpPr>
          <p:cNvPr id="48" name="Rounded Rectangle 47"/>
          <p:cNvSpPr/>
          <p:nvPr/>
        </p:nvSpPr>
        <p:spPr>
          <a:xfrm>
            <a:off x="5990814" y="4079918"/>
            <a:ext cx="1962000" cy="1976400"/>
          </a:xfrm>
          <a:prstGeom prst="roundRect">
            <a:avLst/>
          </a:prstGeom>
          <a:solidFill>
            <a:schemeClr val="bg1"/>
          </a:solidFill>
          <a:ln>
            <a:noFill/>
          </a:ln>
          <a:effectLst/>
          <a:scene3d>
            <a:camera prst="orthographicFront">
              <a:rot lat="0" lon="0" rev="0"/>
            </a:camera>
            <a:lightRig rig="balanced" dir="t">
              <a:rot lat="0" lon="0" rev="8700000"/>
            </a:lightRig>
          </a:scene3d>
          <a:sp3d/>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n-US" sz="1400" dirty="0">
              <a:solidFill>
                <a:prstClr val="black"/>
              </a:solidFill>
              <a:ea typeface="Cambria Math" panose="02040503050406030204" pitchFamily="18" charset="0"/>
            </a:endParaRPr>
          </a:p>
          <a:p>
            <a:pPr marL="171450" indent="-171450">
              <a:buFont typeface="Arial" panose="020B0604020202020204" pitchFamily="34" charset="0"/>
              <a:buChar char="•"/>
            </a:pPr>
            <a:endParaRPr lang="en-US" sz="1400" dirty="0">
              <a:solidFill>
                <a:prstClr val="black"/>
              </a:solidFill>
              <a:ea typeface="Cambria Math" panose="02040503050406030204" pitchFamily="18" charset="0"/>
            </a:endParaRPr>
          </a:p>
          <a:p>
            <a:pPr marL="171450" indent="-171450">
              <a:lnSpc>
                <a:spcPct val="150000"/>
              </a:lnSpc>
              <a:buFont typeface="Arial" panose="020B0604020202020204" pitchFamily="34" charset="0"/>
              <a:buChar char="•"/>
            </a:pPr>
            <a:r>
              <a:rPr lang="en-IN" sz="1400" dirty="0" err="1">
                <a:solidFill>
                  <a:prstClr val="black"/>
                </a:solidFill>
                <a:ea typeface="Cambria Math" panose="02040503050406030204" pitchFamily="18" charset="0"/>
              </a:rPr>
              <a:t>eGovernance</a:t>
            </a:r>
            <a:endParaRPr lang="en-IN" sz="1400" dirty="0">
              <a:solidFill>
                <a:prstClr val="black"/>
              </a:solidFill>
              <a:ea typeface="Cambria Math" panose="02040503050406030204" pitchFamily="18" charset="0"/>
            </a:endParaRPr>
          </a:p>
          <a:p>
            <a:pPr marL="171450" indent="-171450">
              <a:lnSpc>
                <a:spcPct val="150000"/>
              </a:lnSpc>
              <a:buFont typeface="Arial" panose="020B0604020202020204" pitchFamily="34" charset="0"/>
              <a:buChar char="•"/>
            </a:pPr>
            <a:r>
              <a:rPr lang="en-IN" sz="1400" dirty="0" err="1">
                <a:solidFill>
                  <a:prstClr val="black"/>
                </a:solidFill>
                <a:ea typeface="Cambria Math" panose="02040503050406030204" pitchFamily="18" charset="0"/>
              </a:rPr>
              <a:t>eCitizens</a:t>
            </a:r>
            <a:endParaRPr lang="en-IN" sz="1400" dirty="0">
              <a:solidFill>
                <a:prstClr val="black"/>
              </a:solidFill>
              <a:ea typeface="Cambria Math" panose="02040503050406030204" pitchFamily="18" charset="0"/>
            </a:endParaRP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Personal and Freight Mobility </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E-learning</a:t>
            </a:r>
          </a:p>
          <a:p>
            <a:pPr marL="171450" indent="-171450">
              <a:lnSpc>
                <a:spcPct val="150000"/>
              </a:lnSpc>
              <a:buFont typeface="Arial" panose="020B0604020202020204" pitchFamily="34" charset="0"/>
              <a:buChar char="•"/>
            </a:pPr>
            <a:r>
              <a:rPr lang="en-IN" sz="1400" dirty="0">
                <a:solidFill>
                  <a:prstClr val="black"/>
                </a:solidFill>
                <a:ea typeface="Cambria Math" panose="02040503050406030204" pitchFamily="18" charset="0"/>
              </a:rPr>
              <a:t>Mobile banking</a:t>
            </a:r>
          </a:p>
          <a:p>
            <a:pPr marL="171450" indent="-171450">
              <a:buFont typeface="Arial" panose="020B0604020202020204" pitchFamily="34" charset="0"/>
              <a:buChar char="•"/>
            </a:pPr>
            <a:endParaRPr lang="en-IN" sz="1400" dirty="0">
              <a:solidFill>
                <a:prstClr val="black"/>
              </a:solidFill>
              <a:ea typeface="Cambria Math" panose="02040503050406030204" pitchFamily="18" charset="0"/>
            </a:endParaRPr>
          </a:p>
          <a:p>
            <a:pPr marL="171450" indent="-171450">
              <a:buFont typeface="Arial" panose="020B0604020202020204" pitchFamily="34" charset="0"/>
              <a:buChar char="•"/>
            </a:pPr>
            <a:endParaRPr lang="en-US" sz="1400" dirty="0">
              <a:solidFill>
                <a:prstClr val="black"/>
              </a:solidFill>
              <a:ea typeface="Cambria Math" panose="02040503050406030204" pitchFamily="18" charset="0"/>
            </a:endParaRPr>
          </a:p>
        </p:txBody>
      </p:sp>
      <p:sp>
        <p:nvSpPr>
          <p:cNvPr id="49" name="Left-Right Arrow 48"/>
          <p:cNvSpPr/>
          <p:nvPr/>
        </p:nvSpPr>
        <p:spPr>
          <a:xfrm>
            <a:off x="329158" y="1298080"/>
            <a:ext cx="8485684" cy="1076820"/>
          </a:xfrm>
          <a:prstGeom prst="leftRightArrow">
            <a:avLst>
              <a:gd name="adj1" fmla="val 67890"/>
              <a:gd name="adj2" fmla="val 33488"/>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lt1">
              <a:hueOff val="0"/>
              <a:satOff val="0"/>
              <a:lumOff val="0"/>
              <a:alphaOff val="0"/>
            </a:schemeClr>
          </a:lnRef>
          <a:fillRef idx="2">
            <a:scrgbClr r="0" g="0" b="0"/>
          </a:fillRef>
          <a:effectRef idx="1">
            <a:schemeClr val="accent2">
              <a:tint val="40000"/>
              <a:hueOff val="0"/>
              <a:satOff val="0"/>
              <a:lumOff val="0"/>
              <a:alphaOff val="0"/>
            </a:schemeClr>
          </a:effectRef>
          <a:fontRef idx="minor">
            <a:schemeClr val="dk1">
              <a:hueOff val="0"/>
              <a:satOff val="0"/>
              <a:lumOff val="0"/>
              <a:alphaOff val="0"/>
            </a:schemeClr>
          </a:fontRef>
        </p:style>
        <p:txBody>
          <a:bodyPr/>
          <a:lstStyle/>
          <a:p>
            <a:endParaRPr lang="en-IN">
              <a:solidFill>
                <a:srgbClr val="000000">
                  <a:hueOff val="0"/>
                  <a:satOff val="0"/>
                  <a:lumOff val="0"/>
                  <a:alphaOff val="0"/>
                </a:srgbClr>
              </a:solidFill>
            </a:endParaRPr>
          </a:p>
        </p:txBody>
      </p:sp>
      <p:sp>
        <p:nvSpPr>
          <p:cNvPr id="50" name="TextBox 49"/>
          <p:cNvSpPr txBox="1"/>
          <p:nvPr/>
        </p:nvSpPr>
        <p:spPr>
          <a:xfrm>
            <a:off x="1673354" y="1530121"/>
            <a:ext cx="5797293" cy="369332"/>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rtlCol="0">
            <a:spAutoFit/>
          </a:bodyPr>
          <a:lstStyle/>
          <a:p>
            <a:r>
              <a:rPr lang="en-IN" b="1" dirty="0">
                <a:solidFill>
                  <a:prstClr val="white"/>
                </a:solidFill>
                <a:ea typeface="Cambria Math" panose="02040503050406030204" pitchFamily="18" charset="0"/>
              </a:rPr>
              <a:t>Connected Living Total Market: $730 Billion in 2020</a:t>
            </a:r>
            <a:endParaRPr lang="en-US" b="1" dirty="0">
              <a:solidFill>
                <a:prstClr val="white"/>
              </a:solidFill>
              <a:ea typeface="Cambria Math" panose="02040503050406030204" pitchFamily="18" charset="0"/>
            </a:endParaRPr>
          </a:p>
        </p:txBody>
      </p:sp>
      <p:sp>
        <p:nvSpPr>
          <p:cNvPr id="51" name="Title 1"/>
          <p:cNvSpPr>
            <a:spLocks noGrp="1"/>
          </p:cNvSpPr>
          <p:nvPr>
            <p:ph type="title"/>
          </p:nvPr>
        </p:nvSpPr>
        <p:spPr>
          <a:xfrm>
            <a:off x="238125" y="143621"/>
            <a:ext cx="8677275" cy="776134"/>
          </a:xfrm>
          <a:noFill/>
          <a:ln w="9525">
            <a:noFill/>
            <a:miter lim="800000"/>
            <a:headEnd/>
            <a:tailEnd/>
          </a:ln>
        </p:spPr>
        <p:txBody>
          <a:bodyPr vert="horz" wrap="square" lIns="0" tIns="0" rIns="0" bIns="0" numCol="1" anchor="ctr" anchorCtr="0" compatLnSpc="1">
            <a:prstTxWarp prst="textNoShape">
              <a:avLst/>
            </a:prstTxWarp>
            <a:noAutofit/>
          </a:bodyPr>
          <a:lstStyle/>
          <a:p>
            <a:r>
              <a:rPr lang="en-US" sz="2000" kern="1200" dirty="0" smtClean="0">
                <a:solidFill>
                  <a:srgbClr val="002060"/>
                </a:solidFill>
                <a:ea typeface="Cambria Math" pitchFamily="18" charset="0"/>
              </a:rPr>
              <a:t>Future </a:t>
            </a:r>
            <a:r>
              <a:rPr lang="en-US" sz="2000" kern="1200" dirty="0">
                <a:solidFill>
                  <a:srgbClr val="002060"/>
                </a:solidFill>
                <a:ea typeface="Cambria Math" pitchFamily="18" charset="0"/>
              </a:rPr>
              <a:t>Connected Living Ecosystem</a:t>
            </a:r>
            <a:br>
              <a:rPr lang="en-US" sz="2000" kern="1200" dirty="0">
                <a:solidFill>
                  <a:srgbClr val="002060"/>
                </a:solidFill>
                <a:ea typeface="Cambria Math" pitchFamily="18" charset="0"/>
              </a:rPr>
            </a:br>
            <a:r>
              <a:rPr lang="en-IN" sz="1400" b="0" kern="1200" dirty="0" smtClean="0">
                <a:solidFill>
                  <a:srgbClr val="002060"/>
                </a:solidFill>
                <a:ea typeface="Cambria Math" pitchFamily="18" charset="0"/>
              </a:rPr>
              <a:t>The connected </a:t>
            </a:r>
            <a:r>
              <a:rPr lang="en-IN" sz="1400" b="0" kern="1200" dirty="0">
                <a:solidFill>
                  <a:srgbClr val="002060"/>
                </a:solidFill>
                <a:ea typeface="Cambria Math" pitchFamily="18" charset="0"/>
              </a:rPr>
              <a:t>life contains three important </a:t>
            </a:r>
            <a:r>
              <a:rPr lang="en-IN" sz="1400" b="0" kern="1200" dirty="0" smtClean="0">
                <a:solidFill>
                  <a:srgbClr val="002060"/>
                </a:solidFill>
                <a:ea typeface="Cambria Math" pitchFamily="18" charset="0"/>
              </a:rPr>
              <a:t>environments, all with high expectations for “everywhere”</a:t>
            </a:r>
            <a:endParaRPr lang="en-US" sz="1400" b="0" kern="1200" dirty="0">
              <a:solidFill>
                <a:srgbClr val="002060"/>
              </a:solidFill>
              <a:ea typeface="Cambria Math" pitchFamily="18" charset="0"/>
            </a:endParaRPr>
          </a:p>
        </p:txBody>
      </p:sp>
      <p:sp>
        <p:nvSpPr>
          <p:cNvPr id="21" name="Text Box 80"/>
          <p:cNvSpPr txBox="1">
            <a:spLocks noChangeArrowheads="1"/>
          </p:cNvSpPr>
          <p:nvPr/>
        </p:nvSpPr>
        <p:spPr bwMode="auto">
          <a:xfrm>
            <a:off x="7673362" y="6276928"/>
            <a:ext cx="1237518" cy="138499"/>
          </a:xfrm>
          <a:prstGeom prst="rect">
            <a:avLst/>
          </a:prstGeom>
          <a:noFill/>
          <a:ln w="9525">
            <a:noFill/>
            <a:miter lim="800000"/>
            <a:headEnd/>
            <a:tailEnd/>
          </a:ln>
        </p:spPr>
        <p:txBody>
          <a:bodyPr wrap="none" lIns="0" tIns="0" rIns="0" bIns="0" anchor="ctr">
            <a:spAutoFit/>
          </a:bodyPr>
          <a:lstStyle/>
          <a:p>
            <a:pPr algn="r"/>
            <a:r>
              <a:rPr lang="en-US" sz="900" dirty="0">
                <a:solidFill>
                  <a:srgbClr val="517496"/>
                </a:solidFill>
              </a:rPr>
              <a:t>Source: Frost &amp; Sullivan</a:t>
            </a:r>
          </a:p>
        </p:txBody>
      </p:sp>
      <p:sp>
        <p:nvSpPr>
          <p:cNvPr id="7" name="Oval 6"/>
          <p:cNvSpPr/>
          <p:nvPr/>
        </p:nvSpPr>
        <p:spPr>
          <a:xfrm flipV="1">
            <a:off x="2093557" y="1973505"/>
            <a:ext cx="157210" cy="157210"/>
          </a:xfrm>
          <a:prstGeom prst="ellipse">
            <a:avLst/>
          </a:prstGeom>
          <a:solidFill>
            <a:schemeClr val="bg1"/>
          </a:solidFill>
          <a:ln>
            <a:noFill/>
          </a:ln>
          <a:effectLst>
            <a:outerShdw blurRad="165100" sx="120000" sy="120000" algn="ctr" rotWithShape="0">
              <a:schemeClr val="bg1">
                <a:alpha val="40000"/>
              </a:scheme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sp>
        <p:nvSpPr>
          <p:cNvPr id="35" name="Oval 34"/>
          <p:cNvSpPr/>
          <p:nvPr/>
        </p:nvSpPr>
        <p:spPr>
          <a:xfrm flipV="1">
            <a:off x="4493371" y="1973505"/>
            <a:ext cx="157210" cy="157210"/>
          </a:xfrm>
          <a:prstGeom prst="ellipse">
            <a:avLst/>
          </a:prstGeom>
          <a:solidFill>
            <a:schemeClr val="bg1"/>
          </a:solidFill>
          <a:ln>
            <a:noFill/>
          </a:ln>
          <a:effectLst>
            <a:outerShdw blurRad="165100" sx="120000" sy="120000" algn="ctr" rotWithShape="0">
              <a:schemeClr val="bg1">
                <a:alpha val="40000"/>
              </a:scheme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sp>
        <p:nvSpPr>
          <p:cNvPr id="37" name="Oval 36"/>
          <p:cNvSpPr/>
          <p:nvPr/>
        </p:nvSpPr>
        <p:spPr>
          <a:xfrm flipV="1">
            <a:off x="6893209" y="1973505"/>
            <a:ext cx="157210" cy="157210"/>
          </a:xfrm>
          <a:prstGeom prst="ellipse">
            <a:avLst/>
          </a:prstGeom>
          <a:solidFill>
            <a:schemeClr val="bg1"/>
          </a:solidFill>
          <a:ln>
            <a:noFill/>
          </a:ln>
          <a:effectLst>
            <a:outerShdw blurRad="165100" sx="120000" sy="120000" algn="ctr" rotWithShape="0">
              <a:schemeClr val="bg1">
                <a:alpha val="40000"/>
              </a:scheme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sp>
        <p:nvSpPr>
          <p:cNvPr id="38" name="Oval 37"/>
          <p:cNvSpPr/>
          <p:nvPr/>
        </p:nvSpPr>
        <p:spPr>
          <a:xfrm flipV="1">
            <a:off x="2141182" y="2550539"/>
            <a:ext cx="61960" cy="6196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sp>
        <p:nvSpPr>
          <p:cNvPr id="39" name="Oval 38"/>
          <p:cNvSpPr/>
          <p:nvPr/>
        </p:nvSpPr>
        <p:spPr>
          <a:xfrm flipV="1">
            <a:off x="4540996" y="2550539"/>
            <a:ext cx="61960" cy="6196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sp>
        <p:nvSpPr>
          <p:cNvPr id="40" name="Oval 39"/>
          <p:cNvSpPr/>
          <p:nvPr/>
        </p:nvSpPr>
        <p:spPr>
          <a:xfrm flipV="1">
            <a:off x="6940834" y="2550539"/>
            <a:ext cx="61960" cy="6196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IN">
              <a:solidFill>
                <a:srgbClr val="FFFFFF">
                  <a:hueOff val="0"/>
                  <a:satOff val="0"/>
                  <a:lumOff val="0"/>
                  <a:alphaOff val="0"/>
                </a:srgbClr>
              </a:solidFill>
            </a:endParaRPr>
          </a:p>
        </p:txBody>
      </p:sp>
      <p:cxnSp>
        <p:nvCxnSpPr>
          <p:cNvPr id="10" name="Straight Connector 9"/>
          <p:cNvCxnSpPr>
            <a:stCxn id="35" idx="0"/>
            <a:endCxn id="39" idx="4"/>
          </p:cNvCxnSpPr>
          <p:nvPr/>
        </p:nvCxnSpPr>
        <p:spPr>
          <a:xfrm>
            <a:off x="4571976" y="2130715"/>
            <a:ext cx="0" cy="41982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6971814" y="2130715"/>
            <a:ext cx="0" cy="41982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172162" y="2130715"/>
            <a:ext cx="0" cy="41982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608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Connected Car Programs at OEMs are going through a Major Strategy </a:t>
            </a:r>
            <a:r>
              <a:rPr lang="en-GB" sz="2000" dirty="0" smtClean="0"/>
              <a:t>Change</a:t>
            </a:r>
            <a:endParaRPr lang="en-GB" sz="2000" dirty="0"/>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750" y="1196752"/>
            <a:ext cx="8645730" cy="5127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0953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294456" y="116632"/>
            <a:ext cx="8382000" cy="792162"/>
          </a:xfrm>
        </p:spPr>
        <p:txBody>
          <a:bodyPr/>
          <a:lstStyle/>
          <a:p>
            <a:r>
              <a:rPr lang="en-GB" sz="2000" dirty="0" smtClean="0"/>
              <a:t>Understanding the typical automotive customer journey is crucial to developing products &amp; services around the vehicle</a:t>
            </a:r>
            <a:endParaRPr lang="en-GB" sz="2000" dirty="0"/>
          </a:p>
        </p:txBody>
      </p:sp>
      <p:sp>
        <p:nvSpPr>
          <p:cNvPr id="4" name="Freeform 3"/>
          <p:cNvSpPr/>
          <p:nvPr/>
        </p:nvSpPr>
        <p:spPr>
          <a:xfrm>
            <a:off x="395536" y="1244787"/>
            <a:ext cx="1703829" cy="427037"/>
          </a:xfrm>
          <a:custGeom>
            <a:avLst/>
            <a:gdLst>
              <a:gd name="connsiteX0" fmla="*/ 0 w 1711671"/>
              <a:gd name="connsiteY0" fmla="*/ 85584 h 855835"/>
              <a:gd name="connsiteX1" fmla="*/ 85584 w 1711671"/>
              <a:gd name="connsiteY1" fmla="*/ 0 h 855835"/>
              <a:gd name="connsiteX2" fmla="*/ 1626088 w 1711671"/>
              <a:gd name="connsiteY2" fmla="*/ 0 h 855835"/>
              <a:gd name="connsiteX3" fmla="*/ 1711672 w 1711671"/>
              <a:gd name="connsiteY3" fmla="*/ 85584 h 855835"/>
              <a:gd name="connsiteX4" fmla="*/ 1711671 w 1711671"/>
              <a:gd name="connsiteY4" fmla="*/ 770252 h 855835"/>
              <a:gd name="connsiteX5" fmla="*/ 1626087 w 1711671"/>
              <a:gd name="connsiteY5" fmla="*/ 855836 h 855835"/>
              <a:gd name="connsiteX6" fmla="*/ 85584 w 1711671"/>
              <a:gd name="connsiteY6" fmla="*/ 855835 h 855835"/>
              <a:gd name="connsiteX7" fmla="*/ 0 w 1711671"/>
              <a:gd name="connsiteY7" fmla="*/ 770251 h 855835"/>
              <a:gd name="connsiteX8" fmla="*/ 0 w 1711671"/>
              <a:gd name="connsiteY8" fmla="*/ 85584 h 85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671" h="855835">
                <a:moveTo>
                  <a:pt x="0" y="85584"/>
                </a:moveTo>
                <a:cubicBezTo>
                  <a:pt x="0" y="38317"/>
                  <a:pt x="38317" y="0"/>
                  <a:pt x="85584" y="0"/>
                </a:cubicBezTo>
                <a:lnTo>
                  <a:pt x="1626088" y="0"/>
                </a:lnTo>
                <a:cubicBezTo>
                  <a:pt x="1673355" y="0"/>
                  <a:pt x="1711672" y="38317"/>
                  <a:pt x="1711672" y="85584"/>
                </a:cubicBezTo>
                <a:cubicBezTo>
                  <a:pt x="1711672" y="313807"/>
                  <a:pt x="1711671" y="542029"/>
                  <a:pt x="1711671" y="770252"/>
                </a:cubicBezTo>
                <a:cubicBezTo>
                  <a:pt x="1711671" y="817519"/>
                  <a:pt x="1673354" y="855836"/>
                  <a:pt x="1626087" y="855836"/>
                </a:cubicBezTo>
                <a:lnTo>
                  <a:pt x="85584" y="855835"/>
                </a:lnTo>
                <a:cubicBezTo>
                  <a:pt x="38317" y="855835"/>
                  <a:pt x="0" y="817518"/>
                  <a:pt x="0" y="770251"/>
                </a:cubicBezTo>
                <a:lnTo>
                  <a:pt x="0" y="85584"/>
                </a:lnTo>
                <a:close/>
              </a:path>
            </a:pathLst>
          </a:custGeom>
          <a:solidFill>
            <a:schemeClr val="bg1"/>
          </a:solidFill>
          <a:ln>
            <a:solidFill>
              <a:srgbClr val="C00000"/>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lIns="105077" tIns="105077" rIns="105077" bIns="105077" spcCol="1270" anchor="ctr"/>
          <a:lstStyle/>
          <a:p>
            <a:pPr algn="ctr" defTabSz="933450">
              <a:lnSpc>
                <a:spcPct val="90000"/>
              </a:lnSpc>
              <a:spcAft>
                <a:spcPct val="35000"/>
              </a:spcAft>
              <a:defRPr/>
            </a:pPr>
            <a:r>
              <a:rPr lang="en-IN" sz="1200" b="1" dirty="0" smtClean="0">
                <a:solidFill>
                  <a:srgbClr val="17426B"/>
                </a:solidFill>
                <a:latin typeface="Arial" panose="020B0604020202020204" pitchFamily="34" charset="0"/>
                <a:cs typeface="Arial" panose="020B0604020202020204" pitchFamily="34" charset="0"/>
              </a:rPr>
              <a:t>Pre-Purchase</a:t>
            </a:r>
          </a:p>
          <a:p>
            <a:pPr algn="ctr" defTabSz="933450">
              <a:lnSpc>
                <a:spcPct val="90000"/>
              </a:lnSpc>
              <a:spcAft>
                <a:spcPct val="35000"/>
              </a:spcAft>
              <a:defRPr/>
            </a:pPr>
            <a:r>
              <a:rPr lang="en-IN" sz="1200" b="1" dirty="0" smtClean="0">
                <a:solidFill>
                  <a:srgbClr val="17426B"/>
                </a:solidFill>
                <a:latin typeface="Arial" panose="020B0604020202020204" pitchFamily="34" charset="0"/>
                <a:cs typeface="Arial" panose="020B0604020202020204" pitchFamily="34" charset="0"/>
              </a:rPr>
              <a:t>(OEM Centric)</a:t>
            </a:r>
            <a:endParaRPr lang="en-US" sz="1200" b="1" dirty="0">
              <a:solidFill>
                <a:srgbClr val="17426B"/>
              </a:solidFill>
              <a:latin typeface="Arial" panose="020B0604020202020204" pitchFamily="34" charset="0"/>
              <a:cs typeface="Arial" panose="020B0604020202020204" pitchFamily="34" charset="0"/>
            </a:endParaRPr>
          </a:p>
        </p:txBody>
      </p:sp>
      <p:sp>
        <p:nvSpPr>
          <p:cNvPr id="5" name="Freeform 4"/>
          <p:cNvSpPr/>
          <p:nvPr/>
        </p:nvSpPr>
        <p:spPr>
          <a:xfrm>
            <a:off x="7044351" y="1244787"/>
            <a:ext cx="1703829" cy="427037"/>
          </a:xfrm>
          <a:custGeom>
            <a:avLst/>
            <a:gdLst>
              <a:gd name="connsiteX0" fmla="*/ 0 w 1711671"/>
              <a:gd name="connsiteY0" fmla="*/ 85584 h 855835"/>
              <a:gd name="connsiteX1" fmla="*/ 85584 w 1711671"/>
              <a:gd name="connsiteY1" fmla="*/ 0 h 855835"/>
              <a:gd name="connsiteX2" fmla="*/ 1626088 w 1711671"/>
              <a:gd name="connsiteY2" fmla="*/ 0 h 855835"/>
              <a:gd name="connsiteX3" fmla="*/ 1711672 w 1711671"/>
              <a:gd name="connsiteY3" fmla="*/ 85584 h 855835"/>
              <a:gd name="connsiteX4" fmla="*/ 1711671 w 1711671"/>
              <a:gd name="connsiteY4" fmla="*/ 770252 h 855835"/>
              <a:gd name="connsiteX5" fmla="*/ 1626087 w 1711671"/>
              <a:gd name="connsiteY5" fmla="*/ 855836 h 855835"/>
              <a:gd name="connsiteX6" fmla="*/ 85584 w 1711671"/>
              <a:gd name="connsiteY6" fmla="*/ 855835 h 855835"/>
              <a:gd name="connsiteX7" fmla="*/ 0 w 1711671"/>
              <a:gd name="connsiteY7" fmla="*/ 770251 h 855835"/>
              <a:gd name="connsiteX8" fmla="*/ 0 w 1711671"/>
              <a:gd name="connsiteY8" fmla="*/ 85584 h 85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671" h="855835">
                <a:moveTo>
                  <a:pt x="0" y="85584"/>
                </a:moveTo>
                <a:cubicBezTo>
                  <a:pt x="0" y="38317"/>
                  <a:pt x="38317" y="0"/>
                  <a:pt x="85584" y="0"/>
                </a:cubicBezTo>
                <a:lnTo>
                  <a:pt x="1626088" y="0"/>
                </a:lnTo>
                <a:cubicBezTo>
                  <a:pt x="1673355" y="0"/>
                  <a:pt x="1711672" y="38317"/>
                  <a:pt x="1711672" y="85584"/>
                </a:cubicBezTo>
                <a:cubicBezTo>
                  <a:pt x="1711672" y="313807"/>
                  <a:pt x="1711671" y="542029"/>
                  <a:pt x="1711671" y="770252"/>
                </a:cubicBezTo>
                <a:cubicBezTo>
                  <a:pt x="1711671" y="817519"/>
                  <a:pt x="1673354" y="855836"/>
                  <a:pt x="1626087" y="855836"/>
                </a:cubicBezTo>
                <a:lnTo>
                  <a:pt x="85584" y="855835"/>
                </a:lnTo>
                <a:cubicBezTo>
                  <a:pt x="38317" y="855835"/>
                  <a:pt x="0" y="817518"/>
                  <a:pt x="0" y="770251"/>
                </a:cubicBezTo>
                <a:lnTo>
                  <a:pt x="0" y="85584"/>
                </a:lnTo>
                <a:close/>
              </a:path>
            </a:pathLst>
          </a:custGeom>
          <a:solidFill>
            <a:schemeClr val="bg1"/>
          </a:solidFill>
          <a:ln>
            <a:solidFill>
              <a:srgbClr val="C00000"/>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lIns="105077" tIns="105077" rIns="105077" bIns="105077" spcCol="1270" anchor="ctr"/>
          <a:lstStyle/>
          <a:p>
            <a:pPr algn="ctr" defTabSz="933450">
              <a:lnSpc>
                <a:spcPct val="90000"/>
              </a:lnSpc>
              <a:spcAft>
                <a:spcPct val="35000"/>
              </a:spcAft>
              <a:defRPr/>
            </a:pPr>
            <a:r>
              <a:rPr lang="en-IN" sz="1200" b="1" dirty="0" smtClean="0">
                <a:solidFill>
                  <a:srgbClr val="17426B"/>
                </a:solidFill>
                <a:latin typeface="Arial" panose="020B0604020202020204" pitchFamily="34" charset="0"/>
                <a:cs typeface="Arial" panose="020B0604020202020204" pitchFamily="34" charset="0"/>
              </a:rPr>
              <a:t>Re - purchase</a:t>
            </a:r>
          </a:p>
          <a:p>
            <a:pPr algn="ctr" defTabSz="933450">
              <a:lnSpc>
                <a:spcPct val="90000"/>
              </a:lnSpc>
              <a:spcAft>
                <a:spcPct val="35000"/>
              </a:spcAft>
              <a:defRPr/>
            </a:pPr>
            <a:r>
              <a:rPr lang="en-IN" sz="1200" b="1" dirty="0" smtClean="0">
                <a:solidFill>
                  <a:srgbClr val="17426B"/>
                </a:solidFill>
                <a:latin typeface="Arial" panose="020B0604020202020204" pitchFamily="34" charset="0"/>
                <a:cs typeface="Arial" panose="020B0604020202020204" pitchFamily="34" charset="0"/>
              </a:rPr>
              <a:t>(OEM Centric)</a:t>
            </a:r>
            <a:endParaRPr lang="en-US" sz="1200" b="1" dirty="0">
              <a:solidFill>
                <a:srgbClr val="17426B"/>
              </a:solidFill>
              <a:latin typeface="Arial" panose="020B0604020202020204" pitchFamily="34" charset="0"/>
              <a:cs typeface="Arial" panose="020B0604020202020204" pitchFamily="34" charset="0"/>
            </a:endParaRPr>
          </a:p>
        </p:txBody>
      </p:sp>
      <p:pic>
        <p:nvPicPr>
          <p:cNvPr id="6"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6112" y="3683320"/>
            <a:ext cx="677094" cy="64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8000" y="3728032"/>
            <a:ext cx="677094" cy="64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92832" y="2624512"/>
            <a:ext cx="677094" cy="64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1"/>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2258" y="2486480"/>
            <a:ext cx="677094" cy="64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ight Arrow 9"/>
          <p:cNvSpPr/>
          <p:nvPr/>
        </p:nvSpPr>
        <p:spPr>
          <a:xfrm>
            <a:off x="2267744" y="1291507"/>
            <a:ext cx="4392488" cy="333596"/>
          </a:xfrm>
          <a:prstGeom prst="rightArrow">
            <a:avLst/>
          </a:prstGeom>
          <a:solidFill>
            <a:schemeClr val="bg1"/>
          </a:solidFill>
          <a:ln>
            <a:solidFill>
              <a:srgbClr val="C00000"/>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lIns="105077" tIns="105077" rIns="105077" bIns="105077" spcCol="1270" anchor="ctr"/>
          <a:lstStyle/>
          <a:p>
            <a:pPr algn="ctr" defTabSz="933450">
              <a:lnSpc>
                <a:spcPct val="90000"/>
              </a:lnSpc>
              <a:spcAft>
                <a:spcPct val="35000"/>
              </a:spcAft>
            </a:pPr>
            <a:endParaRPr lang="en-GB" sz="1200" b="1">
              <a:solidFill>
                <a:srgbClr val="17426B"/>
              </a:solidFill>
              <a:latin typeface="Arial" panose="020B0604020202020204" pitchFamily="34" charset="0"/>
              <a:cs typeface="Arial" panose="020B0604020202020204" pitchFamily="34" charset="0"/>
            </a:endParaRPr>
          </a:p>
        </p:txBody>
      </p:sp>
      <p:pic>
        <p:nvPicPr>
          <p:cNvPr id="11"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838507" y="2658515"/>
            <a:ext cx="674528" cy="64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66906" y="2483520"/>
            <a:ext cx="677094" cy="64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9812" y="3617274"/>
            <a:ext cx="677094" cy="64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Diagram 13"/>
          <p:cNvGraphicFramePr/>
          <p:nvPr>
            <p:extLst>
              <p:ext uri="{D42A27DB-BD31-4B8C-83A1-F6EECF244321}">
                <p14:modId xmlns:p14="http://schemas.microsoft.com/office/powerpoint/2010/main" val="1706226754"/>
              </p:ext>
            </p:extLst>
          </p:nvPr>
        </p:nvGraphicFramePr>
        <p:xfrm>
          <a:off x="-164698" y="2832171"/>
          <a:ext cx="2792482" cy="203698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5"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11760" y="1714995"/>
            <a:ext cx="4426747" cy="4299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Straight Connector 15"/>
          <p:cNvCxnSpPr/>
          <p:nvPr/>
        </p:nvCxnSpPr>
        <p:spPr>
          <a:xfrm>
            <a:off x="2491304" y="1597807"/>
            <a:ext cx="0" cy="4612209"/>
          </a:xfrm>
          <a:prstGeom prst="line">
            <a:avLst/>
          </a:prstGeom>
          <a:solidFill>
            <a:schemeClr val="bg1"/>
          </a:solidFill>
          <a:ln>
            <a:solidFill>
              <a:srgbClr val="C00000"/>
            </a:solidFill>
            <a:prstDash val="dash"/>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cxnSp>
      <p:cxnSp>
        <p:nvCxnSpPr>
          <p:cNvPr id="17" name="Straight Connector 16"/>
          <p:cNvCxnSpPr/>
          <p:nvPr/>
        </p:nvCxnSpPr>
        <p:spPr>
          <a:xfrm>
            <a:off x="6834545" y="1671824"/>
            <a:ext cx="0" cy="4612209"/>
          </a:xfrm>
          <a:prstGeom prst="line">
            <a:avLst/>
          </a:prstGeom>
          <a:solidFill>
            <a:schemeClr val="bg1"/>
          </a:solidFill>
          <a:ln>
            <a:solidFill>
              <a:srgbClr val="C00000"/>
            </a:solidFill>
            <a:prstDash val="dash"/>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cxnSp>
      <p:graphicFrame>
        <p:nvGraphicFramePr>
          <p:cNvPr id="18" name="Diagram 17"/>
          <p:cNvGraphicFramePr/>
          <p:nvPr>
            <p:extLst>
              <p:ext uri="{D42A27DB-BD31-4B8C-83A1-F6EECF244321}">
                <p14:modId xmlns:p14="http://schemas.microsoft.com/office/powerpoint/2010/main" val="1359542973"/>
              </p:ext>
            </p:extLst>
          </p:nvPr>
        </p:nvGraphicFramePr>
        <p:xfrm>
          <a:off x="6547280" y="2736833"/>
          <a:ext cx="2792482" cy="2036989"/>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21" name="Freeform 20"/>
          <p:cNvSpPr/>
          <p:nvPr/>
        </p:nvSpPr>
        <p:spPr>
          <a:xfrm>
            <a:off x="3773218" y="1263550"/>
            <a:ext cx="1703829" cy="427037"/>
          </a:xfrm>
          <a:custGeom>
            <a:avLst/>
            <a:gdLst>
              <a:gd name="connsiteX0" fmla="*/ 0 w 1711671"/>
              <a:gd name="connsiteY0" fmla="*/ 85584 h 855835"/>
              <a:gd name="connsiteX1" fmla="*/ 85584 w 1711671"/>
              <a:gd name="connsiteY1" fmla="*/ 0 h 855835"/>
              <a:gd name="connsiteX2" fmla="*/ 1626088 w 1711671"/>
              <a:gd name="connsiteY2" fmla="*/ 0 h 855835"/>
              <a:gd name="connsiteX3" fmla="*/ 1711672 w 1711671"/>
              <a:gd name="connsiteY3" fmla="*/ 85584 h 855835"/>
              <a:gd name="connsiteX4" fmla="*/ 1711671 w 1711671"/>
              <a:gd name="connsiteY4" fmla="*/ 770252 h 855835"/>
              <a:gd name="connsiteX5" fmla="*/ 1626087 w 1711671"/>
              <a:gd name="connsiteY5" fmla="*/ 855836 h 855835"/>
              <a:gd name="connsiteX6" fmla="*/ 85584 w 1711671"/>
              <a:gd name="connsiteY6" fmla="*/ 855835 h 855835"/>
              <a:gd name="connsiteX7" fmla="*/ 0 w 1711671"/>
              <a:gd name="connsiteY7" fmla="*/ 770251 h 855835"/>
              <a:gd name="connsiteX8" fmla="*/ 0 w 1711671"/>
              <a:gd name="connsiteY8" fmla="*/ 85584 h 85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671" h="855835">
                <a:moveTo>
                  <a:pt x="0" y="85584"/>
                </a:moveTo>
                <a:cubicBezTo>
                  <a:pt x="0" y="38317"/>
                  <a:pt x="38317" y="0"/>
                  <a:pt x="85584" y="0"/>
                </a:cubicBezTo>
                <a:lnTo>
                  <a:pt x="1626088" y="0"/>
                </a:lnTo>
                <a:cubicBezTo>
                  <a:pt x="1673355" y="0"/>
                  <a:pt x="1711672" y="38317"/>
                  <a:pt x="1711672" y="85584"/>
                </a:cubicBezTo>
                <a:cubicBezTo>
                  <a:pt x="1711672" y="313807"/>
                  <a:pt x="1711671" y="542029"/>
                  <a:pt x="1711671" y="770252"/>
                </a:cubicBezTo>
                <a:cubicBezTo>
                  <a:pt x="1711671" y="817519"/>
                  <a:pt x="1673354" y="855836"/>
                  <a:pt x="1626087" y="855836"/>
                </a:cubicBezTo>
                <a:lnTo>
                  <a:pt x="85584" y="855835"/>
                </a:lnTo>
                <a:cubicBezTo>
                  <a:pt x="38317" y="855835"/>
                  <a:pt x="0" y="817518"/>
                  <a:pt x="0" y="770251"/>
                </a:cubicBezTo>
                <a:lnTo>
                  <a:pt x="0" y="85584"/>
                </a:lnTo>
                <a:close/>
              </a:path>
            </a:pathLst>
          </a:custGeom>
          <a:solidFill>
            <a:schemeClr val="bg1"/>
          </a:solidFill>
          <a:ln>
            <a:solidFill>
              <a:srgbClr val="C00000"/>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lIns="105077" tIns="105077" rIns="105077" bIns="105077" spcCol="1270" anchor="ctr"/>
          <a:lstStyle/>
          <a:p>
            <a:pPr algn="ctr" defTabSz="933450">
              <a:lnSpc>
                <a:spcPct val="90000"/>
              </a:lnSpc>
              <a:spcAft>
                <a:spcPct val="35000"/>
              </a:spcAft>
              <a:defRPr/>
            </a:pPr>
            <a:r>
              <a:rPr lang="en-IN" sz="1200" b="1" dirty="0" smtClean="0">
                <a:solidFill>
                  <a:srgbClr val="17426B"/>
                </a:solidFill>
                <a:latin typeface="Arial" panose="020B0604020202020204" pitchFamily="34" charset="0"/>
                <a:cs typeface="Arial" panose="020B0604020202020204" pitchFamily="34" charset="0"/>
              </a:rPr>
              <a:t>Car as a Service</a:t>
            </a:r>
          </a:p>
          <a:p>
            <a:pPr algn="ctr" defTabSz="933450">
              <a:lnSpc>
                <a:spcPct val="90000"/>
              </a:lnSpc>
              <a:spcAft>
                <a:spcPct val="35000"/>
              </a:spcAft>
              <a:defRPr/>
            </a:pPr>
            <a:r>
              <a:rPr lang="en-IN" sz="1200" b="1" dirty="0" smtClean="0">
                <a:solidFill>
                  <a:srgbClr val="17426B"/>
                </a:solidFill>
                <a:latin typeface="Arial" panose="020B0604020202020204" pitchFamily="34" charset="0"/>
                <a:cs typeface="Arial" panose="020B0604020202020204" pitchFamily="34" charset="0"/>
              </a:rPr>
              <a:t>(</a:t>
            </a:r>
            <a:r>
              <a:rPr lang="en-IN" sz="1200" b="1" dirty="0" err="1" smtClean="0">
                <a:solidFill>
                  <a:srgbClr val="17426B"/>
                </a:solidFill>
                <a:latin typeface="Arial" panose="020B0604020202020204" pitchFamily="34" charset="0"/>
                <a:cs typeface="Arial" panose="020B0604020202020204" pitchFamily="34" charset="0"/>
              </a:rPr>
              <a:t>CaaS</a:t>
            </a:r>
            <a:r>
              <a:rPr lang="en-IN" sz="1200" b="1" dirty="0" smtClean="0">
                <a:solidFill>
                  <a:srgbClr val="17426B"/>
                </a:solidFill>
                <a:latin typeface="Arial" panose="020B0604020202020204" pitchFamily="34" charset="0"/>
                <a:cs typeface="Arial" panose="020B0604020202020204" pitchFamily="34" charset="0"/>
              </a:rPr>
              <a:t>)</a:t>
            </a:r>
            <a:endParaRPr lang="en-US" sz="1200" b="1" dirty="0">
              <a:solidFill>
                <a:srgbClr val="1742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2674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NIfvv7JHkGUrHDHi0XL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7yBOeFKEiJmtlb_Zbg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ui00uY4fEOXcIO2hDC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NIfvv7JHkGUrHDHi0XL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U7yBOeFKEiJmtlb_Zbg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NIfvv7JHkGUrHDHi0XL3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U7yBOeFKEiJmtlb_Zbg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NIfvv7JHkGUrHDHi0XL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U7yBOeFKEiJmtlb_Zbg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NIfvv7JHkGUrHDHi0XL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U7yBOeFKEiJmtlb_Zbg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7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Cover">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2_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1_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2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3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4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5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6_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0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7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ody">
  <a:themeElements>
    <a:clrScheme name="Custom 2">
      <a:dk1>
        <a:srgbClr val="000000"/>
      </a:dk1>
      <a:lt1>
        <a:srgbClr val="FFFFFF"/>
      </a:lt1>
      <a:dk2>
        <a:srgbClr val="06325C"/>
      </a:dk2>
      <a:lt2>
        <a:srgbClr val="EEECE1"/>
      </a:lt2>
      <a:accent1>
        <a:srgbClr val="06325C"/>
      </a:accent1>
      <a:accent2>
        <a:srgbClr val="517496"/>
      </a:accent2>
      <a:accent3>
        <a:srgbClr val="C9D4DE"/>
      </a:accent3>
      <a:accent4>
        <a:srgbClr val="404027"/>
      </a:accent4>
      <a:accent5>
        <a:srgbClr val="B3B381"/>
      </a:accent5>
      <a:accent6>
        <a:srgbClr val="D6D6B6"/>
      </a:accent6>
      <a:hlink>
        <a:srgbClr val="0070C0"/>
      </a:hlink>
      <a:folHlink>
        <a:srgbClr val="C8D0C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3_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Main Title">
  <a:themeElements>
    <a:clrScheme name="Frost &amp; Sullivan 1">
      <a:dk1>
        <a:srgbClr val="000000"/>
      </a:dk1>
      <a:lt1>
        <a:srgbClr val="FFFFFF"/>
      </a:lt1>
      <a:dk2>
        <a:srgbClr val="06325C"/>
      </a:dk2>
      <a:lt2>
        <a:srgbClr val="EEECE1"/>
      </a:lt2>
      <a:accent1>
        <a:srgbClr val="ACBED1"/>
      </a:accent1>
      <a:accent2>
        <a:srgbClr val="517496"/>
      </a:accent2>
      <a:accent3>
        <a:srgbClr val="AAAA74"/>
      </a:accent3>
      <a:accent4>
        <a:srgbClr val="1E2D4E"/>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985</TotalTime>
  <Words>4940</Words>
  <Application>Microsoft Office PowerPoint</Application>
  <PresentationFormat>On-screen Show (4:3)</PresentationFormat>
  <Paragraphs>707</Paragraphs>
  <Slides>37</Slides>
  <Notes>22</Notes>
  <HiddenSlides>0</HiddenSlides>
  <MMClips>0</MMClips>
  <ScaleCrop>false</ScaleCrop>
  <HeadingPairs>
    <vt:vector size="6" baseType="variant">
      <vt:variant>
        <vt:lpstr>Theme</vt:lpstr>
      </vt:variant>
      <vt:variant>
        <vt:i4>20</vt:i4>
      </vt:variant>
      <vt:variant>
        <vt:lpstr>Embedded OLE Servers</vt:lpstr>
      </vt:variant>
      <vt:variant>
        <vt:i4>1</vt:i4>
      </vt:variant>
      <vt:variant>
        <vt:lpstr>Slide Titles</vt:lpstr>
      </vt:variant>
      <vt:variant>
        <vt:i4>37</vt:i4>
      </vt:variant>
    </vt:vector>
  </HeadingPairs>
  <TitlesOfParts>
    <vt:vector size="58" baseType="lpstr">
      <vt:lpstr>9_Main Title</vt:lpstr>
      <vt:lpstr>10_Main Title</vt:lpstr>
      <vt:lpstr>3_Main Title</vt:lpstr>
      <vt:lpstr>4_Main Title</vt:lpstr>
      <vt:lpstr>5_Body</vt:lpstr>
      <vt:lpstr>5_Main Title</vt:lpstr>
      <vt:lpstr>Main Title</vt:lpstr>
      <vt:lpstr>33_Main Title</vt:lpstr>
      <vt:lpstr>6_Main Title</vt:lpstr>
      <vt:lpstr>7_Main Title</vt:lpstr>
      <vt:lpstr>Cover</vt:lpstr>
      <vt:lpstr>2_Main Title</vt:lpstr>
      <vt:lpstr>8_Main Title</vt:lpstr>
      <vt:lpstr>11_Main Title</vt:lpstr>
      <vt:lpstr>12_Main Title</vt:lpstr>
      <vt:lpstr>13_Main Title</vt:lpstr>
      <vt:lpstr>14_Main Title</vt:lpstr>
      <vt:lpstr>15_Main Title</vt:lpstr>
      <vt:lpstr>16_Main Title</vt:lpstr>
      <vt:lpstr>17_Main Title</vt:lpstr>
      <vt:lpstr>think-cell Slide</vt:lpstr>
      <vt:lpstr>The Future Market Environment of Mobility </vt:lpstr>
      <vt:lpstr>PowerPoint Presentation</vt:lpstr>
      <vt:lpstr>Global Light Vehicle Sales by Region in 2016—A Snapshot</vt:lpstr>
      <vt:lpstr>Transformational Shifts Reshaping the Future of Mobility</vt:lpstr>
      <vt:lpstr>PowerPoint Presentation</vt:lpstr>
      <vt:lpstr>PowerPoint Presentation</vt:lpstr>
      <vt:lpstr>Future Connected Living Ecosystem The connected life contains three important environments, all with high expectations for “everywhere”</vt:lpstr>
      <vt:lpstr>Connected Car Programs at OEMs are going through a Major Strategy Change</vt:lpstr>
      <vt:lpstr>Understanding the typical automotive customer journey is crucial to developing products &amp; services around the vehicle</vt:lpstr>
      <vt:lpstr>PowerPoint Presentation</vt:lpstr>
      <vt:lpstr>Potential for explosive growth Ultimately connected car programs need to be profit generators and customer loyalty improvement  programs which have large potential for growth</vt:lpstr>
      <vt:lpstr>PowerPoint Presentation</vt:lpstr>
      <vt:lpstr>PowerPoint Presentation</vt:lpstr>
      <vt:lpstr>PowerPoint Presentation</vt:lpstr>
      <vt:lpstr>Intelligent Mobility—An Emerging Concept that Revolutionizes Mobility Intelligent mobility aims to create vehicles that promote a eco-driving experience, insulated from crash fatalities and tuned to combat congestion.</vt:lpstr>
      <vt:lpstr>PowerPoint Presentation</vt:lpstr>
      <vt:lpstr>PowerPoint Presentation</vt:lpstr>
      <vt:lpstr>PowerPoint Presentation</vt:lpstr>
      <vt:lpstr>New Business Models - Growth of Car Sharing  Over 543,000 vehicles to be shared in Europe by 2020</vt:lpstr>
      <vt:lpstr>PowerPoint Presentation</vt:lpstr>
      <vt:lpstr>PowerPoint Presentation</vt:lpstr>
      <vt:lpstr>Interest Towards Mobility Allowance 54% of the sample expressed interested in a move to a “Mobility Allowance” As expected Belgium (62%) and Netherlands (59%) expressed greatest interest.</vt:lpstr>
      <vt:lpstr>Mobility Integration Services Services typically integrated by a Travel Management Company are the most preferred. Payment options feature prominently; an any device strategy is integral to Future Mobility</vt:lpstr>
      <vt:lpstr>Mobility Integration Services in Mobile Application Journey Planning is the most desirable service so must be a priority component of an Integrated Mobility service </vt:lpstr>
      <vt:lpstr>Mobility Integration Future Service Providers Leasing companies considered by decision-makers to be best placed to deliver Integrated Mobility services albeit picture is mixed confirming the fragmented nature of the market</vt:lpstr>
      <vt:lpstr>PowerPoint Presentation</vt:lpstr>
      <vt:lpstr>PowerPoint Presentation</vt:lpstr>
      <vt:lpstr>PowerPoint Presentation</vt:lpstr>
      <vt:lpstr>PowerPoint Presentation</vt:lpstr>
      <vt:lpstr>PowerPoint Presentation</vt:lpstr>
      <vt:lpstr>The Car of the Future: Self Learning Cars Use of automated driving and connectivity to create a predictive environment that is safe and contextually relevant</vt:lpstr>
      <vt:lpstr> </vt:lpstr>
      <vt:lpstr>Conclusions</vt:lpstr>
      <vt:lpstr> </vt:lpstr>
      <vt:lpstr>PowerPoint Presentation</vt:lpstr>
      <vt:lpstr>PowerPoint Presentation</vt:lpstr>
      <vt:lpstr>Thank You</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 Lee</dc:creator>
  <cp:lastModifiedBy>Niranjan Thiyagarajan</cp:lastModifiedBy>
  <cp:revision>65</cp:revision>
  <dcterms:created xsi:type="dcterms:W3CDTF">2016-01-08T08:56:54Z</dcterms:created>
  <dcterms:modified xsi:type="dcterms:W3CDTF">2016-02-09T14:22:30Z</dcterms:modified>
</cp:coreProperties>
</file>